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charts/chart2.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60" r:id="rId2"/>
    <p:sldId id="263" r:id="rId3"/>
    <p:sldId id="261" r:id="rId4"/>
    <p:sldId id="264" r:id="rId5"/>
    <p:sldId id="256" r:id="rId6"/>
    <p:sldId id="265" r:id="rId7"/>
    <p:sldId id="266" r:id="rId8"/>
    <p:sldId id="267" r:id="rId9"/>
    <p:sldId id="269" r:id="rId10"/>
    <p:sldId id="270" r:id="rId11"/>
    <p:sldId id="272" r:id="rId12"/>
    <p:sldId id="273" r:id="rId13"/>
    <p:sldId id="274" r:id="rId14"/>
    <p:sldId id="300" r:id="rId15"/>
    <p:sldId id="277" r:id="rId16"/>
    <p:sldId id="280" r:id="rId17"/>
    <p:sldId id="297" r:id="rId18"/>
    <p:sldId id="291" r:id="rId19"/>
    <p:sldId id="284" r:id="rId20"/>
    <p:sldId id="285" r:id="rId21"/>
    <p:sldId id="287" r:id="rId22"/>
    <p:sldId id="288" r:id="rId23"/>
    <p:sldId id="295" r:id="rId24"/>
    <p:sldId id="299" r:id="rId25"/>
    <p:sldId id="30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DFB"/>
    <a:srgbClr val="8497B0"/>
    <a:srgbClr val="D4A9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15" autoAdjust="0"/>
    <p:restoredTop sz="94660"/>
  </p:normalViewPr>
  <p:slideViewPr>
    <p:cSldViewPr snapToGrid="0">
      <p:cViewPr varScale="1">
        <p:scale>
          <a:sx n="114" d="100"/>
          <a:sy n="114" d="100"/>
        </p:scale>
        <p:origin x="52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Economic</c:v>
                </c:pt>
              </c:strCache>
            </c:strRef>
          </c:tx>
          <c:spPr>
            <a:ln w="19050" cap="rnd">
              <a:solidFill>
                <a:schemeClr val="accent1"/>
              </a:solidFill>
              <a:round/>
            </a:ln>
            <a:effectLst/>
          </c:spPr>
          <c:marker>
            <c:symbol val="none"/>
          </c:marker>
          <c:xVal>
            <c:strRef>
              <c:f>Sheet1!$A$2:$A$9</c:f>
              <c:strCache>
                <c:ptCount val="8"/>
                <c:pt idx="0">
                  <c:v>Jan</c:v>
                </c:pt>
                <c:pt idx="1">
                  <c:v>Feb</c:v>
                </c:pt>
                <c:pt idx="2">
                  <c:v>Mar</c:v>
                </c:pt>
                <c:pt idx="3">
                  <c:v>May</c:v>
                </c:pt>
                <c:pt idx="4">
                  <c:v>Jun</c:v>
                </c:pt>
                <c:pt idx="5">
                  <c:v>Sep</c:v>
                </c:pt>
                <c:pt idx="6">
                  <c:v>Nov</c:v>
                </c:pt>
                <c:pt idx="7">
                  <c:v>Dec</c:v>
                </c:pt>
              </c:strCache>
            </c:strRef>
          </c:xVal>
          <c:yVal>
            <c:numRef>
              <c:f>Sheet1!$B$2:$B$9</c:f>
              <c:numCache>
                <c:formatCode>General</c:formatCode>
                <c:ptCount val="8"/>
                <c:pt idx="0">
                  <c:v>2</c:v>
                </c:pt>
                <c:pt idx="1">
                  <c:v>3</c:v>
                </c:pt>
                <c:pt idx="2">
                  <c:v>4</c:v>
                </c:pt>
                <c:pt idx="3">
                  <c:v>2</c:v>
                </c:pt>
                <c:pt idx="4">
                  <c:v>4</c:v>
                </c:pt>
                <c:pt idx="5">
                  <c:v>5</c:v>
                </c:pt>
                <c:pt idx="6">
                  <c:v>4</c:v>
                </c:pt>
                <c:pt idx="7">
                  <c:v>5</c:v>
                </c:pt>
              </c:numCache>
            </c:numRef>
          </c:yVal>
          <c:smooth val="1"/>
          <c:extLst>
            <c:ext xmlns:c16="http://schemas.microsoft.com/office/drawing/2014/chart" uri="{C3380CC4-5D6E-409C-BE32-E72D297353CC}">
              <c16:uniqueId val="{00000000-83F9-4386-B9A7-4E7B6B9AA9B2}"/>
            </c:ext>
          </c:extLst>
        </c:ser>
        <c:ser>
          <c:idx val="1"/>
          <c:order val="1"/>
          <c:tx>
            <c:strRef>
              <c:f>Sheet1!$C$1</c:f>
              <c:strCache>
                <c:ptCount val="1"/>
                <c:pt idx="0">
                  <c:v>Social</c:v>
                </c:pt>
              </c:strCache>
            </c:strRef>
          </c:tx>
          <c:spPr>
            <a:ln w="19050" cap="rnd">
              <a:solidFill>
                <a:schemeClr val="accent2"/>
              </a:solidFill>
              <a:round/>
            </a:ln>
            <a:effectLst/>
          </c:spPr>
          <c:marker>
            <c:symbol val="none"/>
          </c:marker>
          <c:xVal>
            <c:strRef>
              <c:f>Sheet1!$A$2:$A$9</c:f>
              <c:strCache>
                <c:ptCount val="8"/>
                <c:pt idx="0">
                  <c:v>Jan</c:v>
                </c:pt>
                <c:pt idx="1">
                  <c:v>Feb</c:v>
                </c:pt>
                <c:pt idx="2">
                  <c:v>Mar</c:v>
                </c:pt>
                <c:pt idx="3">
                  <c:v>May</c:v>
                </c:pt>
                <c:pt idx="4">
                  <c:v>Jun</c:v>
                </c:pt>
                <c:pt idx="5">
                  <c:v>Sep</c:v>
                </c:pt>
                <c:pt idx="6">
                  <c:v>Nov</c:v>
                </c:pt>
                <c:pt idx="7">
                  <c:v>Dec</c:v>
                </c:pt>
              </c:strCache>
            </c:strRef>
          </c:xVal>
          <c:yVal>
            <c:numRef>
              <c:f>Sheet1!$C$2:$C$9</c:f>
              <c:numCache>
                <c:formatCode>General</c:formatCode>
                <c:ptCount val="8"/>
                <c:pt idx="0">
                  <c:v>3</c:v>
                </c:pt>
                <c:pt idx="1">
                  <c:v>4</c:v>
                </c:pt>
                <c:pt idx="2">
                  <c:v>3</c:v>
                </c:pt>
                <c:pt idx="3">
                  <c:v>2</c:v>
                </c:pt>
                <c:pt idx="4">
                  <c:v>4</c:v>
                </c:pt>
                <c:pt idx="5">
                  <c:v>3</c:v>
                </c:pt>
                <c:pt idx="6">
                  <c:v>5</c:v>
                </c:pt>
                <c:pt idx="7">
                  <c:v>5</c:v>
                </c:pt>
              </c:numCache>
            </c:numRef>
          </c:yVal>
          <c:smooth val="1"/>
          <c:extLst>
            <c:ext xmlns:c16="http://schemas.microsoft.com/office/drawing/2014/chart" uri="{C3380CC4-5D6E-409C-BE32-E72D297353CC}">
              <c16:uniqueId val="{00000001-83F9-4386-B9A7-4E7B6B9AA9B2}"/>
            </c:ext>
          </c:extLst>
        </c:ser>
        <c:ser>
          <c:idx val="2"/>
          <c:order val="2"/>
          <c:tx>
            <c:strRef>
              <c:f>Sheet1!$D$1</c:f>
              <c:strCache>
                <c:ptCount val="1"/>
                <c:pt idx="0">
                  <c:v>Nature</c:v>
                </c:pt>
              </c:strCache>
            </c:strRef>
          </c:tx>
          <c:spPr>
            <a:ln w="19050" cap="rnd">
              <a:solidFill>
                <a:schemeClr val="accent3"/>
              </a:solidFill>
              <a:round/>
            </a:ln>
            <a:effectLst/>
          </c:spPr>
          <c:marker>
            <c:symbol val="none"/>
          </c:marker>
          <c:xVal>
            <c:strRef>
              <c:f>Sheet1!$A$2:$A$9</c:f>
              <c:strCache>
                <c:ptCount val="8"/>
                <c:pt idx="0">
                  <c:v>Jan</c:v>
                </c:pt>
                <c:pt idx="1">
                  <c:v>Feb</c:v>
                </c:pt>
                <c:pt idx="2">
                  <c:v>Mar</c:v>
                </c:pt>
                <c:pt idx="3">
                  <c:v>May</c:v>
                </c:pt>
                <c:pt idx="4">
                  <c:v>Jun</c:v>
                </c:pt>
                <c:pt idx="5">
                  <c:v>Sep</c:v>
                </c:pt>
                <c:pt idx="6">
                  <c:v>Nov</c:v>
                </c:pt>
                <c:pt idx="7">
                  <c:v>Dec</c:v>
                </c:pt>
              </c:strCache>
            </c:strRef>
          </c:xVal>
          <c:yVal>
            <c:numRef>
              <c:f>Sheet1!$D$2:$D$9</c:f>
              <c:numCache>
                <c:formatCode>General</c:formatCode>
                <c:ptCount val="8"/>
                <c:pt idx="0">
                  <c:v>4</c:v>
                </c:pt>
                <c:pt idx="1">
                  <c:v>5</c:v>
                </c:pt>
                <c:pt idx="2">
                  <c:v>4</c:v>
                </c:pt>
                <c:pt idx="3">
                  <c:v>3</c:v>
                </c:pt>
                <c:pt idx="4">
                  <c:v>2</c:v>
                </c:pt>
                <c:pt idx="5">
                  <c:v>4</c:v>
                </c:pt>
                <c:pt idx="6">
                  <c:v>5</c:v>
                </c:pt>
                <c:pt idx="7">
                  <c:v>4</c:v>
                </c:pt>
              </c:numCache>
            </c:numRef>
          </c:yVal>
          <c:smooth val="1"/>
          <c:extLst>
            <c:ext xmlns:c16="http://schemas.microsoft.com/office/drawing/2014/chart" uri="{C3380CC4-5D6E-409C-BE32-E72D297353CC}">
              <c16:uniqueId val="{00000002-83F9-4386-B9A7-4E7B6B9AA9B2}"/>
            </c:ext>
          </c:extLst>
        </c:ser>
        <c:ser>
          <c:idx val="3"/>
          <c:order val="3"/>
          <c:tx>
            <c:strRef>
              <c:f>Sheet1!$E$1</c:f>
              <c:strCache>
                <c:ptCount val="1"/>
                <c:pt idx="0">
                  <c:v>Life</c:v>
                </c:pt>
              </c:strCache>
            </c:strRef>
          </c:tx>
          <c:spPr>
            <a:ln w="19050" cap="rnd">
              <a:solidFill>
                <a:schemeClr val="accent4"/>
              </a:solidFill>
              <a:round/>
            </a:ln>
            <a:effectLst/>
          </c:spPr>
          <c:marker>
            <c:symbol val="none"/>
          </c:marker>
          <c:xVal>
            <c:strRef>
              <c:f>Sheet1!$A$2:$A$9</c:f>
              <c:strCache>
                <c:ptCount val="8"/>
                <c:pt idx="0">
                  <c:v>Jan</c:v>
                </c:pt>
                <c:pt idx="1">
                  <c:v>Feb</c:v>
                </c:pt>
                <c:pt idx="2">
                  <c:v>Mar</c:v>
                </c:pt>
                <c:pt idx="3">
                  <c:v>May</c:v>
                </c:pt>
                <c:pt idx="4">
                  <c:v>Jun</c:v>
                </c:pt>
                <c:pt idx="5">
                  <c:v>Sep</c:v>
                </c:pt>
                <c:pt idx="6">
                  <c:v>Nov</c:v>
                </c:pt>
                <c:pt idx="7">
                  <c:v>Dec</c:v>
                </c:pt>
              </c:strCache>
            </c:strRef>
          </c:xVal>
          <c:yVal>
            <c:numRef>
              <c:f>Sheet1!$E$2:$E$9</c:f>
              <c:numCache>
                <c:formatCode>General</c:formatCode>
                <c:ptCount val="8"/>
                <c:pt idx="0">
                  <c:v>5</c:v>
                </c:pt>
                <c:pt idx="1">
                  <c:v>4</c:v>
                </c:pt>
                <c:pt idx="2">
                  <c:v>4</c:v>
                </c:pt>
                <c:pt idx="3">
                  <c:v>4</c:v>
                </c:pt>
                <c:pt idx="4">
                  <c:v>4</c:v>
                </c:pt>
                <c:pt idx="5">
                  <c:v>2</c:v>
                </c:pt>
                <c:pt idx="6">
                  <c:v>2</c:v>
                </c:pt>
                <c:pt idx="7">
                  <c:v>4</c:v>
                </c:pt>
              </c:numCache>
            </c:numRef>
          </c:yVal>
          <c:smooth val="1"/>
          <c:extLst>
            <c:ext xmlns:c16="http://schemas.microsoft.com/office/drawing/2014/chart" uri="{C3380CC4-5D6E-409C-BE32-E72D297353CC}">
              <c16:uniqueId val="{00000003-83F9-4386-B9A7-4E7B6B9AA9B2}"/>
            </c:ext>
          </c:extLst>
        </c:ser>
        <c:dLbls>
          <c:showLegendKey val="0"/>
          <c:showVal val="0"/>
          <c:showCatName val="0"/>
          <c:showSerName val="0"/>
          <c:showPercent val="0"/>
          <c:showBubbleSize val="0"/>
        </c:dLbls>
        <c:axId val="1882978880"/>
        <c:axId val="1882980512"/>
      </c:scatterChart>
      <c:valAx>
        <c:axId val="1882978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82980512"/>
        <c:crosses val="autoZero"/>
        <c:crossBetween val="midCat"/>
      </c:valAx>
      <c:valAx>
        <c:axId val="1882980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82978880"/>
        <c:crosses val="autoZero"/>
        <c:crossBetween val="midCat"/>
      </c:valAx>
      <c:spPr>
        <a:noFill/>
        <a:ln>
          <a:noFill/>
        </a:ln>
        <a:effectLst/>
      </c:spPr>
    </c:plotArea>
    <c:legend>
      <c:legendPos val="t"/>
      <c:layout>
        <c:manualLayout>
          <c:xMode val="edge"/>
          <c:yMode val="edge"/>
          <c:x val="3.6221924032777436E-2"/>
          <c:y val="2.329396185048211E-2"/>
          <c:w val="0.92755602346603905"/>
          <c:h val="8.494378573957106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12677119954283E-2"/>
          <c:y val="3.5781547632616484E-2"/>
          <c:w val="0.93636570518871531"/>
          <c:h val="0.7618956997341612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a:solidFill>
                      <a:schemeClr val="tx1">
                        <a:lumMod val="50000"/>
                        <a:lumOff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5</c:v>
                </c:pt>
                <c:pt idx="1">
                  <c:v>3</c:v>
                </c:pt>
                <c:pt idx="2">
                  <c:v>6</c:v>
                </c:pt>
                <c:pt idx="3">
                  <c:v>5</c:v>
                </c:pt>
              </c:numCache>
            </c:numRef>
          </c:val>
          <c:extLst>
            <c:ext xmlns:c16="http://schemas.microsoft.com/office/drawing/2014/chart" uri="{C3380CC4-5D6E-409C-BE32-E72D297353CC}">
              <c16:uniqueId val="{00000000-8973-4533-B870-311A97A84C60}"/>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wrap="square" lIns="38100" tIns="19050" rIns="38100" bIns="19050" anchor="ctr">
                <a:spAutoFit/>
              </a:bodyPr>
              <a:lstStyle/>
              <a:p>
                <a:pPr>
                  <a:defRPr>
                    <a:solidFill>
                      <a:schemeClr val="tx1">
                        <a:lumMod val="50000"/>
                        <a:lumOff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3</c:v>
                </c:pt>
                <c:pt idx="1">
                  <c:v>5</c:v>
                </c:pt>
                <c:pt idx="2">
                  <c:v>3</c:v>
                </c:pt>
                <c:pt idx="3">
                  <c:v>6</c:v>
                </c:pt>
              </c:numCache>
            </c:numRef>
          </c:val>
          <c:extLst>
            <c:ext xmlns:c16="http://schemas.microsoft.com/office/drawing/2014/chart" uri="{C3380CC4-5D6E-409C-BE32-E72D297353CC}">
              <c16:uniqueId val="{00000001-8973-4533-B870-311A97A84C60}"/>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wrap="square" lIns="38100" tIns="19050" rIns="38100" bIns="19050" anchor="ctr">
                <a:spAutoFit/>
              </a:bodyPr>
              <a:lstStyle/>
              <a:p>
                <a:pPr>
                  <a:defRPr>
                    <a:solidFill>
                      <a:schemeClr val="tx1">
                        <a:lumMod val="50000"/>
                        <a:lumOff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5</c:v>
                </c:pt>
                <c:pt idx="3">
                  <c:v>2</c:v>
                </c:pt>
              </c:numCache>
            </c:numRef>
          </c:val>
          <c:extLst>
            <c:ext xmlns:c16="http://schemas.microsoft.com/office/drawing/2014/chart" uri="{C3380CC4-5D6E-409C-BE32-E72D297353CC}">
              <c16:uniqueId val="{00000002-8973-4533-B870-311A97A84C60}"/>
            </c:ext>
          </c:extLst>
        </c:ser>
        <c:dLbls>
          <c:dLblPos val="outEnd"/>
          <c:showLegendKey val="0"/>
          <c:showVal val="1"/>
          <c:showCatName val="0"/>
          <c:showSerName val="0"/>
          <c:showPercent val="0"/>
          <c:showBubbleSize val="0"/>
        </c:dLbls>
        <c:gapWidth val="219"/>
        <c:overlap val="-62"/>
        <c:axId val="1610954208"/>
        <c:axId val="1610955840"/>
      </c:barChart>
      <c:catAx>
        <c:axId val="1610954208"/>
        <c:scaling>
          <c:orientation val="minMax"/>
        </c:scaling>
        <c:delete val="0"/>
        <c:axPos val="b"/>
        <c:numFmt formatCode="General" sourceLinked="1"/>
        <c:majorTickMark val="none"/>
        <c:minorTickMark val="none"/>
        <c:tickLblPos val="nextTo"/>
        <c:spPr>
          <a:noFill/>
          <a:ln w="7769"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0955840"/>
        <c:crosses val="autoZero"/>
        <c:auto val="1"/>
        <c:lblAlgn val="ctr"/>
        <c:lblOffset val="100"/>
        <c:noMultiLvlLbl val="0"/>
      </c:catAx>
      <c:valAx>
        <c:axId val="1610955840"/>
        <c:scaling>
          <c:orientation val="minMax"/>
        </c:scaling>
        <c:delete val="1"/>
        <c:axPos val="l"/>
        <c:majorGridlines>
          <c:spPr>
            <a:ln w="7769" cap="flat" cmpd="sng" algn="ctr">
              <a:solidFill>
                <a:schemeClr val="tx1">
                  <a:lumMod val="15000"/>
                  <a:lumOff val="85000"/>
                </a:schemeClr>
              </a:solidFill>
              <a:round/>
            </a:ln>
            <a:effectLst/>
          </c:spPr>
        </c:majorGridlines>
        <c:numFmt formatCode="General" sourceLinked="1"/>
        <c:majorTickMark val="out"/>
        <c:minorTickMark val="none"/>
        <c:tickLblPos val="nextTo"/>
        <c:crossAx val="1610954208"/>
        <c:crosses val="autoZero"/>
        <c:crossBetween val="between"/>
      </c:valAx>
      <c:spPr>
        <a:noFill/>
        <a:ln w="20717">
          <a:noFill/>
        </a:ln>
      </c:spPr>
    </c:plotArea>
    <c:legend>
      <c:legendPos val="r"/>
      <c:layout>
        <c:manualLayout>
          <c:xMode val="edge"/>
          <c:yMode val="edge"/>
          <c:x val="7.0617145364649039E-2"/>
          <c:y val="0.90945680434665122"/>
          <c:w val="0.75053060724654685"/>
          <c:h val="8.8636553988515568E-2"/>
        </c:manualLayout>
      </c:layout>
      <c:overlay val="0"/>
      <c:txPr>
        <a:bodyPr/>
        <a:lstStyle/>
        <a:p>
          <a:pPr>
            <a:defRPr>
              <a:solidFill>
                <a:schemeClr val="tx1">
                  <a:lumMod val="50000"/>
                  <a:lumOff val="50000"/>
                </a:schemeClr>
              </a:solidFill>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3"/>
            </a:solidFill>
            <a:ln>
              <a:noFill/>
            </a:ln>
            <a:effectLst/>
          </c:spPr>
          <c:cat>
            <c:strRef>
              <c:f>Sheet1!$A$2:$A$8</c:f>
              <c:strCache>
                <c:ptCount val="4"/>
                <c:pt idx="0">
                  <c:v>Category 1</c:v>
                </c:pt>
                <c:pt idx="1">
                  <c:v>Category 2</c:v>
                </c:pt>
                <c:pt idx="2">
                  <c:v>Category 3</c:v>
                </c:pt>
                <c:pt idx="3">
                  <c:v>Category 4</c:v>
                </c:pt>
              </c:strCache>
            </c:strRef>
          </c:cat>
          <c:val>
            <c:numRef>
              <c:f>Sheet1!$B$2:$B$8</c:f>
              <c:numCache>
                <c:formatCode>General</c:formatCode>
                <c:ptCount val="7"/>
                <c:pt idx="0">
                  <c:v>5</c:v>
                </c:pt>
                <c:pt idx="1">
                  <c:v>2.5</c:v>
                </c:pt>
                <c:pt idx="2">
                  <c:v>4</c:v>
                </c:pt>
                <c:pt idx="3">
                  <c:v>6</c:v>
                </c:pt>
                <c:pt idx="4">
                  <c:v>4</c:v>
                </c:pt>
                <c:pt idx="5">
                  <c:v>8</c:v>
                </c:pt>
                <c:pt idx="6">
                  <c:v>7</c:v>
                </c:pt>
              </c:numCache>
            </c:numRef>
          </c:val>
          <c:extLst>
            <c:ext xmlns:c16="http://schemas.microsoft.com/office/drawing/2014/chart" uri="{C3380CC4-5D6E-409C-BE32-E72D297353CC}">
              <c16:uniqueId val="{00000000-E964-4F56-98FF-21226A9E5218}"/>
            </c:ext>
          </c:extLst>
        </c:ser>
        <c:ser>
          <c:idx val="1"/>
          <c:order val="1"/>
          <c:tx>
            <c:strRef>
              <c:f>Sheet1!$C$1</c:f>
              <c:strCache>
                <c:ptCount val="1"/>
                <c:pt idx="0">
                  <c:v>Series 2</c:v>
                </c:pt>
              </c:strCache>
            </c:strRef>
          </c:tx>
          <c:spPr>
            <a:solidFill>
              <a:schemeClr val="accent2"/>
            </a:solidFill>
            <a:ln>
              <a:noFill/>
            </a:ln>
            <a:effectLst/>
          </c:spPr>
          <c:cat>
            <c:strRef>
              <c:f>Sheet1!$A$2:$A$8</c:f>
              <c:strCache>
                <c:ptCount val="4"/>
                <c:pt idx="0">
                  <c:v>Category 1</c:v>
                </c:pt>
                <c:pt idx="1">
                  <c:v>Category 2</c:v>
                </c:pt>
                <c:pt idx="2">
                  <c:v>Category 3</c:v>
                </c:pt>
                <c:pt idx="3">
                  <c:v>Category 4</c:v>
                </c:pt>
              </c:strCache>
            </c:strRef>
          </c:cat>
          <c:val>
            <c:numRef>
              <c:f>Sheet1!$C$2:$C$8</c:f>
              <c:numCache>
                <c:formatCode>General</c:formatCode>
                <c:ptCount val="7"/>
                <c:pt idx="0">
                  <c:v>2.4</c:v>
                </c:pt>
                <c:pt idx="1">
                  <c:v>4.4000000000000004</c:v>
                </c:pt>
                <c:pt idx="2">
                  <c:v>1.8</c:v>
                </c:pt>
                <c:pt idx="3">
                  <c:v>8</c:v>
                </c:pt>
                <c:pt idx="4">
                  <c:v>3</c:v>
                </c:pt>
                <c:pt idx="5">
                  <c:v>5</c:v>
                </c:pt>
                <c:pt idx="6">
                  <c:v>6</c:v>
                </c:pt>
              </c:numCache>
            </c:numRef>
          </c:val>
          <c:extLst>
            <c:ext xmlns:c16="http://schemas.microsoft.com/office/drawing/2014/chart" uri="{C3380CC4-5D6E-409C-BE32-E72D297353CC}">
              <c16:uniqueId val="{00000001-E964-4F56-98FF-21226A9E5218}"/>
            </c:ext>
          </c:extLst>
        </c:ser>
        <c:ser>
          <c:idx val="2"/>
          <c:order val="2"/>
          <c:tx>
            <c:strRef>
              <c:f>Sheet1!$D$1</c:f>
              <c:strCache>
                <c:ptCount val="1"/>
                <c:pt idx="0">
                  <c:v>Series 3</c:v>
                </c:pt>
              </c:strCache>
            </c:strRef>
          </c:tx>
          <c:spPr>
            <a:solidFill>
              <a:schemeClr val="accent1"/>
            </a:solidFill>
            <a:ln>
              <a:noFill/>
            </a:ln>
            <a:effectLst/>
          </c:spPr>
          <c:cat>
            <c:strRef>
              <c:f>Sheet1!$A$2:$A$8</c:f>
              <c:strCache>
                <c:ptCount val="4"/>
                <c:pt idx="0">
                  <c:v>Category 1</c:v>
                </c:pt>
                <c:pt idx="1">
                  <c:v>Category 2</c:v>
                </c:pt>
                <c:pt idx="2">
                  <c:v>Category 3</c:v>
                </c:pt>
                <c:pt idx="3">
                  <c:v>Category 4</c:v>
                </c:pt>
              </c:strCache>
            </c:strRef>
          </c:cat>
          <c:val>
            <c:numRef>
              <c:f>Sheet1!$D$2:$D$8</c:f>
              <c:numCache>
                <c:formatCode>General</c:formatCode>
                <c:ptCount val="7"/>
                <c:pt idx="0">
                  <c:v>1</c:v>
                </c:pt>
                <c:pt idx="1">
                  <c:v>4</c:v>
                </c:pt>
                <c:pt idx="2">
                  <c:v>3</c:v>
                </c:pt>
                <c:pt idx="3">
                  <c:v>5</c:v>
                </c:pt>
                <c:pt idx="4">
                  <c:v>6</c:v>
                </c:pt>
                <c:pt idx="5">
                  <c:v>2</c:v>
                </c:pt>
                <c:pt idx="6">
                  <c:v>3</c:v>
                </c:pt>
              </c:numCache>
            </c:numRef>
          </c:val>
          <c:extLst>
            <c:ext xmlns:c16="http://schemas.microsoft.com/office/drawing/2014/chart" uri="{C3380CC4-5D6E-409C-BE32-E72D297353CC}">
              <c16:uniqueId val="{00000002-E964-4F56-98FF-21226A9E5218}"/>
            </c:ext>
          </c:extLst>
        </c:ser>
        <c:dLbls>
          <c:showLegendKey val="0"/>
          <c:showVal val="0"/>
          <c:showCatName val="0"/>
          <c:showSerName val="0"/>
          <c:showPercent val="0"/>
          <c:showBubbleSize val="0"/>
        </c:dLbls>
        <c:axId val="-2127330432"/>
        <c:axId val="-2127342944"/>
      </c:areaChart>
      <c:catAx>
        <c:axId val="-2127330432"/>
        <c:scaling>
          <c:orientation val="minMax"/>
        </c:scaling>
        <c:delete val="1"/>
        <c:axPos val="b"/>
        <c:numFmt formatCode="General" sourceLinked="1"/>
        <c:majorTickMark val="none"/>
        <c:minorTickMark val="none"/>
        <c:tickLblPos val="nextTo"/>
        <c:crossAx val="-2127342944"/>
        <c:crosses val="autoZero"/>
        <c:auto val="1"/>
        <c:lblAlgn val="ctr"/>
        <c:lblOffset val="100"/>
        <c:noMultiLvlLbl val="0"/>
      </c:catAx>
      <c:valAx>
        <c:axId val="-2127342944"/>
        <c:scaling>
          <c:orientation val="minMax"/>
        </c:scaling>
        <c:delete val="0"/>
        <c:axPos val="l"/>
        <c:majorGridlines>
          <c:spPr>
            <a:ln w="317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lumMod val="65000"/>
                  </a:schemeClr>
                </a:solidFill>
                <a:latin typeface="+mn-lt"/>
                <a:ea typeface="+mn-ea"/>
                <a:cs typeface="+mn-cs"/>
              </a:defRPr>
            </a:pPr>
            <a:endParaRPr lang="en-US"/>
          </a:p>
        </c:txPr>
        <c:crossAx val="-212733043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B8C165-2906-45D2-8052-1959132D57C4}" type="datetimeFigureOut">
              <a:rPr lang="en-US" smtClean="0"/>
              <a:t>11/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B89985-DAE2-4730-80F1-0AB73830D29E}" type="slidenum">
              <a:rPr lang="en-US" smtClean="0"/>
              <a:t>‹#›</a:t>
            </a:fld>
            <a:endParaRPr lang="en-US"/>
          </a:p>
        </p:txBody>
      </p:sp>
    </p:spTree>
    <p:extLst>
      <p:ext uri="{BB962C8B-B14F-4D97-AF65-F5344CB8AC3E}">
        <p14:creationId xmlns:p14="http://schemas.microsoft.com/office/powerpoint/2010/main" val="4205188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189CC6C-ACA7-4523-9988-FC7E1D5A3D3F}" type="datetime1">
              <a:rPr lang="en-US" smtClean="0"/>
              <a:t>11/18/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557884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11" name="Picture Placeholder 7"/>
          <p:cNvSpPr>
            <a:spLocks noGrp="1"/>
          </p:cNvSpPr>
          <p:nvPr>
            <p:ph type="pic" sz="quarter" idx="18"/>
          </p:nvPr>
        </p:nvSpPr>
        <p:spPr>
          <a:xfrm>
            <a:off x="576532" y="1625600"/>
            <a:ext cx="2519899" cy="48514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12" name="Picture Placeholder 7"/>
          <p:cNvSpPr>
            <a:spLocks noGrp="1"/>
          </p:cNvSpPr>
          <p:nvPr>
            <p:ph type="pic" sz="quarter" idx="19"/>
          </p:nvPr>
        </p:nvSpPr>
        <p:spPr>
          <a:xfrm>
            <a:off x="3405993" y="1625600"/>
            <a:ext cx="2519899" cy="48514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13" name="Picture Placeholder 7"/>
          <p:cNvSpPr>
            <a:spLocks noGrp="1"/>
          </p:cNvSpPr>
          <p:nvPr>
            <p:ph type="pic" sz="quarter" idx="20"/>
          </p:nvPr>
        </p:nvSpPr>
        <p:spPr>
          <a:xfrm>
            <a:off x="6220486" y="1625600"/>
            <a:ext cx="2580881" cy="48514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14" name="Picture Placeholder 7"/>
          <p:cNvSpPr>
            <a:spLocks noGrp="1"/>
          </p:cNvSpPr>
          <p:nvPr>
            <p:ph type="pic" sz="quarter" idx="21"/>
          </p:nvPr>
        </p:nvSpPr>
        <p:spPr>
          <a:xfrm>
            <a:off x="9110929" y="1625600"/>
            <a:ext cx="2580881" cy="48514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D5C8E3F-C1DE-41C0-9061-23E8C2189C71}"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4131177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1653726D-DC31-4275-AF39-5A084FC28E5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
        <p:nvSpPr>
          <p:cNvPr id="15" name="Picture Placeholder 7"/>
          <p:cNvSpPr>
            <a:spLocks noGrp="1"/>
          </p:cNvSpPr>
          <p:nvPr>
            <p:ph type="pic" sz="quarter" idx="14"/>
          </p:nvPr>
        </p:nvSpPr>
        <p:spPr>
          <a:xfrm>
            <a:off x="508989" y="1103782"/>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6" name="Picture Placeholder 7"/>
          <p:cNvSpPr>
            <a:spLocks noGrp="1"/>
          </p:cNvSpPr>
          <p:nvPr>
            <p:ph type="pic" sz="quarter" idx="15"/>
          </p:nvPr>
        </p:nvSpPr>
        <p:spPr>
          <a:xfrm>
            <a:off x="3311829" y="1103782"/>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7" name="Picture Placeholder 7"/>
          <p:cNvSpPr>
            <a:spLocks noGrp="1"/>
          </p:cNvSpPr>
          <p:nvPr>
            <p:ph type="pic" sz="quarter" idx="16"/>
          </p:nvPr>
        </p:nvSpPr>
        <p:spPr>
          <a:xfrm>
            <a:off x="508989" y="2617899"/>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8" name="Picture Placeholder 7"/>
          <p:cNvSpPr>
            <a:spLocks noGrp="1"/>
          </p:cNvSpPr>
          <p:nvPr>
            <p:ph type="pic" sz="quarter" idx="17"/>
          </p:nvPr>
        </p:nvSpPr>
        <p:spPr>
          <a:xfrm>
            <a:off x="508989" y="4132016"/>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9" name="Picture Placeholder 7"/>
          <p:cNvSpPr>
            <a:spLocks noGrp="1"/>
          </p:cNvSpPr>
          <p:nvPr>
            <p:ph type="pic" sz="quarter" idx="18"/>
          </p:nvPr>
        </p:nvSpPr>
        <p:spPr>
          <a:xfrm>
            <a:off x="3311829" y="2617899"/>
            <a:ext cx="2741454" cy="295434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0" name="Picture Placeholder 7"/>
          <p:cNvSpPr>
            <a:spLocks noGrp="1"/>
          </p:cNvSpPr>
          <p:nvPr>
            <p:ph type="pic" sz="quarter" idx="19"/>
          </p:nvPr>
        </p:nvSpPr>
        <p:spPr>
          <a:xfrm>
            <a:off x="6126832" y="4132016"/>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1" name="Picture Placeholder 7"/>
          <p:cNvSpPr>
            <a:spLocks noGrp="1"/>
          </p:cNvSpPr>
          <p:nvPr>
            <p:ph type="pic" sz="quarter" idx="20"/>
          </p:nvPr>
        </p:nvSpPr>
        <p:spPr>
          <a:xfrm>
            <a:off x="8944207" y="4132016"/>
            <a:ext cx="2741454" cy="144022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Tree>
    <p:extLst>
      <p:ext uri="{BB962C8B-B14F-4D97-AF65-F5344CB8AC3E}">
        <p14:creationId xmlns:p14="http://schemas.microsoft.com/office/powerpoint/2010/main" val="113624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6" name="Picture Placeholder 7"/>
          <p:cNvSpPr>
            <a:spLocks noGrp="1"/>
          </p:cNvSpPr>
          <p:nvPr>
            <p:ph type="pic" sz="quarter" idx="17"/>
          </p:nvPr>
        </p:nvSpPr>
        <p:spPr>
          <a:xfrm>
            <a:off x="1493134" y="4102700"/>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7" name="Picture Placeholder 7"/>
          <p:cNvSpPr>
            <a:spLocks noGrp="1"/>
          </p:cNvSpPr>
          <p:nvPr>
            <p:ph type="pic" sz="quarter" idx="18"/>
          </p:nvPr>
        </p:nvSpPr>
        <p:spPr>
          <a:xfrm>
            <a:off x="4655631" y="4102700"/>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8" name="Picture Placeholder 7"/>
          <p:cNvSpPr>
            <a:spLocks noGrp="1"/>
          </p:cNvSpPr>
          <p:nvPr>
            <p:ph type="pic" sz="quarter" idx="19"/>
          </p:nvPr>
        </p:nvSpPr>
        <p:spPr>
          <a:xfrm>
            <a:off x="7564565" y="4102700"/>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402900D-C605-448C-A931-E55EBC2D855A}"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
        <p:nvSpPr>
          <p:cNvPr id="13" name="Picture Placeholder 7"/>
          <p:cNvSpPr>
            <a:spLocks noGrp="1"/>
          </p:cNvSpPr>
          <p:nvPr>
            <p:ph type="pic" sz="quarter" idx="14"/>
          </p:nvPr>
        </p:nvSpPr>
        <p:spPr>
          <a:xfrm>
            <a:off x="1493134" y="1874416"/>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4" name="Picture Placeholder 7"/>
          <p:cNvSpPr>
            <a:spLocks noGrp="1"/>
          </p:cNvSpPr>
          <p:nvPr>
            <p:ph type="pic" sz="quarter" idx="15"/>
          </p:nvPr>
        </p:nvSpPr>
        <p:spPr>
          <a:xfrm>
            <a:off x="4655631" y="1874416"/>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5" name="Picture Placeholder 7"/>
          <p:cNvSpPr>
            <a:spLocks noGrp="1"/>
          </p:cNvSpPr>
          <p:nvPr>
            <p:ph type="pic" sz="quarter" idx="16"/>
          </p:nvPr>
        </p:nvSpPr>
        <p:spPr>
          <a:xfrm>
            <a:off x="7564565" y="1874416"/>
            <a:ext cx="2908934" cy="148630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Tree>
    <p:extLst>
      <p:ext uri="{BB962C8B-B14F-4D97-AF65-F5344CB8AC3E}">
        <p14:creationId xmlns:p14="http://schemas.microsoft.com/office/powerpoint/2010/main" val="4127740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1559690"/>
            <a:ext cx="12192000" cy="3327400"/>
          </a:xfrm>
          <a:custGeom>
            <a:avLst/>
            <a:gdLst>
              <a:gd name="connsiteX0" fmla="*/ 2768600 w 12192000"/>
              <a:gd name="connsiteY0" fmla="*/ 2590800 h 3327400"/>
              <a:gd name="connsiteX1" fmla="*/ 12192000 w 12192000"/>
              <a:gd name="connsiteY1" fmla="*/ 2590800 h 3327400"/>
              <a:gd name="connsiteX2" fmla="*/ 12192000 w 12192000"/>
              <a:gd name="connsiteY2" fmla="*/ 3327400 h 3327400"/>
              <a:gd name="connsiteX3" fmla="*/ 2768600 w 12192000"/>
              <a:gd name="connsiteY3" fmla="*/ 3327400 h 3327400"/>
              <a:gd name="connsiteX4" fmla="*/ 1 w 12192000"/>
              <a:gd name="connsiteY4" fmla="*/ 1727200 h 3327400"/>
              <a:gd name="connsiteX5" fmla="*/ 9423400 w 12192000"/>
              <a:gd name="connsiteY5" fmla="*/ 1727200 h 3327400"/>
              <a:gd name="connsiteX6" fmla="*/ 9423400 w 12192000"/>
              <a:gd name="connsiteY6" fmla="*/ 2463800 h 3327400"/>
              <a:gd name="connsiteX7" fmla="*/ 1 w 12192000"/>
              <a:gd name="connsiteY7" fmla="*/ 2463800 h 3327400"/>
              <a:gd name="connsiteX8" fmla="*/ 2768601 w 12192000"/>
              <a:gd name="connsiteY8" fmla="*/ 863600 h 3327400"/>
              <a:gd name="connsiteX9" fmla="*/ 12192000 w 12192000"/>
              <a:gd name="connsiteY9" fmla="*/ 863600 h 3327400"/>
              <a:gd name="connsiteX10" fmla="*/ 12192000 w 12192000"/>
              <a:gd name="connsiteY10" fmla="*/ 1600200 h 3327400"/>
              <a:gd name="connsiteX11" fmla="*/ 2768601 w 12192000"/>
              <a:gd name="connsiteY11" fmla="*/ 1600200 h 3327400"/>
              <a:gd name="connsiteX12" fmla="*/ 0 w 12192000"/>
              <a:gd name="connsiteY12" fmla="*/ 0 h 3327400"/>
              <a:gd name="connsiteX13" fmla="*/ 9423400 w 12192000"/>
              <a:gd name="connsiteY13" fmla="*/ 0 h 3327400"/>
              <a:gd name="connsiteX14" fmla="*/ 9423400 w 12192000"/>
              <a:gd name="connsiteY14" fmla="*/ 736600 h 3327400"/>
              <a:gd name="connsiteX15" fmla="*/ 0 w 12192000"/>
              <a:gd name="connsiteY15" fmla="*/ 736600 h 332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3327400">
                <a:moveTo>
                  <a:pt x="2768600" y="2590800"/>
                </a:moveTo>
                <a:lnTo>
                  <a:pt x="12192000" y="2590800"/>
                </a:lnTo>
                <a:lnTo>
                  <a:pt x="12192000" y="3327400"/>
                </a:lnTo>
                <a:lnTo>
                  <a:pt x="2768600" y="3327400"/>
                </a:lnTo>
                <a:close/>
                <a:moveTo>
                  <a:pt x="1" y="1727200"/>
                </a:moveTo>
                <a:lnTo>
                  <a:pt x="9423400" y="1727200"/>
                </a:lnTo>
                <a:lnTo>
                  <a:pt x="9423400" y="2463800"/>
                </a:lnTo>
                <a:lnTo>
                  <a:pt x="1" y="2463800"/>
                </a:lnTo>
                <a:close/>
                <a:moveTo>
                  <a:pt x="2768601" y="863600"/>
                </a:moveTo>
                <a:lnTo>
                  <a:pt x="12192000" y="863600"/>
                </a:lnTo>
                <a:lnTo>
                  <a:pt x="12192000" y="1600200"/>
                </a:lnTo>
                <a:lnTo>
                  <a:pt x="2768601" y="1600200"/>
                </a:lnTo>
                <a:close/>
                <a:moveTo>
                  <a:pt x="0" y="0"/>
                </a:moveTo>
                <a:lnTo>
                  <a:pt x="9423400" y="0"/>
                </a:lnTo>
                <a:lnTo>
                  <a:pt x="9423400" y="736600"/>
                </a:lnTo>
                <a:lnTo>
                  <a:pt x="0" y="736600"/>
                </a:lnTo>
                <a:close/>
              </a:path>
            </a:pathLst>
          </a:custGeom>
          <a:solidFill>
            <a:schemeClr val="bg1">
              <a:lumMod val="85000"/>
            </a:schemeClr>
          </a:solidFill>
        </p:spPr>
        <p:txBody>
          <a:bodyPr wrap="square">
            <a:no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CC7EA78E-E1D8-4835-86B5-50B22F1BE36E}"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601923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0" y="0"/>
            <a:ext cx="7581900" cy="68580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D137046B-518E-4627-B8D2-318DD5A900C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626815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Only">
    <p:bg>
      <p:bgPr>
        <a:solidFill>
          <a:schemeClr val="tx2">
            <a:lumMod val="75000"/>
          </a:schemeClr>
        </a:solidFill>
        <a:effectLst/>
      </p:bgPr>
    </p:bg>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610100" y="0"/>
            <a:ext cx="7581900" cy="68580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2811541" cy="1318532"/>
          </a:xfrm>
          <a:prstGeom prst="rect">
            <a:avLst/>
          </a:prstGeom>
        </p:spPr>
        <p:txBody>
          <a:bodyPr/>
          <a:lstStyle>
            <a:lvl1pPr>
              <a:defRPr>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F0E73B40-AF4A-4118-A5EA-9E1FB70E170E}"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230148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381602" y="3238500"/>
            <a:ext cx="11467498" cy="3619500"/>
          </a:xfrm>
          <a:custGeom>
            <a:avLst/>
            <a:gdLst>
              <a:gd name="connsiteX0" fmla="*/ 7769400 w 11467498"/>
              <a:gd name="connsiteY0" fmla="*/ 0 h 3619500"/>
              <a:gd name="connsiteX1" fmla="*/ 11467498 w 11467498"/>
              <a:gd name="connsiteY1" fmla="*/ 0 h 3619500"/>
              <a:gd name="connsiteX2" fmla="*/ 11467498 w 11467498"/>
              <a:gd name="connsiteY2" fmla="*/ 3619500 h 3619500"/>
              <a:gd name="connsiteX3" fmla="*/ 7769400 w 11467498"/>
              <a:gd name="connsiteY3" fmla="*/ 3619500 h 3619500"/>
              <a:gd name="connsiteX4" fmla="*/ 3884701 w 11467498"/>
              <a:gd name="connsiteY4" fmla="*/ 0 h 3619500"/>
              <a:gd name="connsiteX5" fmla="*/ 7582798 w 11467498"/>
              <a:gd name="connsiteY5" fmla="*/ 0 h 3619500"/>
              <a:gd name="connsiteX6" fmla="*/ 7582798 w 11467498"/>
              <a:gd name="connsiteY6" fmla="*/ 3619500 h 3619500"/>
              <a:gd name="connsiteX7" fmla="*/ 3884701 w 11467498"/>
              <a:gd name="connsiteY7" fmla="*/ 3619500 h 3619500"/>
              <a:gd name="connsiteX8" fmla="*/ 0 w 11467498"/>
              <a:gd name="connsiteY8" fmla="*/ 0 h 3619500"/>
              <a:gd name="connsiteX9" fmla="*/ 3698099 w 11467498"/>
              <a:gd name="connsiteY9" fmla="*/ 0 h 3619500"/>
              <a:gd name="connsiteX10" fmla="*/ 3698099 w 11467498"/>
              <a:gd name="connsiteY10" fmla="*/ 3619500 h 3619500"/>
              <a:gd name="connsiteX11" fmla="*/ 0 w 11467498"/>
              <a:gd name="connsiteY11" fmla="*/ 361950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67498" h="3619500">
                <a:moveTo>
                  <a:pt x="7769400" y="0"/>
                </a:moveTo>
                <a:lnTo>
                  <a:pt x="11467498" y="0"/>
                </a:lnTo>
                <a:lnTo>
                  <a:pt x="11467498" y="3619500"/>
                </a:lnTo>
                <a:lnTo>
                  <a:pt x="7769400" y="3619500"/>
                </a:lnTo>
                <a:close/>
                <a:moveTo>
                  <a:pt x="3884701" y="0"/>
                </a:moveTo>
                <a:lnTo>
                  <a:pt x="7582798" y="0"/>
                </a:lnTo>
                <a:lnTo>
                  <a:pt x="7582798" y="3619500"/>
                </a:lnTo>
                <a:lnTo>
                  <a:pt x="3884701" y="3619500"/>
                </a:lnTo>
                <a:close/>
                <a:moveTo>
                  <a:pt x="0" y="0"/>
                </a:moveTo>
                <a:lnTo>
                  <a:pt x="3698099" y="0"/>
                </a:lnTo>
                <a:lnTo>
                  <a:pt x="3698099" y="3619500"/>
                </a:lnTo>
                <a:lnTo>
                  <a:pt x="0" y="3619500"/>
                </a:lnTo>
                <a:close/>
              </a:path>
            </a:pathLst>
          </a:custGeom>
          <a:solidFill>
            <a:schemeClr val="bg1">
              <a:lumMod val="85000"/>
            </a:schemeClr>
          </a:solidFill>
        </p:spPr>
        <p:txBody>
          <a:bodyPr wrap="square">
            <a:no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F1A7BE87-6280-444E-A721-D1B907AD08F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391110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8216900" y="0"/>
            <a:ext cx="3429000" cy="48133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A0E7947D-6A8F-4F41-BBA2-BF9361135763}"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2280167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1" y="257033"/>
            <a:ext cx="3939772" cy="26167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1" name="Picture Placeholder 7"/>
          <p:cNvSpPr>
            <a:spLocks noGrp="1"/>
          </p:cNvSpPr>
          <p:nvPr>
            <p:ph type="pic" sz="quarter" idx="14"/>
          </p:nvPr>
        </p:nvSpPr>
        <p:spPr>
          <a:xfrm>
            <a:off x="4112803" y="257033"/>
            <a:ext cx="3939772" cy="26167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12" name="Picture Placeholder 7"/>
          <p:cNvSpPr>
            <a:spLocks noGrp="1"/>
          </p:cNvSpPr>
          <p:nvPr>
            <p:ph type="pic" sz="quarter" idx="15"/>
          </p:nvPr>
        </p:nvSpPr>
        <p:spPr>
          <a:xfrm>
            <a:off x="8225603" y="257033"/>
            <a:ext cx="3939772" cy="26167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151868"/>
            <a:ext cx="10515600" cy="621001"/>
          </a:xfrm>
          <a:prstGeom prst="rect">
            <a:avLst/>
          </a:prstGeom>
        </p:spPr>
        <p:txBody>
          <a:body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377BEA52-1131-4E71-9CC2-4373C7C0C469}"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9964713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7098779" y="688893"/>
            <a:ext cx="4744879" cy="5558972"/>
          </a:xfrm>
          <a:custGeom>
            <a:avLst/>
            <a:gdLst>
              <a:gd name="connsiteX0" fmla="*/ 1976406 w 4744879"/>
              <a:gd name="connsiteY0" fmla="*/ 22 h 5558972"/>
              <a:gd name="connsiteX1" fmla="*/ 3937007 w 4744879"/>
              <a:gd name="connsiteY1" fmla="*/ 820332 h 5558972"/>
              <a:gd name="connsiteX2" fmla="*/ 3927670 w 4744879"/>
              <a:gd name="connsiteY2" fmla="*/ 4747992 h 5558972"/>
              <a:gd name="connsiteX3" fmla="*/ 0 w 4744879"/>
              <a:gd name="connsiteY3" fmla="*/ 4744880 h 5558972"/>
              <a:gd name="connsiteX4" fmla="*/ 9367 w 4744879"/>
              <a:gd name="connsiteY4" fmla="*/ 804771 h 5558972"/>
              <a:gd name="connsiteX5" fmla="*/ 1976406 w 4744879"/>
              <a:gd name="connsiteY5" fmla="*/ 22 h 555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879" h="5558972">
                <a:moveTo>
                  <a:pt x="1976406" y="22"/>
                </a:moveTo>
                <a:cubicBezTo>
                  <a:pt x="2687043" y="2837"/>
                  <a:pt x="3396608" y="276496"/>
                  <a:pt x="3937007" y="820332"/>
                </a:cubicBezTo>
                <a:cubicBezTo>
                  <a:pt x="5017805" y="1908004"/>
                  <a:pt x="5013628" y="3665471"/>
                  <a:pt x="3927670" y="4747992"/>
                </a:cubicBezTo>
                <a:cubicBezTo>
                  <a:pt x="2841712" y="5830513"/>
                  <a:pt x="1084241" y="5829121"/>
                  <a:pt x="0" y="4744880"/>
                </a:cubicBezTo>
                <a:cubicBezTo>
                  <a:pt x="3122" y="3431510"/>
                  <a:pt x="6245" y="2118141"/>
                  <a:pt x="9367" y="804771"/>
                </a:cubicBezTo>
                <a:cubicBezTo>
                  <a:pt x="554059" y="265234"/>
                  <a:pt x="1265769" y="-2794"/>
                  <a:pt x="1976406" y="22"/>
                </a:cubicBezTo>
                <a:close/>
              </a:path>
            </a:pathLst>
          </a:custGeom>
          <a:solidFill>
            <a:schemeClr val="bg1">
              <a:lumMod val="85000"/>
            </a:schemeClr>
          </a:solidFill>
        </p:spPr>
        <p:txBody>
          <a:bodyPr wrap="square">
            <a:no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96D0B174-FA05-423F-B50A-B16FD4D98BC2}"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158612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81602" y="1279739"/>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BA9A181-7A30-45DD-AFD6-996A060D7E5F}" type="datetime1">
              <a:rPr lang="en-US" smtClean="0"/>
              <a:t>11/18/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326434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chemeClr val="tx2">
            <a:lumMod val="7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39271" y="1534290"/>
            <a:ext cx="2698330" cy="456146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9" name="Picture Placeholder 7"/>
          <p:cNvSpPr>
            <a:spLocks noGrp="1"/>
          </p:cNvSpPr>
          <p:nvPr>
            <p:ph type="pic" sz="quarter" idx="14"/>
          </p:nvPr>
        </p:nvSpPr>
        <p:spPr>
          <a:xfrm>
            <a:off x="9241321" y="1534290"/>
            <a:ext cx="2698330" cy="4561468"/>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lvl1pPr>
              <a:defRPr>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D410D28-2449-4310-A141-EDD0FD41F7D3}"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4996581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502720" y="1534290"/>
            <a:ext cx="5462652" cy="26167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9" name="Picture Placeholder 7"/>
          <p:cNvSpPr>
            <a:spLocks noGrp="1"/>
          </p:cNvSpPr>
          <p:nvPr>
            <p:ph type="pic" sz="quarter" idx="14"/>
          </p:nvPr>
        </p:nvSpPr>
        <p:spPr>
          <a:xfrm>
            <a:off x="6148778" y="1534290"/>
            <a:ext cx="5462652" cy="26167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0EAAF22-4BA9-4B66-93FB-72EBDB08A529}"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24523913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208663" y="0"/>
            <a:ext cx="5983338" cy="6858000"/>
          </a:xfrm>
          <a:custGeom>
            <a:avLst/>
            <a:gdLst>
              <a:gd name="connsiteX0" fmla="*/ 1034170 w 5983338"/>
              <a:gd name="connsiteY0" fmla="*/ 0 h 6858000"/>
              <a:gd name="connsiteX1" fmla="*/ 5983338 w 5983338"/>
              <a:gd name="connsiteY1" fmla="*/ 0 h 6858000"/>
              <a:gd name="connsiteX2" fmla="*/ 5983338 w 5983338"/>
              <a:gd name="connsiteY2" fmla="*/ 6858000 h 6858000"/>
              <a:gd name="connsiteX3" fmla="*/ 1721264 w 5983338"/>
              <a:gd name="connsiteY3" fmla="*/ 6858000 h 6858000"/>
              <a:gd name="connsiteX4" fmla="*/ 1654995 w 5983338"/>
              <a:gd name="connsiteY4" fmla="*/ 6800596 h 6858000"/>
              <a:gd name="connsiteX5" fmla="*/ 0 w 5983338"/>
              <a:gd name="connsiteY5" fmla="*/ 3061363 h 6858000"/>
              <a:gd name="connsiteX6" fmla="*/ 1003560 w 5983338"/>
              <a:gd name="connsiteY6" fmla="*/ 389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3338" h="6858000">
                <a:moveTo>
                  <a:pt x="1034170" y="0"/>
                </a:moveTo>
                <a:lnTo>
                  <a:pt x="5983338" y="0"/>
                </a:lnTo>
                <a:lnTo>
                  <a:pt x="5983338" y="6858000"/>
                </a:lnTo>
                <a:lnTo>
                  <a:pt x="1721264" y="6858000"/>
                </a:lnTo>
                <a:lnTo>
                  <a:pt x="1654995" y="6800596"/>
                </a:lnTo>
                <a:cubicBezTo>
                  <a:pt x="638297" y="5876531"/>
                  <a:pt x="0" y="4543488"/>
                  <a:pt x="0" y="3061363"/>
                </a:cubicBezTo>
                <a:cubicBezTo>
                  <a:pt x="0" y="1927974"/>
                  <a:pt x="373259" y="881764"/>
                  <a:pt x="1003560" y="38953"/>
                </a:cubicBezTo>
                <a:close/>
              </a:path>
            </a:pathLst>
          </a:custGeom>
          <a:solidFill>
            <a:schemeClr val="bg1">
              <a:lumMod val="85000"/>
            </a:schemeClr>
          </a:solidFill>
        </p:spPr>
        <p:txBody>
          <a:bodyPr wrap="square">
            <a:no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95A49712-1E5E-498F-963A-82C75A5B84C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23551974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152401" y="419100"/>
            <a:ext cx="3822699" cy="50292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9" name="Picture Placeholder 7"/>
          <p:cNvSpPr>
            <a:spLocks noGrp="1"/>
          </p:cNvSpPr>
          <p:nvPr>
            <p:ph type="pic" sz="quarter" idx="14"/>
          </p:nvPr>
        </p:nvSpPr>
        <p:spPr>
          <a:xfrm>
            <a:off x="4292600" y="3060700"/>
            <a:ext cx="7396680" cy="2966296"/>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4292600" y="365125"/>
            <a:ext cx="6604602"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368F311-DC7B-479C-8A54-06F93F491A19}"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323615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796985"/>
            <a:ext cx="6007101" cy="186847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7C024C07-3884-41E0-B0E5-8507F1604B8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
        <p:nvSpPr>
          <p:cNvPr id="6" name="Rectangle 5"/>
          <p:cNvSpPr/>
          <p:nvPr userDrawn="1"/>
        </p:nvSpPr>
        <p:spPr>
          <a:xfrm>
            <a:off x="6007101" y="1796985"/>
            <a:ext cx="6184900" cy="1868470"/>
          </a:xfrm>
          <a:prstGeom prst="rect">
            <a:avLst/>
          </a:prstGeom>
          <a:gradFill flip="none" rotWithShape="1">
            <a:gsLst>
              <a:gs pos="0">
                <a:schemeClr val="accent1"/>
              </a:gs>
              <a:gs pos="100000">
                <a:schemeClr val="accent3"/>
              </a:gs>
            </a:gsLst>
            <a:lin ang="810000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1472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232226"/>
            <a:ext cx="12192000" cy="662577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2616E3C-BD5A-4F6E-82F9-EB0B5ADE22D6}"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42152866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6" name="Freeform 5"/>
          <p:cNvSpPr/>
          <p:nvPr userDrawn="1"/>
        </p:nvSpPr>
        <p:spPr>
          <a:xfrm>
            <a:off x="0" y="261256"/>
            <a:ext cx="8140730" cy="6596743"/>
          </a:xfrm>
          <a:custGeom>
            <a:avLst/>
            <a:gdLst>
              <a:gd name="connsiteX0" fmla="*/ 0 w 8140730"/>
              <a:gd name="connsiteY0" fmla="*/ 0 h 6858000"/>
              <a:gd name="connsiteX1" fmla="*/ 8140730 w 8140730"/>
              <a:gd name="connsiteY1" fmla="*/ 0 h 6858000"/>
              <a:gd name="connsiteX2" fmla="*/ 6096000 w 8140730"/>
              <a:gd name="connsiteY2" fmla="*/ 6858000 h 6858000"/>
              <a:gd name="connsiteX3" fmla="*/ 0 w 8140730"/>
              <a:gd name="connsiteY3" fmla="*/ 6858000 h 6858000"/>
              <a:gd name="connsiteX4" fmla="*/ 0 w 814073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730" h="6858000">
                <a:moveTo>
                  <a:pt x="0" y="0"/>
                </a:moveTo>
                <a:lnTo>
                  <a:pt x="8140730" y="0"/>
                </a:lnTo>
                <a:lnTo>
                  <a:pt x="6096000" y="6858000"/>
                </a:lnTo>
                <a:lnTo>
                  <a:pt x="0" y="6858000"/>
                </a:lnTo>
                <a:lnTo>
                  <a:pt x="0" y="0"/>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1602" y="365125"/>
            <a:ext cx="6565298" cy="621001"/>
          </a:xfrm>
          <a:prstGeom prst="rect">
            <a:avLst/>
          </a:prstGeom>
        </p:spPr>
        <p:txBody>
          <a:bodyPr/>
          <a:lstStyle>
            <a:lvl1pPr>
              <a:defRPr>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A268646A-3D75-4EEA-A2B0-3850E9F31087}"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23951275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1542836"/>
            <a:ext cx="12192000" cy="3005651"/>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2D5AF30-1100-48A3-9966-9EC7753079DF}"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630532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2973784"/>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p:nvPr>
        </p:nvSpPr>
        <p:spPr>
          <a:xfrm>
            <a:off x="381602" y="3070225"/>
            <a:ext cx="10515600" cy="621001"/>
          </a:xfrm>
          <a:prstGeom prst="rect">
            <a:avLst/>
          </a:prstGeom>
        </p:spPr>
        <p:txBody>
          <a:body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AB4480A8-E7F8-4CB7-8434-F74E78793E6E}"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434859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a:p>
        </p:txBody>
      </p:sp>
      <p:sp>
        <p:nvSpPr>
          <p:cNvPr id="2" name="Title 1"/>
          <p:cNvSpPr>
            <a:spLocks noGrp="1"/>
          </p:cNvSpPr>
          <p:nvPr>
            <p:ph type="title" hasCustomPrompt="1"/>
          </p:nvPr>
        </p:nvSpPr>
        <p:spPr>
          <a:xfrm>
            <a:off x="838200" y="3118500"/>
            <a:ext cx="10515600" cy="621001"/>
          </a:xfrm>
          <a:prstGeom prst="rect">
            <a:avLst/>
          </a:prstGeom>
        </p:spPr>
        <p:txBody>
          <a:bodyPr>
            <a:noAutofit/>
          </a:bodyPr>
          <a:lstStyle>
            <a:lvl1pPr algn="ctr">
              <a:defRPr sz="6000"/>
            </a:lvl1pPr>
          </a:lstStyle>
          <a:p>
            <a:r>
              <a:rPr lang="en-US" dirty="0"/>
              <a:t>CLICK TO EDIT MASTER</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B764155-5AC8-4893-AEB5-A3ADFFBA75B9}"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2141818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5ACB8A8-D48B-4558-9247-14CFE9AEE93E}" type="datetime1">
              <a:rPr lang="en-US" smtClean="0"/>
              <a:t>11/18/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773553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6036A437-FCF7-471F-B309-E11B33A076BA}" type="datetime1">
              <a:rPr lang="en-US" smtClean="0"/>
              <a:t>11/18/2019</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42158980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3BC3F-A1E7-447C-B2EF-F823416C193E}"/>
              </a:ext>
            </a:extLst>
          </p:cNvPr>
          <p:cNvSpPr>
            <a:spLocks noGrp="1"/>
          </p:cNvSpPr>
          <p:nvPr>
            <p:ph type="title" hasCustomPrompt="1"/>
          </p:nvPr>
        </p:nvSpPr>
        <p:spPr/>
        <p:txBody>
          <a:bodyPr/>
          <a:lstStyle/>
          <a:p>
            <a:r>
              <a:rPr lang="en-US" dirty="0"/>
              <a:t> </a:t>
            </a:r>
          </a:p>
        </p:txBody>
      </p:sp>
      <p:sp>
        <p:nvSpPr>
          <p:cNvPr id="3" name="Rectangle 2">
            <a:extLst>
              <a:ext uri="{FF2B5EF4-FFF2-40B4-BE49-F238E27FC236}">
                <a16:creationId xmlns:a16="http://schemas.microsoft.com/office/drawing/2014/main" id="{9BD70F52-8EDE-4326-91DA-CDCA75443D4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3915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C3FD30D-C066-4B00-ACA9-3FCEC161234F}" type="datetime1">
              <a:rPr lang="en-US" smtClean="0"/>
              <a:t>11/18/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691508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6124845-BA6A-41D6-A951-BAF11FAD768C}"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232722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0" name="Picture Placeholder 9"/>
          <p:cNvSpPr>
            <a:spLocks noGrp="1"/>
          </p:cNvSpPr>
          <p:nvPr>
            <p:ph type="pic" sz="quarter" idx="20"/>
          </p:nvPr>
        </p:nvSpPr>
        <p:spPr>
          <a:xfrm>
            <a:off x="6938774" y="924740"/>
            <a:ext cx="3422670" cy="4386220"/>
          </a:xfrm>
          <a:custGeom>
            <a:avLst/>
            <a:gdLst>
              <a:gd name="connsiteX0" fmla="*/ 2072264 w 3422670"/>
              <a:gd name="connsiteY0" fmla="*/ 0 h 4386220"/>
              <a:gd name="connsiteX1" fmla="*/ 3422670 w 3422670"/>
              <a:gd name="connsiteY1" fmla="*/ 3611325 h 4386220"/>
              <a:gd name="connsiteX2" fmla="*/ 1350406 w 3422670"/>
              <a:gd name="connsiteY2" fmla="*/ 4386220 h 4386220"/>
              <a:gd name="connsiteX3" fmla="*/ 0 w 3422670"/>
              <a:gd name="connsiteY3" fmla="*/ 774895 h 4386220"/>
            </a:gdLst>
            <a:ahLst/>
            <a:cxnLst>
              <a:cxn ang="0">
                <a:pos x="connsiteX0" y="connsiteY0"/>
              </a:cxn>
              <a:cxn ang="0">
                <a:pos x="connsiteX1" y="connsiteY1"/>
              </a:cxn>
              <a:cxn ang="0">
                <a:pos x="connsiteX2" y="connsiteY2"/>
              </a:cxn>
              <a:cxn ang="0">
                <a:pos x="connsiteX3" y="connsiteY3"/>
              </a:cxn>
            </a:cxnLst>
            <a:rect l="l" t="t" r="r" b="b"/>
            <a:pathLst>
              <a:path w="3422670" h="4386220">
                <a:moveTo>
                  <a:pt x="2072264" y="0"/>
                </a:moveTo>
                <a:lnTo>
                  <a:pt x="3422670" y="3611325"/>
                </a:lnTo>
                <a:lnTo>
                  <a:pt x="1350406" y="4386220"/>
                </a:lnTo>
                <a:lnTo>
                  <a:pt x="0" y="774895"/>
                </a:lnTo>
                <a:close/>
              </a:path>
            </a:pathLst>
          </a:custGeom>
        </p:spPr>
        <p:txBody>
          <a:bodyPr wrap="square">
            <a:noAutofit/>
          </a:bodyPr>
          <a:lstStyle>
            <a:lvl1pPr marL="0" indent="0" algn="ctr">
              <a:buNone/>
              <a:defRPr sz="1800">
                <a:solidFill>
                  <a:schemeClr val="tx1">
                    <a:lumMod val="75000"/>
                    <a:lumOff val="25000"/>
                  </a:schemeClr>
                </a:solidFill>
              </a:defRPr>
            </a:lvl1pPr>
          </a:lstStyle>
          <a:p>
            <a:endParaRPr lang="en-US" dirty="0"/>
          </a:p>
        </p:txBody>
      </p:sp>
      <p:sp>
        <p:nvSpPr>
          <p:cNvPr id="8" name="Picture Placeholder 7"/>
          <p:cNvSpPr>
            <a:spLocks noGrp="1"/>
          </p:cNvSpPr>
          <p:nvPr>
            <p:ph type="pic" sz="quarter" idx="19"/>
          </p:nvPr>
        </p:nvSpPr>
        <p:spPr>
          <a:xfrm>
            <a:off x="0" y="223107"/>
            <a:ext cx="12191999" cy="3806342"/>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82A3E42-141D-4695-A3DF-6095BF490FCA}"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348504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7" name="Picture Placeholder 7"/>
          <p:cNvSpPr>
            <a:spLocks noGrp="1"/>
          </p:cNvSpPr>
          <p:nvPr>
            <p:ph type="pic" sz="quarter" idx="19"/>
          </p:nvPr>
        </p:nvSpPr>
        <p:spPr>
          <a:xfrm>
            <a:off x="0" y="223107"/>
            <a:ext cx="4657285" cy="4161450"/>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 name="Title 1"/>
          <p:cNvSpPr>
            <a:spLocks noGrp="1"/>
          </p:cNvSpPr>
          <p:nvPr>
            <p:ph type="title"/>
          </p:nvPr>
        </p:nvSpPr>
        <p:spPr>
          <a:xfrm>
            <a:off x="5058888" y="365125"/>
            <a:ext cx="5838314" cy="621001"/>
          </a:xfrm>
          <a:prstGeom prst="rect">
            <a:avLst/>
          </a:prstGeom>
        </p:spPr>
        <p:txBody>
          <a:body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1D16D6DD-ABF2-48F6-910B-100AF5895933}"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239437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38" name="Picture Placeholder 7"/>
          <p:cNvSpPr>
            <a:spLocks noGrp="1"/>
          </p:cNvSpPr>
          <p:nvPr>
            <p:ph type="pic" sz="quarter" idx="32"/>
          </p:nvPr>
        </p:nvSpPr>
        <p:spPr>
          <a:xfrm>
            <a:off x="4735595"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FEB9014-3579-4051-9CC1-B89408F96769}"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
        <p:nvSpPr>
          <p:cNvPr id="24" name="Picture Placeholder 7"/>
          <p:cNvSpPr>
            <a:spLocks noGrp="1"/>
          </p:cNvSpPr>
          <p:nvPr>
            <p:ph type="pic" sz="quarter" idx="18"/>
          </p:nvPr>
        </p:nvSpPr>
        <p:spPr>
          <a:xfrm>
            <a:off x="398876"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5" name="Picture Placeholder 7"/>
          <p:cNvSpPr>
            <a:spLocks noGrp="1"/>
          </p:cNvSpPr>
          <p:nvPr>
            <p:ph type="pic" sz="quarter" idx="19"/>
          </p:nvPr>
        </p:nvSpPr>
        <p:spPr>
          <a:xfrm>
            <a:off x="1839816"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6" name="Picture Placeholder 7"/>
          <p:cNvSpPr>
            <a:spLocks noGrp="1"/>
          </p:cNvSpPr>
          <p:nvPr>
            <p:ph type="pic" sz="quarter" idx="20"/>
          </p:nvPr>
        </p:nvSpPr>
        <p:spPr>
          <a:xfrm>
            <a:off x="3260579"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7" name="Picture Placeholder 7"/>
          <p:cNvSpPr>
            <a:spLocks noGrp="1"/>
          </p:cNvSpPr>
          <p:nvPr>
            <p:ph type="pic" sz="quarter" idx="21"/>
          </p:nvPr>
        </p:nvSpPr>
        <p:spPr>
          <a:xfrm>
            <a:off x="6155041"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8" name="Picture Placeholder 7"/>
          <p:cNvSpPr>
            <a:spLocks noGrp="1"/>
          </p:cNvSpPr>
          <p:nvPr>
            <p:ph type="pic" sz="quarter" idx="22"/>
          </p:nvPr>
        </p:nvSpPr>
        <p:spPr>
          <a:xfrm>
            <a:off x="7575804"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29" name="Picture Placeholder 7"/>
          <p:cNvSpPr>
            <a:spLocks noGrp="1"/>
          </p:cNvSpPr>
          <p:nvPr>
            <p:ph type="pic" sz="quarter" idx="23"/>
          </p:nvPr>
        </p:nvSpPr>
        <p:spPr>
          <a:xfrm>
            <a:off x="9054618"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0" name="Picture Placeholder 7"/>
          <p:cNvSpPr>
            <a:spLocks noGrp="1"/>
          </p:cNvSpPr>
          <p:nvPr>
            <p:ph type="pic" sz="quarter" idx="24"/>
          </p:nvPr>
        </p:nvSpPr>
        <p:spPr>
          <a:xfrm>
            <a:off x="10475381" y="1576153"/>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1" name="Picture Placeholder 7"/>
          <p:cNvSpPr>
            <a:spLocks noGrp="1"/>
          </p:cNvSpPr>
          <p:nvPr>
            <p:ph type="pic" sz="quarter" idx="25"/>
          </p:nvPr>
        </p:nvSpPr>
        <p:spPr>
          <a:xfrm>
            <a:off x="398876"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2" name="Picture Placeholder 7"/>
          <p:cNvSpPr>
            <a:spLocks noGrp="1"/>
          </p:cNvSpPr>
          <p:nvPr>
            <p:ph type="pic" sz="quarter" idx="26"/>
          </p:nvPr>
        </p:nvSpPr>
        <p:spPr>
          <a:xfrm>
            <a:off x="1839816"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3" name="Picture Placeholder 7"/>
          <p:cNvSpPr>
            <a:spLocks noGrp="1"/>
          </p:cNvSpPr>
          <p:nvPr>
            <p:ph type="pic" sz="quarter" idx="27"/>
          </p:nvPr>
        </p:nvSpPr>
        <p:spPr>
          <a:xfrm>
            <a:off x="3260579"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4" name="Picture Placeholder 7"/>
          <p:cNvSpPr>
            <a:spLocks noGrp="1"/>
          </p:cNvSpPr>
          <p:nvPr>
            <p:ph type="pic" sz="quarter" idx="28"/>
          </p:nvPr>
        </p:nvSpPr>
        <p:spPr>
          <a:xfrm>
            <a:off x="6155041"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5" name="Picture Placeholder 7"/>
          <p:cNvSpPr>
            <a:spLocks noGrp="1"/>
          </p:cNvSpPr>
          <p:nvPr>
            <p:ph type="pic" sz="quarter" idx="29"/>
          </p:nvPr>
        </p:nvSpPr>
        <p:spPr>
          <a:xfrm>
            <a:off x="7575804"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6" name="Picture Placeholder 7"/>
          <p:cNvSpPr>
            <a:spLocks noGrp="1"/>
          </p:cNvSpPr>
          <p:nvPr>
            <p:ph type="pic" sz="quarter" idx="30"/>
          </p:nvPr>
        </p:nvSpPr>
        <p:spPr>
          <a:xfrm>
            <a:off x="9054618"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7" name="Picture Placeholder 7"/>
          <p:cNvSpPr>
            <a:spLocks noGrp="1"/>
          </p:cNvSpPr>
          <p:nvPr>
            <p:ph type="pic" sz="quarter" idx="31"/>
          </p:nvPr>
        </p:nvSpPr>
        <p:spPr>
          <a:xfrm>
            <a:off x="10475381" y="3011254"/>
            <a:ext cx="1307653" cy="1306745"/>
          </a:xfrm>
          <a:prstGeom prst="rect">
            <a:avLst/>
          </a:prstGeom>
        </p:spPr>
        <p:txBody>
          <a:bodyPr>
            <a:normAutofit/>
          </a:bodyPr>
          <a:lstStyle>
            <a:lvl1pPr marL="0" indent="0" algn="ctr">
              <a:buNone/>
              <a:defRPr sz="1800">
                <a:solidFill>
                  <a:schemeClr val="tx1">
                    <a:lumMod val="75000"/>
                    <a:lumOff val="25000"/>
                  </a:schemeClr>
                </a:solidFill>
              </a:defRPr>
            </a:lvl1pPr>
          </a:lstStyle>
          <a:p>
            <a:endParaRPr lang="en-US" dirty="0"/>
          </a:p>
        </p:txBody>
      </p:sp>
      <p:sp>
        <p:nvSpPr>
          <p:cNvPr id="39" name="Rectangle 38"/>
          <p:cNvSpPr/>
          <p:nvPr userDrawn="1"/>
        </p:nvSpPr>
        <p:spPr>
          <a:xfrm>
            <a:off x="4721704" y="1575021"/>
            <a:ext cx="1307653" cy="13078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7012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8" name="Picture Placeholder 7"/>
          <p:cNvSpPr>
            <a:spLocks noGrp="1"/>
          </p:cNvSpPr>
          <p:nvPr>
            <p:ph type="pic" sz="quarter" idx="19"/>
          </p:nvPr>
        </p:nvSpPr>
        <p:spPr>
          <a:xfrm>
            <a:off x="5741304" y="2626702"/>
            <a:ext cx="6038825" cy="1803784"/>
          </a:xfrm>
          <a:custGeom>
            <a:avLst/>
            <a:gdLst>
              <a:gd name="connsiteX0" fmla="*/ 0 w 6038825"/>
              <a:gd name="connsiteY0" fmla="*/ 901891 h 1803784"/>
              <a:gd name="connsiteX1" fmla="*/ 0 w 6038825"/>
              <a:gd name="connsiteY1" fmla="*/ 901892 h 1803784"/>
              <a:gd name="connsiteX2" fmla="*/ 0 w 6038825"/>
              <a:gd name="connsiteY2" fmla="*/ 901892 h 1803784"/>
              <a:gd name="connsiteX3" fmla="*/ 901892 w 6038825"/>
              <a:gd name="connsiteY3" fmla="*/ 0 h 1803784"/>
              <a:gd name="connsiteX4" fmla="*/ 5136933 w 6038825"/>
              <a:gd name="connsiteY4" fmla="*/ 0 h 1803784"/>
              <a:gd name="connsiteX5" fmla="*/ 6038825 w 6038825"/>
              <a:gd name="connsiteY5" fmla="*/ 901892 h 1803784"/>
              <a:gd name="connsiteX6" fmla="*/ 6038824 w 6038825"/>
              <a:gd name="connsiteY6" fmla="*/ 901892 h 1803784"/>
              <a:gd name="connsiteX7" fmla="*/ 5136932 w 6038825"/>
              <a:gd name="connsiteY7" fmla="*/ 1803784 h 1803784"/>
              <a:gd name="connsiteX8" fmla="*/ 901892 w 6038825"/>
              <a:gd name="connsiteY8" fmla="*/ 1803783 h 1803784"/>
              <a:gd name="connsiteX9" fmla="*/ 18324 w 6038825"/>
              <a:gd name="connsiteY9" fmla="*/ 1083654 h 1803784"/>
              <a:gd name="connsiteX10" fmla="*/ 0 w 6038825"/>
              <a:gd name="connsiteY10" fmla="*/ 901892 h 1803784"/>
              <a:gd name="connsiteX11" fmla="*/ 18324 w 6038825"/>
              <a:gd name="connsiteY11" fmla="*/ 720130 h 1803784"/>
              <a:gd name="connsiteX12" fmla="*/ 901892 w 6038825"/>
              <a:gd name="connsiteY12" fmla="*/ 0 h 180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8825" h="1803784">
                <a:moveTo>
                  <a:pt x="0" y="901891"/>
                </a:moveTo>
                <a:lnTo>
                  <a:pt x="0" y="901892"/>
                </a:lnTo>
                <a:lnTo>
                  <a:pt x="0" y="901892"/>
                </a:lnTo>
                <a:close/>
                <a:moveTo>
                  <a:pt x="901892" y="0"/>
                </a:moveTo>
                <a:lnTo>
                  <a:pt x="5136933" y="0"/>
                </a:lnTo>
                <a:cubicBezTo>
                  <a:pt x="5635034" y="0"/>
                  <a:pt x="6038825" y="403791"/>
                  <a:pt x="6038825" y="901892"/>
                </a:cubicBezTo>
                <a:lnTo>
                  <a:pt x="6038824" y="901892"/>
                </a:lnTo>
                <a:cubicBezTo>
                  <a:pt x="6038824" y="1399993"/>
                  <a:pt x="5635033" y="1803784"/>
                  <a:pt x="5136932" y="1803784"/>
                </a:cubicBezTo>
                <a:lnTo>
                  <a:pt x="901892" y="1803783"/>
                </a:lnTo>
                <a:cubicBezTo>
                  <a:pt x="466054" y="1803783"/>
                  <a:pt x="102422" y="1494631"/>
                  <a:pt x="18324" y="1083654"/>
                </a:cubicBezTo>
                <a:lnTo>
                  <a:pt x="0" y="901892"/>
                </a:lnTo>
                <a:lnTo>
                  <a:pt x="18324" y="720130"/>
                </a:lnTo>
                <a:cubicBezTo>
                  <a:pt x="102422" y="309153"/>
                  <a:pt x="466054" y="0"/>
                  <a:pt x="901892" y="0"/>
                </a:cubicBezTo>
                <a:close/>
              </a:path>
            </a:pathLst>
          </a:custGeom>
        </p:spPr>
        <p:txBody>
          <a:bodyPr wrap="square">
            <a:noAutofit/>
          </a:bodyPr>
          <a:lstStyle>
            <a:lvl1pPr marL="0" indent="0" algn="ctr">
              <a:buNone/>
              <a:defRPr sz="1800">
                <a:solidFill>
                  <a:schemeClr val="tx1">
                    <a:lumMod val="75000"/>
                    <a:lumOff val="25000"/>
                  </a:schemeClr>
                </a:solidFill>
              </a:defRPr>
            </a:lvl1pPr>
          </a:lstStyle>
          <a:p>
            <a:endParaRPr lang="en-US" dirty="0"/>
          </a:p>
        </p:txBody>
      </p:sp>
      <p:sp>
        <p:nvSpPr>
          <p:cNvPr id="2" name="Title 1"/>
          <p:cNvSpPr>
            <a:spLocks noGrp="1"/>
          </p:cNvSpPr>
          <p:nvPr>
            <p:ph type="title"/>
          </p:nvPr>
        </p:nvSpPr>
        <p:spPr>
          <a:xfrm>
            <a:off x="381602" y="365125"/>
            <a:ext cx="10515600" cy="62100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9F8FC87-A02F-4E76-AC76-EC968233ADE8}" type="datetime1">
              <a:rPr lang="en-US" smtClean="0"/>
              <a:t>11/1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689280" y="6244991"/>
            <a:ext cx="502719" cy="365125"/>
          </a:xfrm>
          <a:prstGeom prst="rect">
            <a:avLst/>
          </a:prstGeom>
        </p:spPr>
        <p:txBody>
          <a:bodyPr/>
          <a:lstStyle/>
          <a:p>
            <a:fld id="{DE156FE7-4276-48C2-8D29-2DA35A3BAE26}" type="slidenum">
              <a:rPr lang="en-US" smtClean="0"/>
              <a:t>‹#›</a:t>
            </a:fld>
            <a:endParaRPr lang="en-US"/>
          </a:p>
        </p:txBody>
      </p:sp>
    </p:spTree>
    <p:extLst>
      <p:ext uri="{BB962C8B-B14F-4D97-AF65-F5344CB8AC3E}">
        <p14:creationId xmlns:p14="http://schemas.microsoft.com/office/powerpoint/2010/main" val="1846924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矩形 4"/>
          <p:cNvSpPr/>
          <p:nvPr userDrawn="1"/>
        </p:nvSpPr>
        <p:spPr bwMode="auto">
          <a:xfrm>
            <a:off x="11689281" y="6244991"/>
            <a:ext cx="502719" cy="404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sp>
        <p:nvSpPr>
          <p:cNvPr id="10" name="矩形 4"/>
          <p:cNvSpPr/>
          <p:nvPr userDrawn="1"/>
        </p:nvSpPr>
        <p:spPr bwMode="auto">
          <a:xfrm>
            <a:off x="11577637" y="6244991"/>
            <a:ext cx="70292" cy="404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grpSp>
        <p:nvGrpSpPr>
          <p:cNvPr id="11" name="Group 10"/>
          <p:cNvGrpSpPr/>
          <p:nvPr userDrawn="1"/>
        </p:nvGrpSpPr>
        <p:grpSpPr>
          <a:xfrm rot="16200000">
            <a:off x="1431674" y="-1431675"/>
            <a:ext cx="260853" cy="3124203"/>
            <a:chOff x="721639" y="1"/>
            <a:chExt cx="671404" cy="672042"/>
          </a:xfrm>
        </p:grpSpPr>
        <p:sp>
          <p:nvSpPr>
            <p:cNvPr id="12" name="矩形 12"/>
            <p:cNvSpPr/>
            <p:nvPr/>
          </p:nvSpPr>
          <p:spPr bwMode="auto">
            <a:xfrm rot="5400000">
              <a:off x="773708" y="-52067"/>
              <a:ext cx="567267" cy="671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sp>
          <p:nvSpPr>
            <p:cNvPr id="13" name="矩形 12"/>
            <p:cNvSpPr/>
            <p:nvPr/>
          </p:nvSpPr>
          <p:spPr bwMode="auto">
            <a:xfrm rot="5400000">
              <a:off x="1034481" y="313482"/>
              <a:ext cx="45719" cy="6714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grpSp>
      <p:sp>
        <p:nvSpPr>
          <p:cNvPr id="8" name="Title Placeholder 7"/>
          <p:cNvSpPr>
            <a:spLocks noGrp="1"/>
          </p:cNvSpPr>
          <p:nvPr>
            <p:ph type="title"/>
          </p:nvPr>
        </p:nvSpPr>
        <p:spPr>
          <a:xfrm>
            <a:off x="292100" y="365125"/>
            <a:ext cx="10515600" cy="828675"/>
          </a:xfrm>
          <a:prstGeom prst="rect">
            <a:avLst/>
          </a:prstGeom>
        </p:spPr>
        <p:txBody>
          <a:bodyPr vert="horz" lIns="91440" tIns="45720" rIns="91440" bIns="45720" rtlCol="0" anchor="ctr">
            <a:normAutofit/>
          </a:bodyPr>
          <a:lstStyle/>
          <a:p>
            <a:r>
              <a:rPr lang="en-US" dirty="0"/>
              <a:t>CLICK TO EDIT MASTER TITLE STYLE</a:t>
            </a:r>
          </a:p>
        </p:txBody>
      </p:sp>
      <p:sp>
        <p:nvSpPr>
          <p:cNvPr id="9" name="Text Placeholder 8"/>
          <p:cNvSpPr>
            <a:spLocks noGrp="1"/>
          </p:cNvSpPr>
          <p:nvPr>
            <p:ph type="body" idx="1"/>
          </p:nvPr>
        </p:nvSpPr>
        <p:spPr>
          <a:xfrm>
            <a:off x="292100" y="14700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p:cNvSpPr>
            <a:spLocks noGrp="1"/>
          </p:cNvSpPr>
          <p:nvPr>
            <p:ph type="sldNum" sz="quarter" idx="4"/>
          </p:nvPr>
        </p:nvSpPr>
        <p:spPr>
          <a:xfrm>
            <a:off x="11647928" y="6270391"/>
            <a:ext cx="544071" cy="365125"/>
          </a:xfrm>
          <a:prstGeom prst="rect">
            <a:avLst/>
          </a:prstGeom>
        </p:spPr>
        <p:txBody>
          <a:bodyPr vert="horz" lIns="91440" tIns="45720" rIns="91440" bIns="45720" rtlCol="0" anchor="ctr"/>
          <a:lstStyle>
            <a:lvl1pPr algn="ctr">
              <a:defRPr sz="1000">
                <a:solidFill>
                  <a:schemeClr val="bg1"/>
                </a:solidFill>
              </a:defRPr>
            </a:lvl1pPr>
          </a:lstStyle>
          <a:p>
            <a:fld id="{FB5DED99-74DF-435F-A9CD-BFE06E1E613D}" type="slidenum">
              <a:rPr lang="en-US" smtClean="0"/>
              <a:pPr/>
              <a:t>‹#›</a:t>
            </a:fld>
            <a:endParaRPr lang="en-US"/>
          </a:p>
        </p:txBody>
      </p:sp>
    </p:spTree>
    <p:extLst>
      <p:ext uri="{BB962C8B-B14F-4D97-AF65-F5344CB8AC3E}">
        <p14:creationId xmlns:p14="http://schemas.microsoft.com/office/powerpoint/2010/main" val="6055024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83" r:id="rId6"/>
    <p:sldLayoutId id="2147483682" r:id="rId7"/>
    <p:sldLayoutId id="2147483681" r:id="rId8"/>
    <p:sldLayoutId id="2147483680" r:id="rId9"/>
    <p:sldLayoutId id="2147483679" r:id="rId10"/>
    <p:sldLayoutId id="2147483678" r:id="rId11"/>
    <p:sldLayoutId id="2147483677" r:id="rId12"/>
    <p:sldLayoutId id="2147483676" r:id="rId13"/>
    <p:sldLayoutId id="2147483675" r:id="rId14"/>
    <p:sldLayoutId id="2147483674" r:id="rId15"/>
    <p:sldLayoutId id="2147483673" r:id="rId16"/>
    <p:sldLayoutId id="2147483672" r:id="rId17"/>
    <p:sldLayoutId id="2147483671" r:id="rId18"/>
    <p:sldLayoutId id="2147483670" r:id="rId19"/>
    <p:sldLayoutId id="2147483669" r:id="rId20"/>
    <p:sldLayoutId id="2147483668" r:id="rId21"/>
    <p:sldLayoutId id="2147483667" r:id="rId22"/>
    <p:sldLayoutId id="2147483666" r:id="rId23"/>
    <p:sldLayoutId id="2147483665" r:id="rId24"/>
    <p:sldLayoutId id="2147483664" r:id="rId25"/>
    <p:sldLayoutId id="2147483663" r:id="rId26"/>
    <p:sldLayoutId id="2147483662" r:id="rId27"/>
    <p:sldLayoutId id="2147483661" r:id="rId28"/>
    <p:sldLayoutId id="2147483660" r:id="rId29"/>
    <p:sldLayoutId id="2147483655" r:id="rId30"/>
    <p:sldLayoutId id="2147483684" r:id="rId31"/>
  </p:sldLayoutIdLst>
  <p:hf hdr="0" ftr="0" dt="0"/>
  <p:txStyles>
    <p:titleStyle>
      <a:lvl1pPr algn="l" defTabSz="914400" rtl="0" eaLnBrk="1" latinLnBrk="0" hangingPunct="1">
        <a:lnSpc>
          <a:spcPct val="90000"/>
        </a:lnSpc>
        <a:spcBef>
          <a:spcPct val="0"/>
        </a:spcBef>
        <a:buNone/>
        <a:defRPr lang="en-US" sz="3200" b="1" kern="1200">
          <a:solidFill>
            <a:schemeClr val="tx1">
              <a:lumMod val="85000"/>
              <a:lumOff val="15000"/>
            </a:schemeClr>
          </a:solidFill>
          <a:latin typeface="Montserrat" panose="00000500000000000000" pitchFamily="2" charset="0"/>
          <a:ea typeface="Source Sans Pro" panose="020B0503030403020204" pitchFamily="34" charset="0"/>
          <a:cs typeface="Lato Light" panose="020F040202020403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6.jpg"/></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Layout" Target="../slideLayouts/slideLayout15.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12.xml"/><Relationship Id="rId7" Type="http://schemas.openxmlformats.org/officeDocument/2006/relationships/image" Target="../media/image22.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24.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xml"/><Relationship Id="rId1" Type="http://schemas.openxmlformats.org/officeDocument/2006/relationships/tags" Target="../tags/tag3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tags" Target="../tags/tag36.xml"/></Relationships>
</file>

<file path=ppt/slides/_rels/slide2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hyperlink" Target="https://fonts.google.com/specimen/Montserrat" TargetMode="Externa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jpg"/><Relationship Id="rId4" Type="http://schemas.openxmlformats.org/officeDocument/2006/relationships/image" Target="../media/image5.jp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7.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jpeg"/><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1.jpg"/><Relationship Id="rId4" Type="http://schemas.openxmlformats.org/officeDocument/2006/relationships/image" Target="../media/image10.jp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0187D2C-896E-49EF-AC4F-29E49F64C922}"/>
              </a:ext>
            </a:extLst>
          </p:cNvPr>
          <p:cNvPicPr>
            <a:picLocks noGrp="1" noChangeAspect="1"/>
          </p:cNvPicPr>
          <p:nvPr>
            <p:ph type="pic" sz="quarter" idx="13"/>
          </p:nvPr>
        </p:nvPicPr>
        <p:blipFill>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t="31695" b="31695"/>
          <a:stretch>
            <a:fillRect/>
          </a:stretch>
        </p:blipFill>
        <p:spPr>
          <a:solidFill>
            <a:schemeClr val="bg1">
              <a:lumMod val="85000"/>
            </a:schemeClr>
          </a:solidFill>
        </p:spPr>
      </p:pic>
      <p:sp>
        <p:nvSpPr>
          <p:cNvPr id="13" name="Rectangle 12"/>
          <p:cNvSpPr/>
          <p:nvPr/>
        </p:nvSpPr>
        <p:spPr>
          <a:xfrm>
            <a:off x="4657956" y="1116094"/>
            <a:ext cx="2902213" cy="524169"/>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WELCOME TO REPOT</a:t>
            </a:r>
          </a:p>
        </p:txBody>
      </p:sp>
      <p:sp>
        <p:nvSpPr>
          <p:cNvPr id="15" name="TextBox 14"/>
          <p:cNvSpPr txBox="1"/>
          <p:nvPr/>
        </p:nvSpPr>
        <p:spPr>
          <a:xfrm>
            <a:off x="5126357" y="746762"/>
            <a:ext cx="1965411" cy="338554"/>
          </a:xfrm>
          <a:prstGeom prst="rect">
            <a:avLst/>
          </a:prstGeom>
          <a:noFill/>
        </p:spPr>
        <p:txBody>
          <a:bodyPr wrap="none" rtlCol="0">
            <a:spAutoFit/>
          </a:bodyPr>
          <a:lstStyle/>
          <a:p>
            <a:pPr algn="ctr"/>
            <a:r>
              <a:rPr lang="en-US" sz="1600" dirty="0">
                <a:solidFill>
                  <a:schemeClr val="bg1"/>
                </a:solidFill>
              </a:rPr>
              <a:t>HOPE YOU LIKE IT!</a:t>
            </a:r>
          </a:p>
        </p:txBody>
      </p:sp>
      <p:sp>
        <p:nvSpPr>
          <p:cNvPr id="16" name="TextBox 15"/>
          <p:cNvSpPr txBox="1"/>
          <p:nvPr/>
        </p:nvSpPr>
        <p:spPr>
          <a:xfrm>
            <a:off x="4809988" y="1710639"/>
            <a:ext cx="2598147" cy="307777"/>
          </a:xfrm>
          <a:prstGeom prst="rect">
            <a:avLst/>
          </a:prstGeom>
          <a:noFill/>
        </p:spPr>
        <p:txBody>
          <a:bodyPr wrap="none" rtlCol="0">
            <a:spAutoFit/>
          </a:bodyPr>
          <a:lstStyle/>
          <a:p>
            <a:pPr algn="ctr"/>
            <a:r>
              <a:rPr lang="en-US" sz="1400" dirty="0">
                <a:solidFill>
                  <a:schemeClr val="bg1"/>
                </a:solidFill>
              </a:rPr>
              <a:t>Many slides are waiting for you!</a:t>
            </a:r>
          </a:p>
        </p:txBody>
      </p:sp>
      <p:sp>
        <p:nvSpPr>
          <p:cNvPr id="18" name="TextBox 17"/>
          <p:cNvSpPr txBox="1"/>
          <p:nvPr/>
        </p:nvSpPr>
        <p:spPr>
          <a:xfrm>
            <a:off x="3006075" y="3502127"/>
            <a:ext cx="6179850" cy="723267"/>
          </a:xfrm>
          <a:prstGeom prst="rect">
            <a:avLst/>
          </a:prstGeom>
          <a:noFill/>
        </p:spPr>
        <p:txBody>
          <a:bodyPr wrap="square" lIns="45711" tIns="22856" rIns="45711" bIns="22856" rtlCol="0">
            <a:spAutoFit/>
          </a:bodyPr>
          <a:lstStyle/>
          <a:p>
            <a:pPr algn="ctr"/>
            <a:r>
              <a:rPr lang="en-US" sz="4400" dirty="0">
                <a:solidFill>
                  <a:schemeClr val="tx1">
                    <a:lumMod val="75000"/>
                    <a:lumOff val="25000"/>
                  </a:schemeClr>
                </a:solidFill>
                <a:latin typeface="Montserrat Light" panose="00000400000000000000" pitchFamily="2" charset="0"/>
                <a:cs typeface="Lato Regular"/>
              </a:rPr>
              <a:t>INTRODUCTION</a:t>
            </a:r>
            <a:endParaRPr lang="id-ID" sz="4400" dirty="0">
              <a:solidFill>
                <a:schemeClr val="tx1">
                  <a:lumMod val="75000"/>
                  <a:lumOff val="25000"/>
                </a:schemeClr>
              </a:solidFill>
              <a:latin typeface="Montserrat Light" panose="00000400000000000000" pitchFamily="2" charset="0"/>
              <a:cs typeface="Lato Regular"/>
            </a:endParaRPr>
          </a:p>
        </p:txBody>
      </p:sp>
      <p:sp>
        <p:nvSpPr>
          <p:cNvPr id="19" name="Subtitle 2"/>
          <p:cNvSpPr txBox="1">
            <a:spLocks/>
          </p:cNvSpPr>
          <p:nvPr/>
        </p:nvSpPr>
        <p:spPr>
          <a:xfrm>
            <a:off x="3212578" y="4078036"/>
            <a:ext cx="5827593" cy="419558"/>
          </a:xfrm>
          <a:prstGeom prst="rect">
            <a:avLst/>
          </a:prstGeom>
        </p:spPr>
        <p:txBody>
          <a:bodyPr vert="horz" lIns="108745" tIns="54373" rIns="108745" bIns="54373"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600">
                <a:solidFill>
                  <a:schemeClr val="tx1">
                    <a:lumMod val="75000"/>
                    <a:lumOff val="25000"/>
                  </a:schemeClr>
                </a:solidFill>
                <a:latin typeface="+mj-lt"/>
                <a:cs typeface="Lato Light"/>
              </a:rPr>
              <a:t>Click to change your subtittle</a:t>
            </a:r>
            <a:endParaRPr lang="en-US" sz="1600" dirty="0">
              <a:solidFill>
                <a:schemeClr val="tx1">
                  <a:lumMod val="75000"/>
                  <a:lumOff val="25000"/>
                </a:schemeClr>
              </a:solidFill>
              <a:latin typeface="+mj-lt"/>
              <a:cs typeface="Lato Light"/>
            </a:endParaRPr>
          </a:p>
        </p:txBody>
      </p:sp>
      <p:grpSp>
        <p:nvGrpSpPr>
          <p:cNvPr id="20" name="Group 19"/>
          <p:cNvGrpSpPr/>
          <p:nvPr/>
        </p:nvGrpSpPr>
        <p:grpSpPr>
          <a:xfrm>
            <a:off x="5706273" y="2584057"/>
            <a:ext cx="779454" cy="779454"/>
            <a:chOff x="5558170" y="2418400"/>
            <a:chExt cx="1096251" cy="1096251"/>
          </a:xfrm>
        </p:grpSpPr>
        <p:sp>
          <p:nvSpPr>
            <p:cNvPr id="21" name="Oval 20"/>
            <p:cNvSpPr/>
            <p:nvPr/>
          </p:nvSpPr>
          <p:spPr>
            <a:xfrm>
              <a:off x="5558170" y="2418400"/>
              <a:ext cx="1096251" cy="1096251"/>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6"/>
            <p:cNvSpPr>
              <a:spLocks noEditPoints="1"/>
            </p:cNvSpPr>
            <p:nvPr/>
          </p:nvSpPr>
          <p:spPr bwMode="auto">
            <a:xfrm>
              <a:off x="5825370" y="2895145"/>
              <a:ext cx="561851" cy="263806"/>
            </a:xfrm>
            <a:custGeom>
              <a:avLst/>
              <a:gdLst>
                <a:gd name="T0" fmla="*/ 722 w 722"/>
                <a:gd name="T1" fmla="*/ 12 h 339"/>
                <a:gd name="T2" fmla="*/ 360 w 722"/>
                <a:gd name="T3" fmla="*/ 339 h 339"/>
                <a:gd name="T4" fmla="*/ 0 w 722"/>
                <a:gd name="T5" fmla="*/ 12 h 339"/>
                <a:gd name="T6" fmla="*/ 10 w 722"/>
                <a:gd name="T7" fmla="*/ 0 h 339"/>
                <a:gd name="T8" fmla="*/ 360 w 722"/>
                <a:gd name="T9" fmla="*/ 318 h 339"/>
                <a:gd name="T10" fmla="*/ 713 w 722"/>
                <a:gd name="T11" fmla="*/ 0 h 339"/>
                <a:gd name="T12" fmla="*/ 722 w 722"/>
                <a:gd name="T13" fmla="*/ 12 h 339"/>
                <a:gd name="T14" fmla="*/ 722 w 722"/>
                <a:gd name="T15" fmla="*/ 12 h 339"/>
                <a:gd name="T16" fmla="*/ 722 w 722"/>
                <a:gd name="T17" fmla="*/ 1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2" h="339">
                  <a:moveTo>
                    <a:pt x="722" y="12"/>
                  </a:moveTo>
                  <a:lnTo>
                    <a:pt x="360" y="339"/>
                  </a:lnTo>
                  <a:lnTo>
                    <a:pt x="0" y="12"/>
                  </a:lnTo>
                  <a:lnTo>
                    <a:pt x="10" y="0"/>
                  </a:lnTo>
                  <a:lnTo>
                    <a:pt x="360" y="318"/>
                  </a:lnTo>
                  <a:lnTo>
                    <a:pt x="713" y="0"/>
                  </a:lnTo>
                  <a:lnTo>
                    <a:pt x="722" y="12"/>
                  </a:lnTo>
                  <a:moveTo>
                    <a:pt x="722" y="12"/>
                  </a:moveTo>
                  <a:lnTo>
                    <a:pt x="722" y="12"/>
                  </a:lnTo>
                </a:path>
              </a:pathLst>
            </a:custGeom>
            <a:solidFill>
              <a:schemeClr val="bg1"/>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 name="矩形 4"/>
          <p:cNvSpPr/>
          <p:nvPr/>
        </p:nvSpPr>
        <p:spPr bwMode="auto">
          <a:xfrm>
            <a:off x="11689281" y="6244991"/>
            <a:ext cx="502719" cy="404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sp>
        <p:nvSpPr>
          <p:cNvPr id="28" name="矩形 4"/>
          <p:cNvSpPr/>
          <p:nvPr/>
        </p:nvSpPr>
        <p:spPr bwMode="auto">
          <a:xfrm>
            <a:off x="11577637" y="6244991"/>
            <a:ext cx="70292" cy="404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grpSp>
        <p:nvGrpSpPr>
          <p:cNvPr id="30" name="Group 29"/>
          <p:cNvGrpSpPr/>
          <p:nvPr/>
        </p:nvGrpSpPr>
        <p:grpSpPr>
          <a:xfrm rot="16200000">
            <a:off x="1431674" y="-1431675"/>
            <a:ext cx="260853" cy="3124203"/>
            <a:chOff x="721639" y="1"/>
            <a:chExt cx="671404" cy="672042"/>
          </a:xfrm>
        </p:grpSpPr>
        <p:sp>
          <p:nvSpPr>
            <p:cNvPr id="14" name="矩形 12"/>
            <p:cNvSpPr/>
            <p:nvPr/>
          </p:nvSpPr>
          <p:spPr bwMode="auto">
            <a:xfrm rot="5400000">
              <a:off x="773708" y="-52067"/>
              <a:ext cx="567267" cy="671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sp>
          <p:nvSpPr>
            <p:cNvPr id="29" name="矩形 12"/>
            <p:cNvSpPr/>
            <p:nvPr/>
          </p:nvSpPr>
          <p:spPr bwMode="auto">
            <a:xfrm rot="5400000">
              <a:off x="1034481" y="313482"/>
              <a:ext cx="45719" cy="6714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prstClr val="white"/>
                </a:solidFill>
              </a:endParaRPr>
            </a:p>
          </p:txBody>
        </p:sp>
      </p:grpSp>
      <p:grpSp>
        <p:nvGrpSpPr>
          <p:cNvPr id="23" name="Group 22"/>
          <p:cNvGrpSpPr/>
          <p:nvPr/>
        </p:nvGrpSpPr>
        <p:grpSpPr>
          <a:xfrm>
            <a:off x="4610223" y="4801818"/>
            <a:ext cx="779063" cy="779063"/>
            <a:chOff x="4528421" y="4672718"/>
            <a:chExt cx="942666" cy="942666"/>
          </a:xfrm>
        </p:grpSpPr>
        <p:sp>
          <p:nvSpPr>
            <p:cNvPr id="24" name="Oval 23"/>
            <p:cNvSpPr/>
            <p:nvPr/>
          </p:nvSpPr>
          <p:spPr>
            <a:xfrm>
              <a:off x="4528421" y="4672718"/>
              <a:ext cx="942666" cy="94266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utoShape 123"/>
            <p:cNvSpPr>
              <a:spLocks noChangeAspect="1"/>
            </p:cNvSpPr>
            <p:nvPr/>
          </p:nvSpPr>
          <p:spPr bwMode="auto">
            <a:xfrm>
              <a:off x="4796123" y="4919999"/>
              <a:ext cx="407262" cy="4481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accent2"/>
            </a:solidFill>
            <a:ln>
              <a:noFill/>
            </a:ln>
            <a:effectLst/>
          </p:spPr>
          <p:txBody>
            <a:bodyPr lIns="50789" tIns="50789" rIns="50789" bIns="50789" anchor="ctr"/>
            <a:lstStyle/>
            <a:p>
              <a:pPr defTabSz="457098">
                <a:defRPr/>
              </a:pPr>
              <a:endParaRPr lang="es-ES" sz="36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31" name="Group 30"/>
          <p:cNvGrpSpPr/>
          <p:nvPr/>
        </p:nvGrpSpPr>
        <p:grpSpPr>
          <a:xfrm>
            <a:off x="2403593" y="4801818"/>
            <a:ext cx="779063" cy="779063"/>
            <a:chOff x="2321791" y="4672718"/>
            <a:chExt cx="942666" cy="942666"/>
          </a:xfrm>
        </p:grpSpPr>
        <p:sp>
          <p:nvSpPr>
            <p:cNvPr id="32" name="Oval 31"/>
            <p:cNvSpPr/>
            <p:nvPr/>
          </p:nvSpPr>
          <p:spPr>
            <a:xfrm>
              <a:off x="2321791" y="4672718"/>
              <a:ext cx="942666" cy="94266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4681"/>
            <p:cNvGrpSpPr>
              <a:grpSpLocks noChangeAspect="1"/>
            </p:cNvGrpSpPr>
            <p:nvPr/>
          </p:nvGrpSpPr>
          <p:grpSpPr bwMode="auto">
            <a:xfrm>
              <a:off x="2603529" y="4895552"/>
              <a:ext cx="379190" cy="496999"/>
              <a:chOff x="4576763" y="2300287"/>
              <a:chExt cx="276225" cy="361950"/>
            </a:xfrm>
            <a:solidFill>
              <a:schemeClr val="accent1"/>
            </a:solidFill>
          </p:grpSpPr>
          <p:sp>
            <p:nvSpPr>
              <p:cNvPr id="34" name="Freeform 250"/>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 name="T14" fmla="*/ 92 w 336"/>
                  <a:gd name="T15" fmla="*/ 0 h 336"/>
                  <a:gd name="T16" fmla="*/ 92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92" y="0"/>
                    </a:moveTo>
                    <a:lnTo>
                      <a:pt x="0" y="243"/>
                    </a:lnTo>
                    <a:lnTo>
                      <a:pt x="159" y="193"/>
                    </a:lnTo>
                    <a:lnTo>
                      <a:pt x="251" y="335"/>
                    </a:lnTo>
                    <a:lnTo>
                      <a:pt x="335" y="84"/>
                    </a:lnTo>
                    <a:lnTo>
                      <a:pt x="251" y="9"/>
                    </a:lnTo>
                    <a:lnTo>
                      <a:pt x="92" y="0"/>
                    </a:lnTo>
                    <a:close/>
                    <a:moveTo>
                      <a:pt x="92" y="0"/>
                    </a:moveTo>
                    <a:lnTo>
                      <a:pt x="92"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5" name="Freeform 251"/>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92" y="0"/>
                    </a:moveTo>
                    <a:lnTo>
                      <a:pt x="0" y="243"/>
                    </a:lnTo>
                    <a:lnTo>
                      <a:pt x="159" y="193"/>
                    </a:lnTo>
                    <a:lnTo>
                      <a:pt x="251" y="335"/>
                    </a:lnTo>
                    <a:lnTo>
                      <a:pt x="335" y="84"/>
                    </a:lnTo>
                    <a:lnTo>
                      <a:pt x="251" y="9"/>
                    </a:lnTo>
                    <a:lnTo>
                      <a:pt x="92"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6" name="Freeform 252"/>
              <p:cNvSpPr>
                <a:spLocks noChangeArrowheads="1"/>
              </p:cNvSpPr>
              <p:nvPr/>
            </p:nvSpPr>
            <p:spPr bwMode="auto">
              <a:xfrm>
                <a:off x="4610100"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7" name="Freeform 253"/>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 name="T14" fmla="*/ 251 w 336"/>
                  <a:gd name="T15" fmla="*/ 0 h 336"/>
                  <a:gd name="T16" fmla="*/ 251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251" y="0"/>
                    </a:moveTo>
                    <a:lnTo>
                      <a:pt x="84" y="9"/>
                    </a:lnTo>
                    <a:lnTo>
                      <a:pt x="0" y="84"/>
                    </a:lnTo>
                    <a:lnTo>
                      <a:pt x="92" y="335"/>
                    </a:lnTo>
                    <a:lnTo>
                      <a:pt x="176" y="193"/>
                    </a:lnTo>
                    <a:lnTo>
                      <a:pt x="335" y="243"/>
                    </a:lnTo>
                    <a:lnTo>
                      <a:pt x="251" y="0"/>
                    </a:lnTo>
                    <a:close/>
                    <a:moveTo>
                      <a:pt x="251" y="0"/>
                    </a:moveTo>
                    <a:lnTo>
                      <a:pt x="251"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8" name="Freeform 254"/>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251" y="0"/>
                    </a:moveTo>
                    <a:lnTo>
                      <a:pt x="84" y="9"/>
                    </a:lnTo>
                    <a:lnTo>
                      <a:pt x="0" y="84"/>
                    </a:lnTo>
                    <a:lnTo>
                      <a:pt x="92" y="335"/>
                    </a:lnTo>
                    <a:lnTo>
                      <a:pt x="176" y="193"/>
                    </a:lnTo>
                    <a:lnTo>
                      <a:pt x="335" y="243"/>
                    </a:lnTo>
                    <a:lnTo>
                      <a:pt x="251"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9" name="Freeform 255"/>
              <p:cNvSpPr>
                <a:spLocks noChangeArrowheads="1"/>
              </p:cNvSpPr>
              <p:nvPr/>
            </p:nvSpPr>
            <p:spPr bwMode="auto">
              <a:xfrm>
                <a:off x="4822825"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0" name="Freeform 256"/>
              <p:cNvSpPr>
                <a:spLocks noChangeArrowheads="1"/>
              </p:cNvSpPr>
              <p:nvPr/>
            </p:nvSpPr>
            <p:spPr bwMode="auto">
              <a:xfrm>
                <a:off x="4586288" y="2300287"/>
                <a:ext cx="261937" cy="258762"/>
              </a:xfrm>
              <a:custGeom>
                <a:avLst/>
                <a:gdLst>
                  <a:gd name="T0" fmla="*/ 618 w 728"/>
                  <a:gd name="T1" fmla="*/ 619 h 720"/>
                  <a:gd name="T2" fmla="*/ 627 w 728"/>
                  <a:gd name="T3" fmla="*/ 469 h 720"/>
                  <a:gd name="T4" fmla="*/ 727 w 728"/>
                  <a:gd name="T5" fmla="*/ 360 h 720"/>
                  <a:gd name="T6" fmla="*/ 627 w 728"/>
                  <a:gd name="T7" fmla="*/ 251 h 720"/>
                  <a:gd name="T8" fmla="*/ 618 w 728"/>
                  <a:gd name="T9" fmla="*/ 101 h 720"/>
                  <a:gd name="T10" fmla="*/ 468 w 728"/>
                  <a:gd name="T11" fmla="*/ 92 h 720"/>
                  <a:gd name="T12" fmla="*/ 359 w 728"/>
                  <a:gd name="T13" fmla="*/ 0 h 720"/>
                  <a:gd name="T14" fmla="*/ 250 w 728"/>
                  <a:gd name="T15" fmla="*/ 92 h 720"/>
                  <a:gd name="T16" fmla="*/ 100 w 728"/>
                  <a:gd name="T17" fmla="*/ 101 h 720"/>
                  <a:gd name="T18" fmla="*/ 92 w 728"/>
                  <a:gd name="T19" fmla="*/ 251 h 720"/>
                  <a:gd name="T20" fmla="*/ 0 w 728"/>
                  <a:gd name="T21" fmla="*/ 360 h 720"/>
                  <a:gd name="T22" fmla="*/ 92 w 728"/>
                  <a:gd name="T23" fmla="*/ 469 h 720"/>
                  <a:gd name="T24" fmla="*/ 100 w 728"/>
                  <a:gd name="T25" fmla="*/ 619 h 720"/>
                  <a:gd name="T26" fmla="*/ 250 w 728"/>
                  <a:gd name="T27" fmla="*/ 628 h 720"/>
                  <a:gd name="T28" fmla="*/ 359 w 728"/>
                  <a:gd name="T29" fmla="*/ 719 h 720"/>
                  <a:gd name="T30" fmla="*/ 468 w 728"/>
                  <a:gd name="T31" fmla="*/ 628 h 720"/>
                  <a:gd name="T32" fmla="*/ 618 w 728"/>
                  <a:gd name="T33" fmla="*/ 619 h 720"/>
                  <a:gd name="T34" fmla="*/ 359 w 728"/>
                  <a:gd name="T35" fmla="*/ 561 h 720"/>
                  <a:gd name="T36" fmla="*/ 159 w 728"/>
                  <a:gd name="T37" fmla="*/ 360 h 720"/>
                  <a:gd name="T38" fmla="*/ 359 w 728"/>
                  <a:gd name="T39" fmla="*/ 159 h 720"/>
                  <a:gd name="T40" fmla="*/ 560 w 728"/>
                  <a:gd name="T41" fmla="*/ 360 h 720"/>
                  <a:gd name="T42" fmla="*/ 359 w 728"/>
                  <a:gd name="T43" fmla="*/ 561 h 720"/>
                  <a:gd name="T44" fmla="*/ 359 w 728"/>
                  <a:gd name="T45" fmla="*/ 561 h 720"/>
                  <a:gd name="T46" fmla="*/ 359 w 728"/>
                  <a:gd name="T47" fmla="*/ 56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720">
                    <a:moveTo>
                      <a:pt x="618" y="619"/>
                    </a:moveTo>
                    <a:cubicBezTo>
                      <a:pt x="627" y="469"/>
                      <a:pt x="627" y="469"/>
                      <a:pt x="627" y="469"/>
                    </a:cubicBezTo>
                    <a:cubicBezTo>
                      <a:pt x="727" y="360"/>
                      <a:pt x="727" y="360"/>
                      <a:pt x="727" y="360"/>
                    </a:cubicBezTo>
                    <a:cubicBezTo>
                      <a:pt x="627" y="251"/>
                      <a:pt x="627" y="251"/>
                      <a:pt x="627" y="251"/>
                    </a:cubicBezTo>
                    <a:cubicBezTo>
                      <a:pt x="618" y="101"/>
                      <a:pt x="618" y="101"/>
                      <a:pt x="618" y="101"/>
                    </a:cubicBezTo>
                    <a:cubicBezTo>
                      <a:pt x="468" y="92"/>
                      <a:pt x="468" y="92"/>
                      <a:pt x="468" y="92"/>
                    </a:cubicBezTo>
                    <a:cubicBezTo>
                      <a:pt x="359" y="0"/>
                      <a:pt x="359" y="0"/>
                      <a:pt x="359" y="0"/>
                    </a:cubicBezTo>
                    <a:cubicBezTo>
                      <a:pt x="250" y="92"/>
                      <a:pt x="250" y="92"/>
                      <a:pt x="250" y="92"/>
                    </a:cubicBezTo>
                    <a:cubicBezTo>
                      <a:pt x="100" y="101"/>
                      <a:pt x="100" y="101"/>
                      <a:pt x="100" y="101"/>
                    </a:cubicBezTo>
                    <a:cubicBezTo>
                      <a:pt x="92" y="251"/>
                      <a:pt x="92" y="251"/>
                      <a:pt x="92" y="251"/>
                    </a:cubicBezTo>
                    <a:cubicBezTo>
                      <a:pt x="0" y="360"/>
                      <a:pt x="0" y="360"/>
                      <a:pt x="0" y="360"/>
                    </a:cubicBezTo>
                    <a:cubicBezTo>
                      <a:pt x="92" y="469"/>
                      <a:pt x="92" y="469"/>
                      <a:pt x="92" y="469"/>
                    </a:cubicBezTo>
                    <a:cubicBezTo>
                      <a:pt x="100" y="619"/>
                      <a:pt x="100" y="619"/>
                      <a:pt x="100" y="619"/>
                    </a:cubicBezTo>
                    <a:cubicBezTo>
                      <a:pt x="250" y="628"/>
                      <a:pt x="250" y="628"/>
                      <a:pt x="250" y="628"/>
                    </a:cubicBezTo>
                    <a:cubicBezTo>
                      <a:pt x="359" y="719"/>
                      <a:pt x="359" y="719"/>
                      <a:pt x="359" y="719"/>
                    </a:cubicBezTo>
                    <a:cubicBezTo>
                      <a:pt x="468" y="628"/>
                      <a:pt x="468" y="628"/>
                      <a:pt x="468" y="628"/>
                    </a:cubicBezTo>
                    <a:lnTo>
                      <a:pt x="618" y="619"/>
                    </a:lnTo>
                    <a:close/>
                    <a:moveTo>
                      <a:pt x="359" y="561"/>
                    </a:moveTo>
                    <a:cubicBezTo>
                      <a:pt x="250" y="561"/>
                      <a:pt x="159" y="469"/>
                      <a:pt x="159" y="360"/>
                    </a:cubicBezTo>
                    <a:cubicBezTo>
                      <a:pt x="159" y="243"/>
                      <a:pt x="250" y="159"/>
                      <a:pt x="359" y="159"/>
                    </a:cubicBezTo>
                    <a:cubicBezTo>
                      <a:pt x="468" y="159"/>
                      <a:pt x="560" y="243"/>
                      <a:pt x="560" y="360"/>
                    </a:cubicBezTo>
                    <a:cubicBezTo>
                      <a:pt x="560" y="469"/>
                      <a:pt x="468" y="561"/>
                      <a:pt x="359" y="561"/>
                    </a:cubicBezTo>
                    <a:close/>
                    <a:moveTo>
                      <a:pt x="359" y="561"/>
                    </a:moveTo>
                    <a:lnTo>
                      <a:pt x="359" y="561"/>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1" name="Freeform 257"/>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226 h 227"/>
                  <a:gd name="T8" fmla="*/ 101 w 102"/>
                  <a:gd name="T9" fmla="*/ 226 h 227"/>
                  <a:gd name="T10" fmla="*/ 101 w 102"/>
                  <a:gd name="T11" fmla="*/ 0 h 227"/>
                  <a:gd name="T12" fmla="*/ 59 w 102"/>
                  <a:gd name="T13" fmla="*/ 0 h 227"/>
                  <a:gd name="T14" fmla="*/ 0 w 102"/>
                  <a:gd name="T15" fmla="*/ 33 h 227"/>
                  <a:gd name="T16" fmla="*/ 0 w 102"/>
                  <a:gd name="T17" fmla="*/ 33 h 227"/>
                  <a:gd name="T18" fmla="*/ 0 w 102"/>
                  <a:gd name="T19"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27">
                    <a:moveTo>
                      <a:pt x="0" y="33"/>
                    </a:moveTo>
                    <a:lnTo>
                      <a:pt x="9" y="67"/>
                    </a:lnTo>
                    <a:lnTo>
                      <a:pt x="50" y="50"/>
                    </a:lnTo>
                    <a:lnTo>
                      <a:pt x="50" y="226"/>
                    </a:lnTo>
                    <a:lnTo>
                      <a:pt x="101" y="226"/>
                    </a:lnTo>
                    <a:lnTo>
                      <a:pt x="101" y="0"/>
                    </a:lnTo>
                    <a:lnTo>
                      <a:pt x="59" y="0"/>
                    </a:lnTo>
                    <a:lnTo>
                      <a:pt x="0" y="33"/>
                    </a:lnTo>
                    <a:close/>
                    <a:moveTo>
                      <a:pt x="0" y="33"/>
                    </a:moveTo>
                    <a:lnTo>
                      <a:pt x="0" y="33"/>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2" name="Freeform 258"/>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50 h 227"/>
                  <a:gd name="T8" fmla="*/ 50 w 102"/>
                  <a:gd name="T9" fmla="*/ 226 h 227"/>
                  <a:gd name="T10" fmla="*/ 101 w 102"/>
                  <a:gd name="T11" fmla="*/ 226 h 227"/>
                  <a:gd name="T12" fmla="*/ 101 w 102"/>
                  <a:gd name="T13" fmla="*/ 0 h 227"/>
                  <a:gd name="T14" fmla="*/ 59 w 102"/>
                  <a:gd name="T15" fmla="*/ 0 h 227"/>
                  <a:gd name="T16" fmla="*/ 0 w 102"/>
                  <a:gd name="T17"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27">
                    <a:moveTo>
                      <a:pt x="0" y="33"/>
                    </a:moveTo>
                    <a:lnTo>
                      <a:pt x="9" y="67"/>
                    </a:lnTo>
                    <a:lnTo>
                      <a:pt x="50" y="50"/>
                    </a:lnTo>
                    <a:lnTo>
                      <a:pt x="50" y="50"/>
                    </a:lnTo>
                    <a:lnTo>
                      <a:pt x="50" y="226"/>
                    </a:lnTo>
                    <a:lnTo>
                      <a:pt x="101" y="226"/>
                    </a:lnTo>
                    <a:lnTo>
                      <a:pt x="101" y="0"/>
                    </a:lnTo>
                    <a:lnTo>
                      <a:pt x="59" y="0"/>
                    </a:lnTo>
                    <a:lnTo>
                      <a:pt x="0" y="33"/>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3" name="Freeform 259"/>
              <p:cNvSpPr>
                <a:spLocks noChangeArrowheads="1"/>
              </p:cNvSpPr>
              <p:nvPr/>
            </p:nvSpPr>
            <p:spPr bwMode="auto">
              <a:xfrm>
                <a:off x="4691063" y="2400299"/>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grpSp>
      </p:grpSp>
      <p:grpSp>
        <p:nvGrpSpPr>
          <p:cNvPr id="44" name="Group 43"/>
          <p:cNvGrpSpPr/>
          <p:nvPr/>
        </p:nvGrpSpPr>
        <p:grpSpPr>
          <a:xfrm>
            <a:off x="9023483" y="4801818"/>
            <a:ext cx="779063" cy="779063"/>
            <a:chOff x="8941681" y="4672718"/>
            <a:chExt cx="942666" cy="942666"/>
          </a:xfrm>
        </p:grpSpPr>
        <p:sp>
          <p:nvSpPr>
            <p:cNvPr id="45" name="Oval 44"/>
            <p:cNvSpPr/>
            <p:nvPr/>
          </p:nvSpPr>
          <p:spPr>
            <a:xfrm>
              <a:off x="8941681" y="4672718"/>
              <a:ext cx="942666" cy="942666"/>
            </a:xfrm>
            <a:prstGeom prst="ellipse">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a:spLocks noChangeAspect="1" noChangeArrowheads="1"/>
            </p:cNvSpPr>
            <p:nvPr/>
          </p:nvSpPr>
          <p:spPr bwMode="auto">
            <a:xfrm>
              <a:off x="9206003" y="4896290"/>
              <a:ext cx="414022" cy="495522"/>
            </a:xfrm>
            <a:custGeom>
              <a:avLst/>
              <a:gdLst>
                <a:gd name="connsiteX0" fmla="*/ 206367 w 449768"/>
                <a:gd name="connsiteY0" fmla="*/ 423375 h 538305"/>
                <a:gd name="connsiteX1" fmla="*/ 208536 w 449768"/>
                <a:gd name="connsiteY1" fmla="*/ 434347 h 538305"/>
                <a:gd name="connsiteX2" fmla="*/ 136133 w 449768"/>
                <a:gd name="connsiteY2" fmla="*/ 527584 h 538305"/>
                <a:gd name="connsiteX3" fmla="*/ 120760 w 449768"/>
                <a:gd name="connsiteY3" fmla="*/ 517169 h 538305"/>
                <a:gd name="connsiteX4" fmla="*/ 192667 w 449768"/>
                <a:gd name="connsiteY4" fmla="*/ 423933 h 538305"/>
                <a:gd name="connsiteX5" fmla="*/ 206367 w 449768"/>
                <a:gd name="connsiteY5" fmla="*/ 423375 h 538305"/>
                <a:gd name="connsiteX6" fmla="*/ 158371 w 449768"/>
                <a:gd name="connsiteY6" fmla="*/ 386315 h 538305"/>
                <a:gd name="connsiteX7" fmla="*/ 160292 w 449768"/>
                <a:gd name="connsiteY7" fmla="*/ 397002 h 538305"/>
                <a:gd name="connsiteX8" fmla="*/ 51725 w 449768"/>
                <a:gd name="connsiteY8" fmla="*/ 536376 h 538305"/>
                <a:gd name="connsiteX9" fmla="*/ 41315 w 449768"/>
                <a:gd name="connsiteY9" fmla="*/ 525997 h 538305"/>
                <a:gd name="connsiteX10" fmla="*/ 144924 w 449768"/>
                <a:gd name="connsiteY10" fmla="*/ 387118 h 538305"/>
                <a:gd name="connsiteX11" fmla="*/ 158371 w 449768"/>
                <a:gd name="connsiteY11" fmla="*/ 386315 h 538305"/>
                <a:gd name="connsiteX12" fmla="*/ 112005 w 449768"/>
                <a:gd name="connsiteY12" fmla="*/ 349971 h 538305"/>
                <a:gd name="connsiteX13" fmla="*/ 113740 w 449768"/>
                <a:gd name="connsiteY13" fmla="*/ 362927 h 538305"/>
                <a:gd name="connsiteX14" fmla="*/ 41338 w 449768"/>
                <a:gd name="connsiteY14" fmla="*/ 455221 h 538305"/>
                <a:gd name="connsiteX15" fmla="*/ 25965 w 449768"/>
                <a:gd name="connsiteY15" fmla="*/ 444857 h 538305"/>
                <a:gd name="connsiteX16" fmla="*/ 98367 w 449768"/>
                <a:gd name="connsiteY16" fmla="*/ 352562 h 538305"/>
                <a:gd name="connsiteX17" fmla="*/ 112005 w 449768"/>
                <a:gd name="connsiteY17" fmla="*/ 349971 h 538305"/>
                <a:gd name="connsiteX18" fmla="*/ 287508 w 449768"/>
                <a:gd name="connsiteY18" fmla="*/ 153269 h 538305"/>
                <a:gd name="connsiteX19" fmla="*/ 261020 w 449768"/>
                <a:gd name="connsiteY19" fmla="*/ 165441 h 538305"/>
                <a:gd name="connsiteX20" fmla="*/ 255548 w 449768"/>
                <a:gd name="connsiteY20" fmla="*/ 175874 h 538305"/>
                <a:gd name="connsiteX21" fmla="*/ 276441 w 449768"/>
                <a:gd name="connsiteY21" fmla="*/ 232511 h 538305"/>
                <a:gd name="connsiteX22" fmla="*/ 328174 w 449768"/>
                <a:gd name="connsiteY22" fmla="*/ 227543 h 538305"/>
                <a:gd name="connsiteX23" fmla="*/ 333645 w 449768"/>
                <a:gd name="connsiteY23" fmla="*/ 217110 h 538305"/>
                <a:gd name="connsiteX24" fmla="*/ 317727 w 449768"/>
                <a:gd name="connsiteY24" fmla="*/ 160472 h 538305"/>
                <a:gd name="connsiteX25" fmla="*/ 287508 w 449768"/>
                <a:gd name="connsiteY25" fmla="*/ 153269 h 538305"/>
                <a:gd name="connsiteX26" fmla="*/ 437111 w 449768"/>
                <a:gd name="connsiteY26" fmla="*/ 0 h 538305"/>
                <a:gd name="connsiteX27" fmla="*/ 442086 w 449768"/>
                <a:gd name="connsiteY27" fmla="*/ 0 h 538305"/>
                <a:gd name="connsiteX28" fmla="*/ 447557 w 449768"/>
                <a:gd name="connsiteY28" fmla="*/ 4968 h 538305"/>
                <a:gd name="connsiteX29" fmla="*/ 447557 w 449768"/>
                <a:gd name="connsiteY29" fmla="*/ 9937 h 538305"/>
                <a:gd name="connsiteX30" fmla="*/ 447557 w 449768"/>
                <a:gd name="connsiteY30" fmla="*/ 20370 h 538305"/>
                <a:gd name="connsiteX31" fmla="*/ 447557 w 449768"/>
                <a:gd name="connsiteY31" fmla="*/ 46204 h 538305"/>
                <a:gd name="connsiteX32" fmla="*/ 442086 w 449768"/>
                <a:gd name="connsiteY32" fmla="*/ 103338 h 538305"/>
                <a:gd name="connsiteX33" fmla="*/ 442086 w 449768"/>
                <a:gd name="connsiteY33" fmla="*/ 113771 h 538305"/>
                <a:gd name="connsiteX34" fmla="*/ 437111 w 449768"/>
                <a:gd name="connsiteY34" fmla="*/ 134141 h 538305"/>
                <a:gd name="connsiteX35" fmla="*/ 421194 w 449768"/>
                <a:gd name="connsiteY35" fmla="*/ 175874 h 538305"/>
                <a:gd name="connsiteX36" fmla="*/ 354040 w 449768"/>
                <a:gd name="connsiteY36" fmla="*/ 289645 h 538305"/>
                <a:gd name="connsiteX37" fmla="*/ 344091 w 449768"/>
                <a:gd name="connsiteY37" fmla="*/ 325913 h 538305"/>
                <a:gd name="connsiteX38" fmla="*/ 276441 w 449768"/>
                <a:gd name="connsiteY38" fmla="*/ 506754 h 538305"/>
                <a:gd name="connsiteX39" fmla="*/ 261020 w 449768"/>
                <a:gd name="connsiteY39" fmla="*/ 496321 h 538305"/>
                <a:gd name="connsiteX40" fmla="*/ 17278 w 449768"/>
                <a:gd name="connsiteY40" fmla="*/ 310511 h 538305"/>
                <a:gd name="connsiteX41" fmla="*/ 1858 w 449768"/>
                <a:gd name="connsiteY41" fmla="*/ 289645 h 538305"/>
                <a:gd name="connsiteX42" fmla="*/ 162528 w 449768"/>
                <a:gd name="connsiteY42" fmla="*/ 186307 h 538305"/>
                <a:gd name="connsiteX43" fmla="*/ 193369 w 449768"/>
                <a:gd name="connsiteY43" fmla="*/ 165441 h 538305"/>
                <a:gd name="connsiteX44" fmla="*/ 312753 w 449768"/>
                <a:gd name="connsiteY44" fmla="*/ 51669 h 538305"/>
                <a:gd name="connsiteX45" fmla="*/ 400799 w 449768"/>
                <a:gd name="connsiteY45" fmla="*/ 9937 h 538305"/>
                <a:gd name="connsiteX46" fmla="*/ 426665 w 449768"/>
                <a:gd name="connsiteY46" fmla="*/ 4968 h 538305"/>
                <a:gd name="connsiteX47" fmla="*/ 437111 w 449768"/>
                <a:gd name="connsiteY47" fmla="*/ 0 h 53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49768" h="538305">
                  <a:moveTo>
                    <a:pt x="206367" y="423375"/>
                  </a:moveTo>
                  <a:cubicBezTo>
                    <a:pt x="209652" y="425297"/>
                    <a:pt x="211016" y="429140"/>
                    <a:pt x="208536" y="434347"/>
                  </a:cubicBezTo>
                  <a:cubicBezTo>
                    <a:pt x="198122" y="460136"/>
                    <a:pt x="172335" y="506754"/>
                    <a:pt x="136133" y="527584"/>
                  </a:cubicBezTo>
                  <a:cubicBezTo>
                    <a:pt x="125719" y="532543"/>
                    <a:pt x="115305" y="527584"/>
                    <a:pt x="120760" y="517169"/>
                  </a:cubicBezTo>
                  <a:cubicBezTo>
                    <a:pt x="130678" y="491380"/>
                    <a:pt x="151507" y="450217"/>
                    <a:pt x="192667" y="423933"/>
                  </a:cubicBezTo>
                  <a:cubicBezTo>
                    <a:pt x="197874" y="421453"/>
                    <a:pt x="203081" y="421453"/>
                    <a:pt x="206367" y="423375"/>
                  </a:cubicBezTo>
                  <a:close/>
                  <a:moveTo>
                    <a:pt x="158371" y="386315"/>
                  </a:moveTo>
                  <a:cubicBezTo>
                    <a:pt x="161532" y="388230"/>
                    <a:pt x="162771" y="392060"/>
                    <a:pt x="160292" y="397002"/>
                  </a:cubicBezTo>
                  <a:cubicBezTo>
                    <a:pt x="144924" y="433081"/>
                    <a:pt x="113693" y="500297"/>
                    <a:pt x="51725" y="536376"/>
                  </a:cubicBezTo>
                  <a:cubicBezTo>
                    <a:pt x="41315" y="541318"/>
                    <a:pt x="36357" y="536376"/>
                    <a:pt x="41315" y="525997"/>
                  </a:cubicBezTo>
                  <a:cubicBezTo>
                    <a:pt x="51725" y="489918"/>
                    <a:pt x="82957" y="422702"/>
                    <a:pt x="144924" y="387118"/>
                  </a:cubicBezTo>
                  <a:cubicBezTo>
                    <a:pt x="150130" y="384399"/>
                    <a:pt x="155211" y="384399"/>
                    <a:pt x="158371" y="386315"/>
                  </a:cubicBezTo>
                  <a:close/>
                  <a:moveTo>
                    <a:pt x="112005" y="349971"/>
                  </a:moveTo>
                  <a:cubicBezTo>
                    <a:pt x="115228" y="352562"/>
                    <a:pt x="116468" y="357744"/>
                    <a:pt x="113740" y="362927"/>
                  </a:cubicBezTo>
                  <a:cubicBezTo>
                    <a:pt x="103326" y="388591"/>
                    <a:pt x="77539" y="429556"/>
                    <a:pt x="41338" y="455221"/>
                  </a:cubicBezTo>
                  <a:cubicBezTo>
                    <a:pt x="25965" y="460157"/>
                    <a:pt x="21006" y="455221"/>
                    <a:pt x="25965" y="444857"/>
                  </a:cubicBezTo>
                  <a:cubicBezTo>
                    <a:pt x="36379" y="419192"/>
                    <a:pt x="57207" y="378227"/>
                    <a:pt x="98367" y="352562"/>
                  </a:cubicBezTo>
                  <a:cubicBezTo>
                    <a:pt x="103574" y="347380"/>
                    <a:pt x="108781" y="347380"/>
                    <a:pt x="112005" y="349971"/>
                  </a:cubicBezTo>
                  <a:close/>
                  <a:moveTo>
                    <a:pt x="287508" y="153269"/>
                  </a:moveTo>
                  <a:cubicBezTo>
                    <a:pt x="277809" y="153890"/>
                    <a:pt x="268730" y="157740"/>
                    <a:pt x="261020" y="165441"/>
                  </a:cubicBezTo>
                  <a:cubicBezTo>
                    <a:pt x="261020" y="170409"/>
                    <a:pt x="261020" y="170409"/>
                    <a:pt x="255548" y="175874"/>
                  </a:cubicBezTo>
                  <a:cubicBezTo>
                    <a:pt x="245600" y="196243"/>
                    <a:pt x="250574" y="222575"/>
                    <a:pt x="276441" y="232511"/>
                  </a:cubicBezTo>
                  <a:cubicBezTo>
                    <a:pt x="291861" y="242944"/>
                    <a:pt x="317727" y="242944"/>
                    <a:pt x="328174" y="227543"/>
                  </a:cubicBezTo>
                  <a:cubicBezTo>
                    <a:pt x="333645" y="222575"/>
                    <a:pt x="333645" y="222575"/>
                    <a:pt x="333645" y="217110"/>
                  </a:cubicBezTo>
                  <a:cubicBezTo>
                    <a:pt x="349066" y="196243"/>
                    <a:pt x="338620" y="170409"/>
                    <a:pt x="317727" y="160472"/>
                  </a:cubicBezTo>
                  <a:cubicBezTo>
                    <a:pt x="307530" y="155256"/>
                    <a:pt x="297208" y="152648"/>
                    <a:pt x="287508" y="153269"/>
                  </a:cubicBezTo>
                  <a:close/>
                  <a:moveTo>
                    <a:pt x="437111" y="0"/>
                  </a:moveTo>
                  <a:lnTo>
                    <a:pt x="442086" y="0"/>
                  </a:lnTo>
                  <a:cubicBezTo>
                    <a:pt x="447557" y="0"/>
                    <a:pt x="452532" y="0"/>
                    <a:pt x="447557" y="4968"/>
                  </a:cubicBezTo>
                  <a:lnTo>
                    <a:pt x="447557" y="9937"/>
                  </a:lnTo>
                  <a:cubicBezTo>
                    <a:pt x="452532" y="15402"/>
                    <a:pt x="447557" y="15402"/>
                    <a:pt x="447557" y="20370"/>
                  </a:cubicBezTo>
                  <a:cubicBezTo>
                    <a:pt x="447557" y="25835"/>
                    <a:pt x="447557" y="36268"/>
                    <a:pt x="447557" y="46204"/>
                  </a:cubicBezTo>
                  <a:cubicBezTo>
                    <a:pt x="447557" y="62102"/>
                    <a:pt x="447557" y="82472"/>
                    <a:pt x="442086" y="103338"/>
                  </a:cubicBezTo>
                  <a:cubicBezTo>
                    <a:pt x="442086" y="108306"/>
                    <a:pt x="442086" y="108306"/>
                    <a:pt x="442086" y="113771"/>
                  </a:cubicBezTo>
                  <a:cubicBezTo>
                    <a:pt x="437111" y="124205"/>
                    <a:pt x="437111" y="129173"/>
                    <a:pt x="437111" y="134141"/>
                  </a:cubicBezTo>
                  <a:cubicBezTo>
                    <a:pt x="431640" y="150039"/>
                    <a:pt x="426665" y="165441"/>
                    <a:pt x="421194" y="175874"/>
                  </a:cubicBezTo>
                  <a:cubicBezTo>
                    <a:pt x="406271" y="212141"/>
                    <a:pt x="385378" y="248409"/>
                    <a:pt x="354040" y="289645"/>
                  </a:cubicBezTo>
                  <a:cubicBezTo>
                    <a:pt x="349066" y="294613"/>
                    <a:pt x="344091" y="315479"/>
                    <a:pt x="344091" y="325913"/>
                  </a:cubicBezTo>
                  <a:cubicBezTo>
                    <a:pt x="354040" y="367148"/>
                    <a:pt x="359512" y="460053"/>
                    <a:pt x="276441" y="506754"/>
                  </a:cubicBezTo>
                  <a:cubicBezTo>
                    <a:pt x="265994" y="517187"/>
                    <a:pt x="255548" y="512219"/>
                    <a:pt x="261020" y="496321"/>
                  </a:cubicBezTo>
                  <a:cubicBezTo>
                    <a:pt x="261020" y="439684"/>
                    <a:pt x="240128" y="305046"/>
                    <a:pt x="17278" y="310511"/>
                  </a:cubicBezTo>
                  <a:cubicBezTo>
                    <a:pt x="1858" y="310511"/>
                    <a:pt x="-3117" y="300078"/>
                    <a:pt x="1858" y="289645"/>
                  </a:cubicBezTo>
                  <a:cubicBezTo>
                    <a:pt x="17278" y="253377"/>
                    <a:pt x="59062" y="180842"/>
                    <a:pt x="162528" y="186307"/>
                  </a:cubicBezTo>
                  <a:cubicBezTo>
                    <a:pt x="172975" y="186307"/>
                    <a:pt x="188395" y="175874"/>
                    <a:pt x="193369" y="165441"/>
                  </a:cubicBezTo>
                  <a:cubicBezTo>
                    <a:pt x="214261" y="139606"/>
                    <a:pt x="250574" y="87937"/>
                    <a:pt x="312753" y="51669"/>
                  </a:cubicBezTo>
                  <a:cubicBezTo>
                    <a:pt x="349066" y="25835"/>
                    <a:pt x="379907" y="15402"/>
                    <a:pt x="400799" y="9937"/>
                  </a:cubicBezTo>
                  <a:cubicBezTo>
                    <a:pt x="416219" y="9937"/>
                    <a:pt x="426665" y="9937"/>
                    <a:pt x="426665" y="4968"/>
                  </a:cubicBezTo>
                  <a:cubicBezTo>
                    <a:pt x="431640" y="4968"/>
                    <a:pt x="431640" y="0"/>
                    <a:pt x="437111" y="0"/>
                  </a:cubicBezTo>
                  <a:close/>
                </a:path>
              </a:pathLst>
            </a:custGeom>
            <a:solidFill>
              <a:schemeClr val="accent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pPr>
                <a:defRPr/>
              </a:pPr>
              <a:endParaRPr lang="en-US" sz="2400" dirty="0">
                <a:ea typeface="SimSun" charset="0"/>
              </a:endParaRPr>
            </a:p>
          </p:txBody>
        </p:sp>
      </p:grpSp>
      <p:grpSp>
        <p:nvGrpSpPr>
          <p:cNvPr id="47" name="Group 46"/>
          <p:cNvGrpSpPr/>
          <p:nvPr/>
        </p:nvGrpSpPr>
        <p:grpSpPr>
          <a:xfrm>
            <a:off x="6816853" y="4801818"/>
            <a:ext cx="779063" cy="779063"/>
            <a:chOff x="6735051" y="4672718"/>
            <a:chExt cx="942666" cy="942666"/>
          </a:xfrm>
        </p:grpSpPr>
        <p:sp>
          <p:nvSpPr>
            <p:cNvPr id="48" name="Oval 47"/>
            <p:cNvSpPr/>
            <p:nvPr/>
          </p:nvSpPr>
          <p:spPr>
            <a:xfrm>
              <a:off x="6735051" y="4672718"/>
              <a:ext cx="942666" cy="942666"/>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16"/>
            <p:cNvSpPr>
              <a:spLocks noChangeAspect="1" noChangeArrowheads="1"/>
            </p:cNvSpPr>
            <p:nvPr/>
          </p:nvSpPr>
          <p:spPr bwMode="auto">
            <a:xfrm>
              <a:off x="7038697" y="4880634"/>
              <a:ext cx="335375" cy="526835"/>
            </a:xfrm>
            <a:custGeom>
              <a:avLst/>
              <a:gdLst>
                <a:gd name="T0" fmla="*/ 406 w 657"/>
                <a:gd name="T1" fmla="*/ 947 h 1032"/>
                <a:gd name="T2" fmla="*/ 333 w 657"/>
                <a:gd name="T3" fmla="*/ 1031 h 1032"/>
                <a:gd name="T4" fmla="*/ 250 w 657"/>
                <a:gd name="T5" fmla="*/ 947 h 1032"/>
                <a:gd name="T6" fmla="*/ 448 w 657"/>
                <a:gd name="T7" fmla="*/ 916 h 1032"/>
                <a:gd name="T8" fmla="*/ 198 w 657"/>
                <a:gd name="T9" fmla="*/ 833 h 1032"/>
                <a:gd name="T10" fmla="*/ 656 w 657"/>
                <a:gd name="T11" fmla="*/ 333 h 1032"/>
                <a:gd name="T12" fmla="*/ 562 w 657"/>
                <a:gd name="T13" fmla="*/ 562 h 1032"/>
                <a:gd name="T14" fmla="*/ 531 w 657"/>
                <a:gd name="T15" fmla="*/ 635 h 1032"/>
                <a:gd name="T16" fmla="*/ 500 w 657"/>
                <a:gd name="T17" fmla="*/ 708 h 1032"/>
                <a:gd name="T18" fmla="*/ 500 w 657"/>
                <a:gd name="T19" fmla="*/ 729 h 1032"/>
                <a:gd name="T20" fmla="*/ 166 w 657"/>
                <a:gd name="T21" fmla="*/ 791 h 1032"/>
                <a:gd name="T22" fmla="*/ 156 w 657"/>
                <a:gd name="T23" fmla="*/ 708 h 1032"/>
                <a:gd name="T24" fmla="*/ 135 w 657"/>
                <a:gd name="T25" fmla="*/ 635 h 1032"/>
                <a:gd name="T26" fmla="*/ 93 w 657"/>
                <a:gd name="T27" fmla="*/ 552 h 1032"/>
                <a:gd name="T28" fmla="*/ 0 w 657"/>
                <a:gd name="T29" fmla="*/ 333 h 1032"/>
                <a:gd name="T30" fmla="*/ 333 w 657"/>
                <a:gd name="T31" fmla="*/ 0 h 1032"/>
                <a:gd name="T32" fmla="*/ 656 w 657"/>
                <a:gd name="T33" fmla="*/ 333 h 1032"/>
                <a:gd name="T34" fmla="*/ 510 w 657"/>
                <a:gd name="T35" fmla="*/ 156 h 1032"/>
                <a:gd name="T36" fmla="*/ 156 w 657"/>
                <a:gd name="T37" fmla="*/ 156 h 1032"/>
                <a:gd name="T38" fmla="*/ 146 w 657"/>
                <a:gd name="T39" fmla="*/ 499 h 1032"/>
                <a:gd name="T40" fmla="*/ 166 w 657"/>
                <a:gd name="T41" fmla="*/ 541 h 1032"/>
                <a:gd name="T42" fmla="*/ 229 w 657"/>
                <a:gd name="T43" fmla="*/ 666 h 1032"/>
                <a:gd name="T44" fmla="*/ 427 w 657"/>
                <a:gd name="T45" fmla="*/ 718 h 1032"/>
                <a:gd name="T46" fmla="*/ 458 w 657"/>
                <a:gd name="T47" fmla="*/ 604 h 1032"/>
                <a:gd name="T48" fmla="*/ 510 w 657"/>
                <a:gd name="T49" fmla="*/ 520 h 1032"/>
                <a:gd name="T50" fmla="*/ 583 w 657"/>
                <a:gd name="T51" fmla="*/ 333 h 1032"/>
                <a:gd name="T52" fmla="*/ 354 w 657"/>
                <a:gd name="T53" fmla="*/ 354 h 1032"/>
                <a:gd name="T54" fmla="*/ 302 w 657"/>
                <a:gd name="T55" fmla="*/ 354 h 1032"/>
                <a:gd name="T56" fmla="*/ 239 w 657"/>
                <a:gd name="T57" fmla="*/ 354 h 1032"/>
                <a:gd name="T58" fmla="*/ 250 w 657"/>
                <a:gd name="T59" fmla="*/ 499 h 1032"/>
                <a:gd name="T60" fmla="*/ 302 w 657"/>
                <a:gd name="T61" fmla="*/ 499 h 1032"/>
                <a:gd name="T62" fmla="*/ 364 w 657"/>
                <a:gd name="T63" fmla="*/ 499 h 1032"/>
                <a:gd name="T64" fmla="*/ 416 w 657"/>
                <a:gd name="T65" fmla="*/ 499 h 1032"/>
                <a:gd name="T66" fmla="*/ 427 w 657"/>
                <a:gd name="T67" fmla="*/ 354 h 1032"/>
                <a:gd name="T68" fmla="*/ 385 w 657"/>
                <a:gd name="T69" fmla="*/ 416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032">
                  <a:moveTo>
                    <a:pt x="250" y="947"/>
                  </a:moveTo>
                  <a:cubicBezTo>
                    <a:pt x="406" y="947"/>
                    <a:pt x="406" y="947"/>
                    <a:pt x="406" y="947"/>
                  </a:cubicBezTo>
                  <a:cubicBezTo>
                    <a:pt x="406" y="968"/>
                    <a:pt x="396" y="989"/>
                    <a:pt x="385" y="1010"/>
                  </a:cubicBezTo>
                  <a:cubicBezTo>
                    <a:pt x="364" y="1020"/>
                    <a:pt x="354" y="1031"/>
                    <a:pt x="333" y="1031"/>
                  </a:cubicBezTo>
                  <a:cubicBezTo>
                    <a:pt x="312" y="1031"/>
                    <a:pt x="291" y="1020"/>
                    <a:pt x="281" y="1010"/>
                  </a:cubicBezTo>
                  <a:cubicBezTo>
                    <a:pt x="260" y="989"/>
                    <a:pt x="250" y="968"/>
                    <a:pt x="250" y="947"/>
                  </a:cubicBezTo>
                  <a:close/>
                  <a:moveTo>
                    <a:pt x="208" y="916"/>
                  </a:moveTo>
                  <a:cubicBezTo>
                    <a:pt x="448" y="916"/>
                    <a:pt x="448" y="916"/>
                    <a:pt x="448" y="916"/>
                  </a:cubicBezTo>
                  <a:cubicBezTo>
                    <a:pt x="458" y="833"/>
                    <a:pt x="458" y="833"/>
                    <a:pt x="458" y="833"/>
                  </a:cubicBezTo>
                  <a:cubicBezTo>
                    <a:pt x="198" y="833"/>
                    <a:pt x="198" y="833"/>
                    <a:pt x="198" y="833"/>
                  </a:cubicBezTo>
                  <a:lnTo>
                    <a:pt x="208" y="916"/>
                  </a:lnTo>
                  <a:close/>
                  <a:moveTo>
                    <a:pt x="656" y="333"/>
                  </a:moveTo>
                  <a:cubicBezTo>
                    <a:pt x="656" y="416"/>
                    <a:pt x="625" y="489"/>
                    <a:pt x="573" y="552"/>
                  </a:cubicBezTo>
                  <a:lnTo>
                    <a:pt x="562" y="562"/>
                  </a:lnTo>
                  <a:cubicBezTo>
                    <a:pt x="562" y="562"/>
                    <a:pt x="562" y="572"/>
                    <a:pt x="552" y="572"/>
                  </a:cubicBezTo>
                  <a:cubicBezTo>
                    <a:pt x="541" y="593"/>
                    <a:pt x="541" y="614"/>
                    <a:pt x="531" y="635"/>
                  </a:cubicBezTo>
                  <a:cubicBezTo>
                    <a:pt x="521" y="656"/>
                    <a:pt x="510" y="677"/>
                    <a:pt x="510" y="697"/>
                  </a:cubicBezTo>
                  <a:cubicBezTo>
                    <a:pt x="500" y="697"/>
                    <a:pt x="500" y="697"/>
                    <a:pt x="500" y="708"/>
                  </a:cubicBezTo>
                  <a:lnTo>
                    <a:pt x="500" y="718"/>
                  </a:lnTo>
                  <a:cubicBezTo>
                    <a:pt x="500" y="729"/>
                    <a:pt x="500" y="729"/>
                    <a:pt x="500" y="729"/>
                  </a:cubicBezTo>
                  <a:cubicBezTo>
                    <a:pt x="500" y="791"/>
                    <a:pt x="500" y="791"/>
                    <a:pt x="500" y="791"/>
                  </a:cubicBezTo>
                  <a:cubicBezTo>
                    <a:pt x="166" y="791"/>
                    <a:pt x="166" y="791"/>
                    <a:pt x="166" y="791"/>
                  </a:cubicBezTo>
                  <a:cubicBezTo>
                    <a:pt x="166" y="729"/>
                    <a:pt x="166" y="729"/>
                    <a:pt x="166" y="729"/>
                  </a:cubicBezTo>
                  <a:cubicBezTo>
                    <a:pt x="166" y="718"/>
                    <a:pt x="156" y="718"/>
                    <a:pt x="156" y="708"/>
                  </a:cubicBezTo>
                  <a:lnTo>
                    <a:pt x="156" y="697"/>
                  </a:lnTo>
                  <a:cubicBezTo>
                    <a:pt x="146" y="677"/>
                    <a:pt x="146" y="656"/>
                    <a:pt x="135" y="635"/>
                  </a:cubicBezTo>
                  <a:cubicBezTo>
                    <a:pt x="125" y="614"/>
                    <a:pt x="114" y="593"/>
                    <a:pt x="104" y="572"/>
                  </a:cubicBezTo>
                  <a:cubicBezTo>
                    <a:pt x="93" y="562"/>
                    <a:pt x="93" y="562"/>
                    <a:pt x="93" y="552"/>
                  </a:cubicBezTo>
                  <a:lnTo>
                    <a:pt x="83" y="552"/>
                  </a:lnTo>
                  <a:cubicBezTo>
                    <a:pt x="31" y="489"/>
                    <a:pt x="0" y="416"/>
                    <a:pt x="0" y="333"/>
                  </a:cubicBezTo>
                  <a:cubicBezTo>
                    <a:pt x="0" y="239"/>
                    <a:pt x="31" y="166"/>
                    <a:pt x="104" y="104"/>
                  </a:cubicBezTo>
                  <a:cubicBezTo>
                    <a:pt x="166" y="31"/>
                    <a:pt x="239" y="0"/>
                    <a:pt x="333" y="0"/>
                  </a:cubicBezTo>
                  <a:cubicBezTo>
                    <a:pt x="416" y="0"/>
                    <a:pt x="500" y="31"/>
                    <a:pt x="562" y="104"/>
                  </a:cubicBezTo>
                  <a:cubicBezTo>
                    <a:pt x="625" y="166"/>
                    <a:pt x="656" y="239"/>
                    <a:pt x="656" y="333"/>
                  </a:cubicBezTo>
                  <a:close/>
                  <a:moveTo>
                    <a:pt x="583" y="333"/>
                  </a:moveTo>
                  <a:cubicBezTo>
                    <a:pt x="583" y="260"/>
                    <a:pt x="562" y="198"/>
                    <a:pt x="510" y="156"/>
                  </a:cubicBezTo>
                  <a:cubicBezTo>
                    <a:pt x="458" y="104"/>
                    <a:pt x="396" y="83"/>
                    <a:pt x="333" y="83"/>
                  </a:cubicBezTo>
                  <a:cubicBezTo>
                    <a:pt x="260" y="83"/>
                    <a:pt x="198" y="104"/>
                    <a:pt x="156" y="156"/>
                  </a:cubicBezTo>
                  <a:cubicBezTo>
                    <a:pt x="104" y="198"/>
                    <a:pt x="73" y="260"/>
                    <a:pt x="73" y="333"/>
                  </a:cubicBezTo>
                  <a:cubicBezTo>
                    <a:pt x="73" y="396"/>
                    <a:pt x="93" y="448"/>
                    <a:pt x="146" y="499"/>
                  </a:cubicBezTo>
                  <a:cubicBezTo>
                    <a:pt x="146" y="499"/>
                    <a:pt x="146" y="510"/>
                    <a:pt x="156" y="510"/>
                  </a:cubicBezTo>
                  <a:cubicBezTo>
                    <a:pt x="156" y="520"/>
                    <a:pt x="166" y="531"/>
                    <a:pt x="166" y="541"/>
                  </a:cubicBezTo>
                  <a:cubicBezTo>
                    <a:pt x="177" y="562"/>
                    <a:pt x="187" y="583"/>
                    <a:pt x="198" y="604"/>
                  </a:cubicBezTo>
                  <a:cubicBezTo>
                    <a:pt x="208" y="624"/>
                    <a:pt x="218" y="645"/>
                    <a:pt x="229" y="666"/>
                  </a:cubicBezTo>
                  <a:cubicBezTo>
                    <a:pt x="229" y="697"/>
                    <a:pt x="239" y="708"/>
                    <a:pt x="239" y="718"/>
                  </a:cubicBezTo>
                  <a:cubicBezTo>
                    <a:pt x="427" y="718"/>
                    <a:pt x="427" y="718"/>
                    <a:pt x="427" y="718"/>
                  </a:cubicBezTo>
                  <a:cubicBezTo>
                    <a:pt x="427" y="708"/>
                    <a:pt x="427" y="697"/>
                    <a:pt x="437" y="666"/>
                  </a:cubicBezTo>
                  <a:cubicBezTo>
                    <a:pt x="437" y="645"/>
                    <a:pt x="448" y="624"/>
                    <a:pt x="458" y="604"/>
                  </a:cubicBezTo>
                  <a:cubicBezTo>
                    <a:pt x="468" y="583"/>
                    <a:pt x="479" y="562"/>
                    <a:pt x="489" y="541"/>
                  </a:cubicBezTo>
                  <a:cubicBezTo>
                    <a:pt x="489" y="531"/>
                    <a:pt x="500" y="520"/>
                    <a:pt x="510" y="520"/>
                  </a:cubicBezTo>
                  <a:cubicBezTo>
                    <a:pt x="510" y="510"/>
                    <a:pt x="510" y="499"/>
                    <a:pt x="521" y="499"/>
                  </a:cubicBezTo>
                  <a:cubicBezTo>
                    <a:pt x="562" y="448"/>
                    <a:pt x="583" y="396"/>
                    <a:pt x="583" y="333"/>
                  </a:cubicBezTo>
                  <a:close/>
                  <a:moveTo>
                    <a:pt x="385" y="416"/>
                  </a:moveTo>
                  <a:cubicBezTo>
                    <a:pt x="354" y="354"/>
                    <a:pt x="354" y="354"/>
                    <a:pt x="354" y="354"/>
                  </a:cubicBezTo>
                  <a:cubicBezTo>
                    <a:pt x="333" y="302"/>
                    <a:pt x="333" y="302"/>
                    <a:pt x="333" y="302"/>
                  </a:cubicBezTo>
                  <a:cubicBezTo>
                    <a:pt x="302" y="354"/>
                    <a:pt x="302" y="354"/>
                    <a:pt x="302" y="354"/>
                  </a:cubicBezTo>
                  <a:cubicBezTo>
                    <a:pt x="271" y="416"/>
                    <a:pt x="271" y="416"/>
                    <a:pt x="271" y="416"/>
                  </a:cubicBezTo>
                  <a:cubicBezTo>
                    <a:pt x="239" y="354"/>
                    <a:pt x="239" y="354"/>
                    <a:pt x="239" y="354"/>
                  </a:cubicBezTo>
                  <a:cubicBezTo>
                    <a:pt x="187" y="385"/>
                    <a:pt x="187" y="385"/>
                    <a:pt x="187" y="385"/>
                  </a:cubicBezTo>
                  <a:cubicBezTo>
                    <a:pt x="250" y="499"/>
                    <a:pt x="250" y="499"/>
                    <a:pt x="250" y="499"/>
                  </a:cubicBezTo>
                  <a:cubicBezTo>
                    <a:pt x="271" y="552"/>
                    <a:pt x="271" y="552"/>
                    <a:pt x="271" y="552"/>
                  </a:cubicBezTo>
                  <a:cubicBezTo>
                    <a:pt x="302" y="499"/>
                    <a:pt x="302" y="499"/>
                    <a:pt x="302" y="499"/>
                  </a:cubicBezTo>
                  <a:cubicBezTo>
                    <a:pt x="333" y="437"/>
                    <a:pt x="333" y="437"/>
                    <a:pt x="333" y="437"/>
                  </a:cubicBezTo>
                  <a:cubicBezTo>
                    <a:pt x="364" y="499"/>
                    <a:pt x="364" y="499"/>
                    <a:pt x="364" y="499"/>
                  </a:cubicBezTo>
                  <a:cubicBezTo>
                    <a:pt x="385" y="552"/>
                    <a:pt x="385" y="552"/>
                    <a:pt x="385" y="552"/>
                  </a:cubicBezTo>
                  <a:cubicBezTo>
                    <a:pt x="416" y="499"/>
                    <a:pt x="416" y="499"/>
                    <a:pt x="416" y="499"/>
                  </a:cubicBezTo>
                  <a:cubicBezTo>
                    <a:pt x="479" y="385"/>
                    <a:pt x="479" y="385"/>
                    <a:pt x="479" y="385"/>
                  </a:cubicBezTo>
                  <a:cubicBezTo>
                    <a:pt x="427" y="354"/>
                    <a:pt x="427" y="354"/>
                    <a:pt x="427" y="354"/>
                  </a:cubicBezTo>
                  <a:lnTo>
                    <a:pt x="385" y="416"/>
                  </a:lnTo>
                  <a:close/>
                  <a:moveTo>
                    <a:pt x="385" y="416"/>
                  </a:moveTo>
                  <a:lnTo>
                    <a:pt x="385" y="416"/>
                  </a:lnTo>
                  <a:close/>
                </a:path>
              </a:pathLst>
            </a:custGeom>
            <a:solidFill>
              <a:schemeClr val="accent3"/>
            </a:solidFill>
            <a:ln>
              <a:noFill/>
            </a:ln>
            <a:effectLst/>
          </p:spPr>
          <p:txBody>
            <a:bodyPr wrap="none" lIns="182843" tIns="91422" rIns="182843" bIns="91422" anchor="ctr"/>
            <a:lstStyle/>
            <a:p>
              <a:pPr>
                <a:defRPr/>
              </a:pPr>
              <a:endParaRPr lang="en-US" sz="2400" dirty="0">
                <a:ea typeface="SimSun" charset="0"/>
              </a:endParaRPr>
            </a:p>
          </p:txBody>
        </p:sp>
      </p:grpSp>
      <p:sp>
        <p:nvSpPr>
          <p:cNvPr id="50" name="TextBox 49"/>
          <p:cNvSpPr txBox="1"/>
          <p:nvPr/>
        </p:nvSpPr>
        <p:spPr>
          <a:xfrm>
            <a:off x="2038754" y="5735273"/>
            <a:ext cx="1508746" cy="276999"/>
          </a:xfrm>
          <a:prstGeom prst="rect">
            <a:avLst/>
          </a:prstGeom>
          <a:noFill/>
        </p:spPr>
        <p:txBody>
          <a:bodyPr wrap="none" rtlCol="0">
            <a:spAutoFit/>
          </a:bodyPr>
          <a:lstStyle/>
          <a:p>
            <a:pPr algn="ctr"/>
            <a:r>
              <a:rPr lang="en-US" sz="1200" dirty="0">
                <a:solidFill>
                  <a:schemeClr val="tx1">
                    <a:lumMod val="75000"/>
                    <a:lumOff val="25000"/>
                  </a:schemeClr>
                </a:solidFill>
                <a:latin typeface="Montserrat" panose="00000500000000000000" pitchFamily="2" charset="0"/>
              </a:rPr>
              <a:t>INTRODUCTION 1</a:t>
            </a:r>
            <a:endParaRPr lang="id-ID" sz="1200" dirty="0">
              <a:solidFill>
                <a:schemeClr val="tx1">
                  <a:lumMod val="75000"/>
                  <a:lumOff val="25000"/>
                </a:schemeClr>
              </a:solidFill>
              <a:latin typeface="Montserrat" panose="00000500000000000000" pitchFamily="2" charset="0"/>
            </a:endParaRPr>
          </a:p>
        </p:txBody>
      </p:sp>
      <p:sp>
        <p:nvSpPr>
          <p:cNvPr id="51" name="TextBox 50"/>
          <p:cNvSpPr txBox="1"/>
          <p:nvPr/>
        </p:nvSpPr>
        <p:spPr>
          <a:xfrm>
            <a:off x="4237370" y="5735273"/>
            <a:ext cx="1524776" cy="276999"/>
          </a:xfrm>
          <a:prstGeom prst="rect">
            <a:avLst/>
          </a:prstGeom>
          <a:noFill/>
        </p:spPr>
        <p:txBody>
          <a:bodyPr wrap="none" rtlCol="0">
            <a:spAutoFit/>
          </a:bodyPr>
          <a:lstStyle/>
          <a:p>
            <a:pPr algn="ctr"/>
            <a:r>
              <a:rPr lang="en-US" sz="1200" dirty="0">
                <a:solidFill>
                  <a:schemeClr val="tx1">
                    <a:lumMod val="75000"/>
                    <a:lumOff val="25000"/>
                  </a:schemeClr>
                </a:solidFill>
                <a:latin typeface="Montserrat" panose="00000500000000000000" pitchFamily="2" charset="0"/>
              </a:rPr>
              <a:t>INTRODUCTION 2</a:t>
            </a:r>
            <a:endParaRPr lang="id-ID" sz="1200" dirty="0">
              <a:solidFill>
                <a:schemeClr val="tx1">
                  <a:lumMod val="75000"/>
                  <a:lumOff val="25000"/>
                </a:schemeClr>
              </a:solidFill>
              <a:latin typeface="Montserrat" panose="00000500000000000000" pitchFamily="2" charset="0"/>
            </a:endParaRPr>
          </a:p>
        </p:txBody>
      </p:sp>
      <p:sp>
        <p:nvSpPr>
          <p:cNvPr id="52" name="TextBox 51"/>
          <p:cNvSpPr txBox="1"/>
          <p:nvPr/>
        </p:nvSpPr>
        <p:spPr>
          <a:xfrm>
            <a:off x="6443197" y="5735273"/>
            <a:ext cx="1526379" cy="276999"/>
          </a:xfrm>
          <a:prstGeom prst="rect">
            <a:avLst/>
          </a:prstGeom>
          <a:noFill/>
        </p:spPr>
        <p:txBody>
          <a:bodyPr wrap="none" rtlCol="0">
            <a:spAutoFit/>
          </a:bodyPr>
          <a:lstStyle/>
          <a:p>
            <a:pPr algn="ctr"/>
            <a:r>
              <a:rPr lang="en-US" sz="1200" dirty="0">
                <a:solidFill>
                  <a:schemeClr val="tx1">
                    <a:lumMod val="75000"/>
                    <a:lumOff val="25000"/>
                  </a:schemeClr>
                </a:solidFill>
                <a:latin typeface="Montserrat" panose="00000500000000000000" pitchFamily="2" charset="0"/>
              </a:rPr>
              <a:t>INTRODUCTION 3</a:t>
            </a:r>
            <a:endParaRPr lang="id-ID" sz="1200" dirty="0">
              <a:solidFill>
                <a:schemeClr val="tx1">
                  <a:lumMod val="75000"/>
                  <a:lumOff val="25000"/>
                </a:schemeClr>
              </a:solidFill>
              <a:latin typeface="Montserrat" panose="00000500000000000000" pitchFamily="2" charset="0"/>
            </a:endParaRPr>
          </a:p>
        </p:txBody>
      </p:sp>
      <p:sp>
        <p:nvSpPr>
          <p:cNvPr id="53" name="TextBox 52"/>
          <p:cNvSpPr txBox="1"/>
          <p:nvPr/>
        </p:nvSpPr>
        <p:spPr>
          <a:xfrm>
            <a:off x="8649024" y="5735273"/>
            <a:ext cx="1527982" cy="276999"/>
          </a:xfrm>
          <a:prstGeom prst="rect">
            <a:avLst/>
          </a:prstGeom>
          <a:noFill/>
        </p:spPr>
        <p:txBody>
          <a:bodyPr wrap="none" rtlCol="0">
            <a:spAutoFit/>
          </a:bodyPr>
          <a:lstStyle/>
          <a:p>
            <a:pPr algn="ctr"/>
            <a:r>
              <a:rPr lang="en-US" sz="1200" dirty="0">
                <a:solidFill>
                  <a:schemeClr val="tx1">
                    <a:lumMod val="75000"/>
                    <a:lumOff val="25000"/>
                  </a:schemeClr>
                </a:solidFill>
                <a:latin typeface="Montserrat" panose="00000500000000000000" pitchFamily="2" charset="0"/>
              </a:rPr>
              <a:t>INTRODUCTION 4</a:t>
            </a:r>
            <a:endParaRPr lang="id-ID" sz="1200" dirty="0">
              <a:solidFill>
                <a:schemeClr val="tx1">
                  <a:lumMod val="75000"/>
                  <a:lumOff val="25000"/>
                </a:schemeClr>
              </a:solidFill>
              <a:latin typeface="Montserrat" panose="00000500000000000000" pitchFamily="2" charset="0"/>
            </a:endParaRPr>
          </a:p>
        </p:txBody>
      </p:sp>
      <p:sp>
        <p:nvSpPr>
          <p:cNvPr id="2" name="Slide Number Placeholder 1"/>
          <p:cNvSpPr>
            <a:spLocks noGrp="1"/>
          </p:cNvSpPr>
          <p:nvPr>
            <p:ph type="sldNum" sz="quarter" idx="12"/>
          </p:nvPr>
        </p:nvSpPr>
        <p:spPr/>
        <p:txBody>
          <a:bodyPr/>
          <a:lstStyle/>
          <a:p>
            <a:fld id="{DE156FE7-4276-48C2-8D29-2DA35A3BAE26}" type="slidenum">
              <a:rPr lang="en-US" smtClean="0"/>
              <a:t>1</a:t>
            </a:fld>
            <a:endParaRPr lang="en-US"/>
          </a:p>
        </p:txBody>
      </p:sp>
    </p:spTree>
    <p:extLst>
      <p:ext uri="{BB962C8B-B14F-4D97-AF65-F5344CB8AC3E}">
        <p14:creationId xmlns:p14="http://schemas.microsoft.com/office/powerpoint/2010/main" val="2713732626"/>
      </p:ext>
    </p:extLst>
  </p:cSld>
  <p:clrMapOvr>
    <a:masterClrMapping/>
  </p:clrMapOvr>
  <p:transition spd="med">
    <p:pull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3A3F73A3-ACE5-4173-A986-9DBA78D57CC8}"/>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3210" b="3210"/>
          <a:stretch>
            <a:fillRect/>
          </a:stretch>
        </p:blipFill>
        <p:spPr>
          <a:solidFill>
            <a:schemeClr val="bg1">
              <a:lumMod val="85000"/>
            </a:schemeClr>
          </a:solidFill>
        </p:spPr>
      </p:pic>
      <p:sp>
        <p:nvSpPr>
          <p:cNvPr id="4" name="Rectangle 3"/>
          <p:cNvSpPr/>
          <p:nvPr/>
        </p:nvSpPr>
        <p:spPr>
          <a:xfrm>
            <a:off x="3437929" y="2594466"/>
            <a:ext cx="4095209" cy="1754326"/>
          </a:xfrm>
          <a:prstGeom prst="rect">
            <a:avLst/>
          </a:prstGeom>
        </p:spPr>
        <p:txBody>
          <a:bodyPr wrap="square">
            <a:spAutoFit/>
          </a:bodyPr>
          <a:lstStyle/>
          <a:p>
            <a:pPr algn="just">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a:t>
            </a:r>
          </a:p>
          <a:p>
            <a:pPr algn="just">
              <a:buClr>
                <a:srgbClr val="E24848"/>
              </a:buClr>
              <a:defRPr/>
            </a:pP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a:p>
            <a:pPr algn="just">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am. Aliquam erat volutpat. Aenean lacinia lacus aliquet ante mollis, sollicitudin tempor tortor aliquam. </a:t>
            </a:r>
          </a:p>
        </p:txBody>
      </p:sp>
      <p:sp>
        <p:nvSpPr>
          <p:cNvPr id="5" name="Rectangle 4"/>
          <p:cNvSpPr/>
          <p:nvPr/>
        </p:nvSpPr>
        <p:spPr>
          <a:xfrm>
            <a:off x="3414205" y="1913783"/>
            <a:ext cx="4325988" cy="584775"/>
          </a:xfrm>
          <a:prstGeom prst="rect">
            <a:avLst/>
          </a:prstGeom>
        </p:spPr>
        <p:txBody>
          <a:bodyPr vert="horz" lIns="91440" tIns="45720" rIns="91440" bIns="45720" rtlCol="0" anchor="ctr">
            <a:noAutofit/>
          </a:bodyPr>
          <a:lstStyle/>
          <a:p>
            <a:pPr>
              <a:spcBef>
                <a:spcPct val="0"/>
              </a:spcBef>
            </a:pPr>
            <a:r>
              <a:rPr lang="en-US" sz="3200" b="1" spc="-150" noProof="1">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WHAT </a:t>
            </a:r>
            <a:r>
              <a:rPr lang="en-US" sz="3200" spc="-150" noProof="1">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WE DO</a:t>
            </a:r>
          </a:p>
        </p:txBody>
      </p:sp>
      <p:grpSp>
        <p:nvGrpSpPr>
          <p:cNvPr id="3" name="Group 2"/>
          <p:cNvGrpSpPr/>
          <p:nvPr/>
        </p:nvGrpSpPr>
        <p:grpSpPr>
          <a:xfrm>
            <a:off x="582014" y="2296116"/>
            <a:ext cx="2555700" cy="2226911"/>
            <a:chOff x="481981" y="2665168"/>
            <a:chExt cx="2098688" cy="1828693"/>
          </a:xfrm>
        </p:grpSpPr>
        <p:grpSp>
          <p:nvGrpSpPr>
            <p:cNvPr id="95" name="Group 94"/>
            <p:cNvGrpSpPr/>
            <p:nvPr/>
          </p:nvGrpSpPr>
          <p:grpSpPr>
            <a:xfrm>
              <a:off x="481981" y="2665168"/>
              <a:ext cx="2098688" cy="1828693"/>
              <a:chOff x="3847338" y="2612537"/>
              <a:chExt cx="2098688" cy="1828693"/>
            </a:xfrm>
          </p:grpSpPr>
          <p:sp>
            <p:nvSpPr>
              <p:cNvPr id="96" name="Freeform 95"/>
              <p:cNvSpPr/>
              <p:nvPr/>
            </p:nvSpPr>
            <p:spPr bwMode="auto">
              <a:xfrm>
                <a:off x="4290829" y="3264760"/>
                <a:ext cx="1211757" cy="1145182"/>
              </a:xfrm>
              <a:custGeom>
                <a:avLst/>
                <a:gdLst>
                  <a:gd name="connsiteX0" fmla="*/ 0 w 2370667"/>
                  <a:gd name="connsiteY0" fmla="*/ 423333 h 2525889"/>
                  <a:gd name="connsiteX1" fmla="*/ 1270000 w 2370667"/>
                  <a:gd name="connsiteY1" fmla="*/ 0 h 2525889"/>
                  <a:gd name="connsiteX2" fmla="*/ 2370667 w 2370667"/>
                  <a:gd name="connsiteY2" fmla="*/ 592667 h 2525889"/>
                  <a:gd name="connsiteX3" fmla="*/ 2370667 w 2370667"/>
                  <a:gd name="connsiteY3" fmla="*/ 1919111 h 2525889"/>
                  <a:gd name="connsiteX4" fmla="*/ 1114778 w 2370667"/>
                  <a:gd name="connsiteY4" fmla="*/ 2525889 h 2525889"/>
                  <a:gd name="connsiteX5" fmla="*/ 14111 w 2370667"/>
                  <a:gd name="connsiteY5" fmla="*/ 1763889 h 2525889"/>
                  <a:gd name="connsiteX6" fmla="*/ 0 w 2370667"/>
                  <a:gd name="connsiteY6" fmla="*/ 423333 h 2525889"/>
                  <a:gd name="connsiteX0" fmla="*/ 0 w 2370667"/>
                  <a:gd name="connsiteY0" fmla="*/ 423333 h 2525889"/>
                  <a:gd name="connsiteX1" fmla="*/ 1270000 w 2370667"/>
                  <a:gd name="connsiteY1" fmla="*/ 0 h 2525889"/>
                  <a:gd name="connsiteX2" fmla="*/ 2370667 w 2370667"/>
                  <a:gd name="connsiteY2" fmla="*/ 592667 h 2525889"/>
                  <a:gd name="connsiteX3" fmla="*/ 2370667 w 2370667"/>
                  <a:gd name="connsiteY3" fmla="*/ 1919111 h 2525889"/>
                  <a:gd name="connsiteX4" fmla="*/ 1114778 w 2370667"/>
                  <a:gd name="connsiteY4" fmla="*/ 2525889 h 2525889"/>
                  <a:gd name="connsiteX5" fmla="*/ 127000 w 2370667"/>
                  <a:gd name="connsiteY5" fmla="*/ 1763889 h 2525889"/>
                  <a:gd name="connsiteX6" fmla="*/ 0 w 2370667"/>
                  <a:gd name="connsiteY6" fmla="*/ 423333 h 2525889"/>
                  <a:gd name="connsiteX0" fmla="*/ 0 w 2370667"/>
                  <a:gd name="connsiteY0" fmla="*/ 423333 h 2525889"/>
                  <a:gd name="connsiteX1" fmla="*/ 1270000 w 2370667"/>
                  <a:gd name="connsiteY1" fmla="*/ 0 h 2525889"/>
                  <a:gd name="connsiteX2" fmla="*/ 2370667 w 2370667"/>
                  <a:gd name="connsiteY2" fmla="*/ 592667 h 2525889"/>
                  <a:gd name="connsiteX3" fmla="*/ 2215445 w 2370667"/>
                  <a:gd name="connsiteY3" fmla="*/ 1905309 h 2525889"/>
                  <a:gd name="connsiteX4" fmla="*/ 1114778 w 2370667"/>
                  <a:gd name="connsiteY4" fmla="*/ 2525889 h 2525889"/>
                  <a:gd name="connsiteX5" fmla="*/ 127000 w 2370667"/>
                  <a:gd name="connsiteY5" fmla="*/ 1763889 h 2525889"/>
                  <a:gd name="connsiteX6" fmla="*/ 0 w 2370667"/>
                  <a:gd name="connsiteY6" fmla="*/ 423333 h 252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0667" h="2525889">
                    <a:moveTo>
                      <a:pt x="0" y="423333"/>
                    </a:moveTo>
                    <a:lnTo>
                      <a:pt x="1270000" y="0"/>
                    </a:lnTo>
                    <a:lnTo>
                      <a:pt x="2370667" y="592667"/>
                    </a:lnTo>
                    <a:lnTo>
                      <a:pt x="2215445" y="1905309"/>
                    </a:lnTo>
                    <a:lnTo>
                      <a:pt x="1114778" y="2525889"/>
                    </a:lnTo>
                    <a:lnTo>
                      <a:pt x="127000" y="1763889"/>
                    </a:lnTo>
                    <a:lnTo>
                      <a:pt x="0" y="423333"/>
                    </a:lnTo>
                    <a:close/>
                  </a:path>
                </a:pathLst>
              </a:custGeom>
              <a:solidFill>
                <a:srgbClr val="FFA54B"/>
              </a:solidFill>
              <a:ln>
                <a:no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pitchFamily="34" charset="0"/>
                    <a:ea typeface="MS PGothic" pitchFamily="34" charset="-128"/>
                  </a:defRPr>
                </a:lvl1pPr>
                <a:lvl2pPr marL="37931725" indent="-37474525" eaLnBrk="0" hangingPunct="0">
                  <a:defRPr sz="2400">
                    <a:solidFill>
                      <a:schemeClr val="tx1"/>
                    </a:solidFill>
                    <a:latin typeface="Calibri" pitchFamily="34" charset="0"/>
                    <a:ea typeface="MS PGothic" pitchFamily="34" charset="-128"/>
                  </a:defRPr>
                </a:lvl2pPr>
                <a:lvl3pPr eaLnBrk="0" hangingPunct="0">
                  <a:defRPr sz="2400">
                    <a:solidFill>
                      <a:schemeClr val="tx1"/>
                    </a:solidFill>
                    <a:latin typeface="Calibri" pitchFamily="34" charset="0"/>
                    <a:ea typeface="MS PGothic" pitchFamily="34" charset="-128"/>
                  </a:defRPr>
                </a:lvl3pPr>
                <a:lvl4pPr eaLnBrk="0" hangingPunct="0">
                  <a:defRPr sz="2400">
                    <a:solidFill>
                      <a:schemeClr val="tx1"/>
                    </a:solidFill>
                    <a:latin typeface="Calibri" pitchFamily="34" charset="0"/>
                    <a:ea typeface="MS PGothic" pitchFamily="34" charset="-128"/>
                  </a:defRPr>
                </a:lvl4pPr>
                <a:lvl5pPr eaLnBrk="0" hangingPunct="0">
                  <a:defRPr sz="2400">
                    <a:solidFill>
                      <a:schemeClr val="tx1"/>
                    </a:solidFill>
                    <a:latin typeface="Calibri" pitchFamily="34" charset="0"/>
                    <a:ea typeface="MS PGothic" pitchFamily="34" charset="-128"/>
                  </a:defRPr>
                </a:lvl5pPr>
                <a:lvl6pPr marL="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914400" eaLnBrk="0" fontAlgn="base" hangingPunct="0">
                  <a:spcBef>
                    <a:spcPct val="0"/>
                  </a:spcBef>
                  <a:spcAft>
                    <a:spcPct val="0"/>
                  </a:spcAft>
                  <a:defRPr sz="2400">
                    <a:solidFill>
                      <a:schemeClr val="tx1"/>
                    </a:solidFill>
                    <a:latin typeface="Calibri" pitchFamily="34" charset="0"/>
                    <a:ea typeface="MS PGothic" pitchFamily="34" charset="-128"/>
                  </a:defRPr>
                </a:lvl7pPr>
                <a:lvl8pPr marL="1371600" eaLnBrk="0" fontAlgn="base" hangingPunct="0">
                  <a:spcBef>
                    <a:spcPct val="0"/>
                  </a:spcBef>
                  <a:spcAft>
                    <a:spcPct val="0"/>
                  </a:spcAft>
                  <a:defRPr sz="2400">
                    <a:solidFill>
                      <a:schemeClr val="tx1"/>
                    </a:solidFill>
                    <a:latin typeface="Calibri" pitchFamily="34" charset="0"/>
                    <a:ea typeface="MS PGothic" pitchFamily="34" charset="-128"/>
                  </a:defRPr>
                </a:lvl8pPr>
                <a:lvl9pPr marL="18288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nb-NO" sz="1800">
                  <a:solidFill>
                    <a:srgbClr val="FFFFFF"/>
                  </a:solidFill>
                </a:endParaRPr>
              </a:p>
            </p:txBody>
          </p:sp>
          <p:sp>
            <p:nvSpPr>
              <p:cNvPr id="97" name="Freeform 96"/>
              <p:cNvSpPr/>
              <p:nvPr/>
            </p:nvSpPr>
            <p:spPr bwMode="auto">
              <a:xfrm>
                <a:off x="4918748" y="3154911"/>
                <a:ext cx="829476" cy="400500"/>
              </a:xfrm>
              <a:custGeom>
                <a:avLst/>
                <a:gdLst>
                  <a:gd name="connsiteX0" fmla="*/ 0 w 1622778"/>
                  <a:gd name="connsiteY0" fmla="*/ 268111 h 903111"/>
                  <a:gd name="connsiteX1" fmla="*/ 1114778 w 1622778"/>
                  <a:gd name="connsiteY1" fmla="*/ 903111 h 903111"/>
                  <a:gd name="connsiteX2" fmla="*/ 1622778 w 1622778"/>
                  <a:gd name="connsiteY2" fmla="*/ 649111 h 903111"/>
                  <a:gd name="connsiteX3" fmla="*/ 409223 w 1622778"/>
                  <a:gd name="connsiteY3" fmla="*/ 0 h 903111"/>
                  <a:gd name="connsiteX4" fmla="*/ 0 w 1622778"/>
                  <a:gd name="connsiteY4" fmla="*/ 268111 h 903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778" h="903111">
                    <a:moveTo>
                      <a:pt x="0" y="268111"/>
                    </a:moveTo>
                    <a:lnTo>
                      <a:pt x="1114778" y="903111"/>
                    </a:lnTo>
                    <a:lnTo>
                      <a:pt x="1622778" y="649111"/>
                    </a:lnTo>
                    <a:lnTo>
                      <a:pt x="409223" y="0"/>
                    </a:lnTo>
                    <a:lnTo>
                      <a:pt x="0" y="268111"/>
                    </a:lnTo>
                    <a:close/>
                  </a:path>
                </a:pathLst>
              </a:custGeom>
              <a:solidFill>
                <a:srgbClr val="FFCF9E"/>
              </a:solidFill>
              <a:ln>
                <a:noFill/>
              </a:ln>
              <a:effectLst/>
            </p:spPr>
            <p:txBody>
              <a:bodyPr anchor="ctr"/>
              <a:lstStyle/>
              <a:p>
                <a:pPr algn="ctr"/>
                <a:endParaRPr lang="en-US">
                  <a:solidFill>
                    <a:srgbClr val="FFFFFF"/>
                  </a:solidFill>
                  <a:latin typeface="Arial" pitchFamily="34" charset="0"/>
                  <a:ea typeface="Arial Unicode MS" pitchFamily="34" charset="-128"/>
                  <a:cs typeface="Arial Unicode MS" pitchFamily="34" charset="-128"/>
                </a:endParaRPr>
              </a:p>
            </p:txBody>
          </p:sp>
          <p:sp>
            <p:nvSpPr>
              <p:cNvPr id="98" name="Freeform 97"/>
              <p:cNvSpPr/>
              <p:nvPr/>
            </p:nvSpPr>
            <p:spPr bwMode="auto">
              <a:xfrm rot="21269315">
                <a:off x="4048128" y="3157476"/>
                <a:ext cx="886454" cy="326657"/>
              </a:xfrm>
              <a:custGeom>
                <a:avLst/>
                <a:gdLst>
                  <a:gd name="connsiteX0" fmla="*/ 423333 w 1763888"/>
                  <a:gd name="connsiteY0" fmla="*/ 818444 h 818444"/>
                  <a:gd name="connsiteX1" fmla="*/ 1763888 w 1763888"/>
                  <a:gd name="connsiteY1" fmla="*/ 381000 h 818444"/>
                  <a:gd name="connsiteX2" fmla="*/ 1439333 w 1763888"/>
                  <a:gd name="connsiteY2" fmla="*/ 0 h 818444"/>
                  <a:gd name="connsiteX3" fmla="*/ 0 w 1763888"/>
                  <a:gd name="connsiteY3" fmla="*/ 409222 h 818444"/>
                  <a:gd name="connsiteX4" fmla="*/ 423333 w 1763888"/>
                  <a:gd name="connsiteY4" fmla="*/ 818444 h 818444"/>
                  <a:gd name="connsiteX0" fmla="*/ 423333 w 1776895"/>
                  <a:gd name="connsiteY0" fmla="*/ 818444 h 818444"/>
                  <a:gd name="connsiteX1" fmla="*/ 1776895 w 1776895"/>
                  <a:gd name="connsiteY1" fmla="*/ 425130 h 818444"/>
                  <a:gd name="connsiteX2" fmla="*/ 1763888 w 1776895"/>
                  <a:gd name="connsiteY2" fmla="*/ 381000 h 818444"/>
                  <a:gd name="connsiteX3" fmla="*/ 1439333 w 1776895"/>
                  <a:gd name="connsiteY3" fmla="*/ 0 h 818444"/>
                  <a:gd name="connsiteX4" fmla="*/ 0 w 1776895"/>
                  <a:gd name="connsiteY4" fmla="*/ 409222 h 818444"/>
                  <a:gd name="connsiteX5" fmla="*/ 423333 w 1776895"/>
                  <a:gd name="connsiteY5" fmla="*/ 818444 h 818444"/>
                  <a:gd name="connsiteX0" fmla="*/ 423333 w 1776895"/>
                  <a:gd name="connsiteY0" fmla="*/ 818444 h 818444"/>
                  <a:gd name="connsiteX1" fmla="*/ 1776895 w 1776895"/>
                  <a:gd name="connsiteY1" fmla="*/ 425130 h 818444"/>
                  <a:gd name="connsiteX2" fmla="*/ 1439333 w 1776895"/>
                  <a:gd name="connsiteY2" fmla="*/ 0 h 818444"/>
                  <a:gd name="connsiteX3" fmla="*/ 0 w 1776895"/>
                  <a:gd name="connsiteY3" fmla="*/ 409222 h 818444"/>
                  <a:gd name="connsiteX4" fmla="*/ 423333 w 1776895"/>
                  <a:gd name="connsiteY4" fmla="*/ 818444 h 818444"/>
                  <a:gd name="connsiteX0" fmla="*/ 423333 w 1776895"/>
                  <a:gd name="connsiteY0" fmla="*/ 739330 h 739330"/>
                  <a:gd name="connsiteX1" fmla="*/ 1776895 w 1776895"/>
                  <a:gd name="connsiteY1" fmla="*/ 346016 h 739330"/>
                  <a:gd name="connsiteX2" fmla="*/ 1468333 w 1776895"/>
                  <a:gd name="connsiteY2" fmla="*/ 0 h 739330"/>
                  <a:gd name="connsiteX3" fmla="*/ 0 w 1776895"/>
                  <a:gd name="connsiteY3" fmla="*/ 330108 h 739330"/>
                  <a:gd name="connsiteX4" fmla="*/ 423333 w 1776895"/>
                  <a:gd name="connsiteY4" fmla="*/ 739330 h 739330"/>
                  <a:gd name="connsiteX0" fmla="*/ 442014 w 1776895"/>
                  <a:gd name="connsiteY0" fmla="*/ 736598 h 736597"/>
                  <a:gd name="connsiteX1" fmla="*/ 1776895 w 1776895"/>
                  <a:gd name="connsiteY1" fmla="*/ 346016 h 736597"/>
                  <a:gd name="connsiteX2" fmla="*/ 1468333 w 1776895"/>
                  <a:gd name="connsiteY2" fmla="*/ 0 h 736597"/>
                  <a:gd name="connsiteX3" fmla="*/ 0 w 1776895"/>
                  <a:gd name="connsiteY3" fmla="*/ 330108 h 736597"/>
                  <a:gd name="connsiteX4" fmla="*/ 442014 w 1776895"/>
                  <a:gd name="connsiteY4" fmla="*/ 736598 h 736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895" h="736597">
                    <a:moveTo>
                      <a:pt x="442014" y="736598"/>
                    </a:moveTo>
                    <a:cubicBezTo>
                      <a:pt x="882361" y="590993"/>
                      <a:pt x="1336548" y="491621"/>
                      <a:pt x="1776895" y="346016"/>
                    </a:cubicBezTo>
                    <a:lnTo>
                      <a:pt x="1468333" y="0"/>
                    </a:lnTo>
                    <a:lnTo>
                      <a:pt x="0" y="330108"/>
                    </a:lnTo>
                    <a:lnTo>
                      <a:pt x="442014" y="736598"/>
                    </a:lnTo>
                    <a:close/>
                  </a:path>
                </a:pathLst>
              </a:custGeom>
              <a:solidFill>
                <a:srgbClr val="FFCF9E"/>
              </a:solidFill>
              <a:ln>
                <a:noFill/>
              </a:ln>
              <a:effectLst/>
            </p:spPr>
            <p:txBody>
              <a:bodyPr anchor="ctr"/>
              <a:lstStyle/>
              <a:p>
                <a:pPr algn="ctr"/>
                <a:endParaRPr lang="en-US">
                  <a:solidFill>
                    <a:srgbClr val="FFFFFF"/>
                  </a:solidFill>
                  <a:latin typeface="Arial" pitchFamily="34" charset="0"/>
                  <a:ea typeface="Arial Unicode MS" pitchFamily="34" charset="-128"/>
                  <a:cs typeface="Arial Unicode MS" pitchFamily="34" charset="-128"/>
                </a:endParaRPr>
              </a:p>
            </p:txBody>
          </p:sp>
          <p:sp>
            <p:nvSpPr>
              <p:cNvPr id="99" name="Isosceles Triangle 98"/>
              <p:cNvSpPr/>
              <p:nvPr/>
            </p:nvSpPr>
            <p:spPr>
              <a:xfrm rot="10800000">
                <a:off x="3847338" y="2612537"/>
                <a:ext cx="2098688" cy="1380461"/>
              </a:xfrm>
              <a:prstGeom prst="triangle">
                <a:avLst/>
              </a:prstGeom>
              <a:gradFill flip="none" rotWithShape="1">
                <a:gsLst>
                  <a:gs pos="82000">
                    <a:schemeClr val="bg1">
                      <a:alpha val="0"/>
                    </a:schemeClr>
                  </a:gs>
                  <a:gs pos="0">
                    <a:srgbClr val="FFFFFF"/>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99"/>
              <p:cNvSpPr>
                <a:spLocks noChangeArrowheads="1"/>
              </p:cNvSpPr>
              <p:nvPr/>
            </p:nvSpPr>
            <p:spPr bwMode="auto">
              <a:xfrm>
                <a:off x="4295326" y="3497495"/>
                <a:ext cx="558106" cy="943735"/>
              </a:xfrm>
              <a:custGeom>
                <a:avLst/>
                <a:gdLst>
                  <a:gd name="T0" fmla="*/ 0 w 1100667"/>
                  <a:gd name="T1" fmla="*/ 0 h 2102555"/>
                  <a:gd name="T2" fmla="*/ 28231 w 1100667"/>
                  <a:gd name="T3" fmla="*/ 1353947 h 2102555"/>
                  <a:gd name="T4" fmla="*/ 1100991 w 1100667"/>
                  <a:gd name="T5" fmla="*/ 2101439 h 2102555"/>
                  <a:gd name="T6" fmla="*/ 1100991 w 1100667"/>
                  <a:gd name="T7" fmla="*/ 676973 h 2102555"/>
                  <a:gd name="T8" fmla="*/ 0 w 1100667"/>
                  <a:gd name="T9" fmla="*/ 0 h 2102555"/>
                  <a:gd name="T10" fmla="*/ 0 60000 65536"/>
                  <a:gd name="T11" fmla="*/ 0 60000 65536"/>
                  <a:gd name="T12" fmla="*/ 0 60000 65536"/>
                  <a:gd name="T13" fmla="*/ 0 60000 65536"/>
                  <a:gd name="T14" fmla="*/ 0 60000 65536"/>
                  <a:gd name="T15" fmla="*/ 0 w 1100667"/>
                  <a:gd name="T16" fmla="*/ 0 h 2102555"/>
                  <a:gd name="T17" fmla="*/ 1100667 w 1100667"/>
                  <a:gd name="T18" fmla="*/ 2102555 h 2102555"/>
                  <a:gd name="connsiteX0" fmla="*/ 0 w 1109609"/>
                  <a:gd name="connsiteY0" fmla="*/ 0 h 2147306"/>
                  <a:gd name="connsiteX1" fmla="*/ 37165 w 1109609"/>
                  <a:gd name="connsiteY1" fmla="*/ 1399417 h 2147306"/>
                  <a:gd name="connsiteX2" fmla="*/ 1109609 w 1109609"/>
                  <a:gd name="connsiteY2" fmla="*/ 2147306 h 2147306"/>
                  <a:gd name="connsiteX3" fmla="*/ 1109609 w 1109609"/>
                  <a:gd name="connsiteY3" fmla="*/ 722084 h 2147306"/>
                  <a:gd name="connsiteX4" fmla="*/ 0 w 1109609"/>
                  <a:gd name="connsiteY4" fmla="*/ 0 h 2147306"/>
                  <a:gd name="connsiteX0" fmla="*/ 0 w 1091726"/>
                  <a:gd name="connsiteY0" fmla="*/ 0 h 2129406"/>
                  <a:gd name="connsiteX1" fmla="*/ 19282 w 1091726"/>
                  <a:gd name="connsiteY1" fmla="*/ 1381517 h 2129406"/>
                  <a:gd name="connsiteX2" fmla="*/ 1091726 w 1091726"/>
                  <a:gd name="connsiteY2" fmla="*/ 2129406 h 2129406"/>
                  <a:gd name="connsiteX3" fmla="*/ 1091726 w 1091726"/>
                  <a:gd name="connsiteY3" fmla="*/ 704184 h 2129406"/>
                  <a:gd name="connsiteX4" fmla="*/ 0 w 1091726"/>
                  <a:gd name="connsiteY4" fmla="*/ 0 h 2129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726" h="2129406">
                    <a:moveTo>
                      <a:pt x="0" y="0"/>
                    </a:moveTo>
                    <a:lnTo>
                      <a:pt x="19282" y="1381517"/>
                    </a:lnTo>
                    <a:lnTo>
                      <a:pt x="1091726" y="2129406"/>
                    </a:lnTo>
                    <a:lnTo>
                      <a:pt x="1091726" y="704184"/>
                    </a:lnTo>
                    <a:lnTo>
                      <a:pt x="0" y="0"/>
                    </a:lnTo>
                    <a:close/>
                  </a:path>
                </a:pathLst>
              </a:custGeom>
              <a:solidFill>
                <a:srgbClr val="FFA54B"/>
              </a:solidFill>
              <a:ln>
                <a:noFill/>
              </a:ln>
              <a:effectLst>
                <a:outerShdw blurRad="40000" dist="23000" dir="5400000" rotWithShape="0">
                  <a:srgbClr val="808080">
                    <a:alpha val="34999"/>
                  </a:srgbClr>
                </a:outerShdw>
              </a:effectLst>
            </p:spPr>
            <p:txBody>
              <a:bodyPr anchor="ctr"/>
              <a:lstStyle/>
              <a:p>
                <a:pPr algn="ctr"/>
                <a:endParaRPr lang="id-ID">
                  <a:solidFill>
                    <a:srgbClr val="FFFFFF"/>
                  </a:solidFill>
                </a:endParaRPr>
              </a:p>
            </p:txBody>
          </p:sp>
          <p:sp>
            <p:nvSpPr>
              <p:cNvPr id="101" name="Freeform 100"/>
              <p:cNvSpPr>
                <a:spLocks noChangeArrowheads="1"/>
              </p:cNvSpPr>
              <p:nvPr/>
            </p:nvSpPr>
            <p:spPr bwMode="auto">
              <a:xfrm>
                <a:off x="4853431" y="3577844"/>
                <a:ext cx="656280" cy="863386"/>
              </a:xfrm>
              <a:custGeom>
                <a:avLst/>
                <a:gdLst>
                  <a:gd name="T0" fmla="*/ 0 w 1284111"/>
                  <a:gd name="T1" fmla="*/ 522042 h 1947333"/>
                  <a:gd name="T2" fmla="*/ 1284146 w 1284111"/>
                  <a:gd name="T3" fmla="*/ 0 h 1947333"/>
                  <a:gd name="T4" fmla="*/ 1255923 w 1284111"/>
                  <a:gd name="T5" fmla="*/ 1312158 h 1947333"/>
                  <a:gd name="T6" fmla="*/ 0 w 1284111"/>
                  <a:gd name="T7" fmla="*/ 1947074 h 1947333"/>
                  <a:gd name="T8" fmla="*/ 0 w 1284111"/>
                  <a:gd name="T9" fmla="*/ 522042 h 1947333"/>
                  <a:gd name="T10" fmla="*/ 0 60000 65536"/>
                  <a:gd name="T11" fmla="*/ 0 60000 65536"/>
                  <a:gd name="T12" fmla="*/ 0 60000 65536"/>
                  <a:gd name="T13" fmla="*/ 0 60000 65536"/>
                  <a:gd name="T14" fmla="*/ 0 60000 65536"/>
                  <a:gd name="T15" fmla="*/ 0 w 1284111"/>
                  <a:gd name="T16" fmla="*/ 0 h 1947333"/>
                  <a:gd name="T17" fmla="*/ 1284111 w 1284111"/>
                  <a:gd name="T18" fmla="*/ 1947333 h 1947333"/>
                </a:gdLst>
                <a:ahLst/>
                <a:cxnLst>
                  <a:cxn ang="T10">
                    <a:pos x="T0" y="T1"/>
                  </a:cxn>
                  <a:cxn ang="T11">
                    <a:pos x="T2" y="T3"/>
                  </a:cxn>
                  <a:cxn ang="T12">
                    <a:pos x="T4" y="T5"/>
                  </a:cxn>
                  <a:cxn ang="T13">
                    <a:pos x="T6" y="T7"/>
                  </a:cxn>
                  <a:cxn ang="T14">
                    <a:pos x="T8" y="T9"/>
                  </a:cxn>
                </a:cxnLst>
                <a:rect l="T15" t="T16" r="T17" b="T18"/>
                <a:pathLst>
                  <a:path w="1284111" h="1947333">
                    <a:moveTo>
                      <a:pt x="0" y="522111"/>
                    </a:moveTo>
                    <a:lnTo>
                      <a:pt x="1284111" y="0"/>
                    </a:lnTo>
                    <a:lnTo>
                      <a:pt x="1255889" y="1312333"/>
                    </a:lnTo>
                    <a:lnTo>
                      <a:pt x="0" y="1947333"/>
                    </a:lnTo>
                    <a:lnTo>
                      <a:pt x="0" y="522111"/>
                    </a:lnTo>
                    <a:close/>
                  </a:path>
                </a:pathLst>
              </a:custGeom>
              <a:solidFill>
                <a:srgbClr val="FFC081"/>
              </a:solidFill>
              <a:ln>
                <a:noFill/>
              </a:ln>
              <a:effectLst>
                <a:outerShdw blurRad="40000" dist="23000" dir="5400000" rotWithShape="0">
                  <a:srgbClr val="808080">
                    <a:alpha val="34999"/>
                  </a:srgbClr>
                </a:outerShdw>
              </a:effectLst>
            </p:spPr>
            <p:txBody>
              <a:bodyPr anchor="ctr"/>
              <a:lstStyle/>
              <a:p>
                <a:pPr algn="ctr"/>
                <a:endParaRPr lang="id-ID">
                  <a:solidFill>
                    <a:srgbClr val="FFFFFF"/>
                  </a:solidFill>
                </a:endParaRPr>
              </a:p>
            </p:txBody>
          </p:sp>
          <p:sp>
            <p:nvSpPr>
              <p:cNvPr id="102" name="Freeform 101"/>
              <p:cNvSpPr/>
              <p:nvPr/>
            </p:nvSpPr>
            <p:spPr bwMode="auto">
              <a:xfrm>
                <a:off x="4839450" y="3555411"/>
                <a:ext cx="983232" cy="319149"/>
              </a:xfrm>
              <a:custGeom>
                <a:avLst/>
                <a:gdLst>
                  <a:gd name="connsiteX0" fmla="*/ 0 w 1919111"/>
                  <a:gd name="connsiteY0" fmla="*/ 508000 h 677333"/>
                  <a:gd name="connsiteX1" fmla="*/ 1284111 w 1919111"/>
                  <a:gd name="connsiteY1" fmla="*/ 0 h 677333"/>
                  <a:gd name="connsiteX2" fmla="*/ 1919111 w 1919111"/>
                  <a:gd name="connsiteY2" fmla="*/ 70555 h 677333"/>
                  <a:gd name="connsiteX3" fmla="*/ 465667 w 1919111"/>
                  <a:gd name="connsiteY3" fmla="*/ 677333 h 677333"/>
                  <a:gd name="connsiteX4" fmla="*/ 0 w 1919111"/>
                  <a:gd name="connsiteY4" fmla="*/ 508000 h 677333"/>
                  <a:gd name="connsiteX0" fmla="*/ 0 w 1919111"/>
                  <a:gd name="connsiteY0" fmla="*/ 550334 h 719667"/>
                  <a:gd name="connsiteX1" fmla="*/ 1284111 w 1919111"/>
                  <a:gd name="connsiteY1" fmla="*/ 0 h 719667"/>
                  <a:gd name="connsiteX2" fmla="*/ 1919111 w 1919111"/>
                  <a:gd name="connsiteY2" fmla="*/ 112889 h 719667"/>
                  <a:gd name="connsiteX3" fmla="*/ 465667 w 1919111"/>
                  <a:gd name="connsiteY3" fmla="*/ 719667 h 719667"/>
                  <a:gd name="connsiteX4" fmla="*/ 0 w 1919111"/>
                  <a:gd name="connsiteY4" fmla="*/ 550334 h 719667"/>
                  <a:gd name="connsiteX0" fmla="*/ 0 w 1919111"/>
                  <a:gd name="connsiteY0" fmla="*/ 522111 h 719667"/>
                  <a:gd name="connsiteX1" fmla="*/ 1284111 w 1919111"/>
                  <a:gd name="connsiteY1" fmla="*/ 0 h 719667"/>
                  <a:gd name="connsiteX2" fmla="*/ 1919111 w 1919111"/>
                  <a:gd name="connsiteY2" fmla="*/ 112889 h 719667"/>
                  <a:gd name="connsiteX3" fmla="*/ 465667 w 1919111"/>
                  <a:gd name="connsiteY3" fmla="*/ 719667 h 719667"/>
                  <a:gd name="connsiteX4" fmla="*/ 0 w 1919111"/>
                  <a:gd name="connsiteY4" fmla="*/ 522111 h 719667"/>
                  <a:gd name="connsiteX0" fmla="*/ 0 w 1919111"/>
                  <a:gd name="connsiteY0" fmla="*/ 522111 h 719667"/>
                  <a:gd name="connsiteX1" fmla="*/ 1266226 w 1919111"/>
                  <a:gd name="connsiteY1" fmla="*/ 0 h 719667"/>
                  <a:gd name="connsiteX2" fmla="*/ 1919111 w 1919111"/>
                  <a:gd name="connsiteY2" fmla="*/ 112889 h 719667"/>
                  <a:gd name="connsiteX3" fmla="*/ 465667 w 1919111"/>
                  <a:gd name="connsiteY3" fmla="*/ 719667 h 719667"/>
                  <a:gd name="connsiteX4" fmla="*/ 0 w 1919111"/>
                  <a:gd name="connsiteY4" fmla="*/ 522111 h 719667"/>
                  <a:gd name="connsiteX0" fmla="*/ 0 w 1923584"/>
                  <a:gd name="connsiteY0" fmla="*/ 593666 h 719667"/>
                  <a:gd name="connsiteX1" fmla="*/ 1270699 w 1923584"/>
                  <a:gd name="connsiteY1" fmla="*/ 0 h 719667"/>
                  <a:gd name="connsiteX2" fmla="*/ 1923584 w 1923584"/>
                  <a:gd name="connsiteY2" fmla="*/ 112889 h 719667"/>
                  <a:gd name="connsiteX3" fmla="*/ 470140 w 1923584"/>
                  <a:gd name="connsiteY3" fmla="*/ 719667 h 719667"/>
                  <a:gd name="connsiteX4" fmla="*/ 0 w 1923584"/>
                  <a:gd name="connsiteY4" fmla="*/ 593666 h 719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3584" h="719667">
                    <a:moveTo>
                      <a:pt x="0" y="593666"/>
                    </a:moveTo>
                    <a:lnTo>
                      <a:pt x="1270699" y="0"/>
                    </a:lnTo>
                    <a:lnTo>
                      <a:pt x="1923584" y="112889"/>
                    </a:lnTo>
                    <a:lnTo>
                      <a:pt x="470140" y="719667"/>
                    </a:lnTo>
                    <a:lnTo>
                      <a:pt x="0" y="593666"/>
                    </a:lnTo>
                    <a:close/>
                  </a:path>
                </a:pathLst>
              </a:custGeom>
              <a:solidFill>
                <a:srgbClr val="FFCF9E"/>
              </a:solidFill>
              <a:ln>
                <a:noFill/>
              </a:ln>
              <a:effectLst/>
            </p:spPr>
            <p:txBody>
              <a:bodyPr anchor="ctr"/>
              <a:lstStyle/>
              <a:p>
                <a:pPr algn="ctr"/>
                <a:endParaRPr lang="en-US">
                  <a:solidFill>
                    <a:srgbClr val="FFFFFF"/>
                  </a:solidFill>
                  <a:latin typeface="Arial" pitchFamily="34" charset="0"/>
                  <a:ea typeface="Arial Unicode MS" pitchFamily="34" charset="-128"/>
                  <a:cs typeface="Arial Unicode MS" pitchFamily="34" charset="-128"/>
                </a:endParaRPr>
              </a:p>
            </p:txBody>
          </p:sp>
          <p:sp>
            <p:nvSpPr>
              <p:cNvPr id="103" name="Freeform 102"/>
              <p:cNvSpPr/>
              <p:nvPr/>
            </p:nvSpPr>
            <p:spPr bwMode="auto">
              <a:xfrm rot="240000">
                <a:off x="4071292" y="3506973"/>
                <a:ext cx="794382" cy="383556"/>
              </a:xfrm>
              <a:custGeom>
                <a:avLst/>
                <a:gdLst>
                  <a:gd name="connsiteX0" fmla="*/ 0 w 1622778"/>
                  <a:gd name="connsiteY0" fmla="*/ 268111 h 903111"/>
                  <a:gd name="connsiteX1" fmla="*/ 1114778 w 1622778"/>
                  <a:gd name="connsiteY1" fmla="*/ 903111 h 903111"/>
                  <a:gd name="connsiteX2" fmla="*/ 1622778 w 1622778"/>
                  <a:gd name="connsiteY2" fmla="*/ 649111 h 903111"/>
                  <a:gd name="connsiteX3" fmla="*/ 409223 w 1622778"/>
                  <a:gd name="connsiteY3" fmla="*/ 0 h 903111"/>
                  <a:gd name="connsiteX4" fmla="*/ 0 w 1622778"/>
                  <a:gd name="connsiteY4" fmla="*/ 268111 h 903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778" h="903111">
                    <a:moveTo>
                      <a:pt x="0" y="268111"/>
                    </a:moveTo>
                    <a:lnTo>
                      <a:pt x="1114778" y="903111"/>
                    </a:lnTo>
                    <a:lnTo>
                      <a:pt x="1622778" y="649111"/>
                    </a:lnTo>
                    <a:lnTo>
                      <a:pt x="409223" y="0"/>
                    </a:lnTo>
                    <a:lnTo>
                      <a:pt x="0" y="268111"/>
                    </a:lnTo>
                    <a:close/>
                  </a:path>
                </a:pathLst>
              </a:custGeom>
              <a:solidFill>
                <a:srgbClr val="FFCF9E"/>
              </a:solidFill>
              <a:ln>
                <a:noFill/>
              </a:ln>
              <a:effectLst/>
            </p:spPr>
            <p:txBody>
              <a:bodyPr anchor="ctr"/>
              <a:lstStyle/>
              <a:p>
                <a:pPr algn="ctr"/>
                <a:endParaRPr lang="en-US">
                  <a:solidFill>
                    <a:srgbClr val="FFFFFF"/>
                  </a:solidFill>
                  <a:latin typeface="Arial" pitchFamily="34" charset="0"/>
                  <a:ea typeface="Arial Unicode MS" pitchFamily="34" charset="-128"/>
                  <a:cs typeface="Arial Unicode MS" pitchFamily="34" charset="-128"/>
                </a:endParaRPr>
              </a:p>
            </p:txBody>
          </p:sp>
        </p:grpSp>
        <p:grpSp>
          <p:nvGrpSpPr>
            <p:cNvPr id="104" name="Group 103"/>
            <p:cNvGrpSpPr/>
            <p:nvPr/>
          </p:nvGrpSpPr>
          <p:grpSpPr>
            <a:xfrm rot="20796381">
              <a:off x="1172528" y="2849453"/>
              <a:ext cx="717595" cy="557081"/>
              <a:chOff x="3419702" y="4675188"/>
              <a:chExt cx="361950" cy="280988"/>
            </a:xfrm>
            <a:solidFill>
              <a:schemeClr val="tx2"/>
            </a:solidFill>
          </p:grpSpPr>
          <p:sp>
            <p:nvSpPr>
              <p:cNvPr id="105" name="Freeform 109"/>
              <p:cNvSpPr>
                <a:spLocks/>
              </p:cNvSpPr>
              <p:nvPr/>
            </p:nvSpPr>
            <p:spPr bwMode="auto">
              <a:xfrm>
                <a:off x="3419702" y="4675188"/>
                <a:ext cx="254000" cy="280988"/>
              </a:xfrm>
              <a:custGeom>
                <a:avLst/>
                <a:gdLst>
                  <a:gd name="T0" fmla="*/ 566 w 641"/>
                  <a:gd name="T1" fmla="*/ 528 h 710"/>
                  <a:gd name="T2" fmla="*/ 494 w 641"/>
                  <a:gd name="T3" fmla="*/ 503 h 710"/>
                  <a:gd name="T4" fmla="*/ 424 w 641"/>
                  <a:gd name="T5" fmla="*/ 480 h 710"/>
                  <a:gd name="T6" fmla="*/ 418 w 641"/>
                  <a:gd name="T7" fmla="*/ 470 h 710"/>
                  <a:gd name="T8" fmla="*/ 423 w 641"/>
                  <a:gd name="T9" fmla="*/ 436 h 710"/>
                  <a:gd name="T10" fmla="*/ 437 w 641"/>
                  <a:gd name="T11" fmla="*/ 401 h 710"/>
                  <a:gd name="T12" fmla="*/ 449 w 641"/>
                  <a:gd name="T13" fmla="*/ 353 h 710"/>
                  <a:gd name="T14" fmla="*/ 466 w 641"/>
                  <a:gd name="T15" fmla="*/ 321 h 710"/>
                  <a:gd name="T16" fmla="*/ 476 w 641"/>
                  <a:gd name="T17" fmla="*/ 288 h 710"/>
                  <a:gd name="T18" fmla="*/ 478 w 641"/>
                  <a:gd name="T19" fmla="*/ 242 h 710"/>
                  <a:gd name="T20" fmla="*/ 473 w 641"/>
                  <a:gd name="T21" fmla="*/ 231 h 710"/>
                  <a:gd name="T22" fmla="*/ 477 w 641"/>
                  <a:gd name="T23" fmla="*/ 179 h 710"/>
                  <a:gd name="T24" fmla="*/ 481 w 641"/>
                  <a:gd name="T25" fmla="*/ 137 h 710"/>
                  <a:gd name="T26" fmla="*/ 473 w 641"/>
                  <a:gd name="T27" fmla="*/ 98 h 710"/>
                  <a:gd name="T28" fmla="*/ 451 w 641"/>
                  <a:gd name="T29" fmla="*/ 56 h 710"/>
                  <a:gd name="T30" fmla="*/ 423 w 641"/>
                  <a:gd name="T31" fmla="*/ 30 h 710"/>
                  <a:gd name="T32" fmla="*/ 378 w 641"/>
                  <a:gd name="T33" fmla="*/ 8 h 710"/>
                  <a:gd name="T34" fmla="*/ 348 w 641"/>
                  <a:gd name="T35" fmla="*/ 2 h 710"/>
                  <a:gd name="T36" fmla="*/ 291 w 641"/>
                  <a:gd name="T37" fmla="*/ 2 h 710"/>
                  <a:gd name="T38" fmla="*/ 262 w 641"/>
                  <a:gd name="T39" fmla="*/ 8 h 710"/>
                  <a:gd name="T40" fmla="*/ 217 w 641"/>
                  <a:gd name="T41" fmla="*/ 30 h 710"/>
                  <a:gd name="T42" fmla="*/ 189 w 641"/>
                  <a:gd name="T43" fmla="*/ 56 h 710"/>
                  <a:gd name="T44" fmla="*/ 167 w 641"/>
                  <a:gd name="T45" fmla="*/ 98 h 710"/>
                  <a:gd name="T46" fmla="*/ 159 w 641"/>
                  <a:gd name="T47" fmla="*/ 137 h 710"/>
                  <a:gd name="T48" fmla="*/ 163 w 641"/>
                  <a:gd name="T49" fmla="*/ 179 h 710"/>
                  <a:gd name="T50" fmla="*/ 167 w 641"/>
                  <a:gd name="T51" fmla="*/ 231 h 710"/>
                  <a:gd name="T52" fmla="*/ 162 w 641"/>
                  <a:gd name="T53" fmla="*/ 242 h 710"/>
                  <a:gd name="T54" fmla="*/ 165 w 641"/>
                  <a:gd name="T55" fmla="*/ 288 h 710"/>
                  <a:gd name="T56" fmla="*/ 174 w 641"/>
                  <a:gd name="T57" fmla="*/ 321 h 710"/>
                  <a:gd name="T58" fmla="*/ 190 w 641"/>
                  <a:gd name="T59" fmla="*/ 353 h 710"/>
                  <a:gd name="T60" fmla="*/ 203 w 641"/>
                  <a:gd name="T61" fmla="*/ 401 h 710"/>
                  <a:gd name="T62" fmla="*/ 214 w 641"/>
                  <a:gd name="T63" fmla="*/ 432 h 710"/>
                  <a:gd name="T64" fmla="*/ 216 w 641"/>
                  <a:gd name="T65" fmla="*/ 470 h 710"/>
                  <a:gd name="T66" fmla="*/ 211 w 641"/>
                  <a:gd name="T67" fmla="*/ 480 h 710"/>
                  <a:gd name="T68" fmla="*/ 140 w 641"/>
                  <a:gd name="T69" fmla="*/ 504 h 710"/>
                  <a:gd name="T70" fmla="*/ 67 w 641"/>
                  <a:gd name="T71" fmla="*/ 530 h 710"/>
                  <a:gd name="T72" fmla="*/ 24 w 641"/>
                  <a:gd name="T73" fmla="*/ 548 h 710"/>
                  <a:gd name="T74" fmla="*/ 7 w 641"/>
                  <a:gd name="T75" fmla="*/ 565 h 710"/>
                  <a:gd name="T76" fmla="*/ 1 w 641"/>
                  <a:gd name="T77" fmla="*/ 587 h 710"/>
                  <a:gd name="T78" fmla="*/ 0 w 641"/>
                  <a:gd name="T79" fmla="*/ 638 h 710"/>
                  <a:gd name="T80" fmla="*/ 1 w 641"/>
                  <a:gd name="T81" fmla="*/ 682 h 710"/>
                  <a:gd name="T82" fmla="*/ 7 w 641"/>
                  <a:gd name="T83" fmla="*/ 698 h 710"/>
                  <a:gd name="T84" fmla="*/ 24 w 641"/>
                  <a:gd name="T85" fmla="*/ 709 h 710"/>
                  <a:gd name="T86" fmla="*/ 71 w 641"/>
                  <a:gd name="T87" fmla="*/ 710 h 710"/>
                  <a:gd name="T88" fmla="*/ 178 w 641"/>
                  <a:gd name="T89" fmla="*/ 710 h 710"/>
                  <a:gd name="T90" fmla="*/ 282 w 641"/>
                  <a:gd name="T91" fmla="*/ 710 h 710"/>
                  <a:gd name="T92" fmla="*/ 315 w 641"/>
                  <a:gd name="T93" fmla="*/ 710 h 710"/>
                  <a:gd name="T94" fmla="*/ 327 w 641"/>
                  <a:gd name="T95" fmla="*/ 710 h 710"/>
                  <a:gd name="T96" fmla="*/ 360 w 641"/>
                  <a:gd name="T97" fmla="*/ 710 h 710"/>
                  <a:gd name="T98" fmla="*/ 465 w 641"/>
                  <a:gd name="T99" fmla="*/ 710 h 710"/>
                  <a:gd name="T100" fmla="*/ 572 w 641"/>
                  <a:gd name="T101" fmla="*/ 710 h 710"/>
                  <a:gd name="T102" fmla="*/ 617 w 641"/>
                  <a:gd name="T103" fmla="*/ 709 h 710"/>
                  <a:gd name="T104" fmla="*/ 634 w 641"/>
                  <a:gd name="T105" fmla="*/ 698 h 710"/>
                  <a:gd name="T106" fmla="*/ 641 w 641"/>
                  <a:gd name="T107" fmla="*/ 682 h 710"/>
                  <a:gd name="T108" fmla="*/ 641 w 641"/>
                  <a:gd name="T109" fmla="*/ 638 h 710"/>
                  <a:gd name="T110" fmla="*/ 641 w 641"/>
                  <a:gd name="T111" fmla="*/ 586 h 710"/>
                  <a:gd name="T112" fmla="*/ 632 w 641"/>
                  <a:gd name="T113" fmla="*/ 564 h 710"/>
                  <a:gd name="T114" fmla="*/ 612 w 641"/>
                  <a:gd name="T115" fmla="*/ 546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1" h="710">
                    <a:moveTo>
                      <a:pt x="602" y="542"/>
                    </a:moveTo>
                    <a:lnTo>
                      <a:pt x="587" y="535"/>
                    </a:lnTo>
                    <a:lnTo>
                      <a:pt x="566" y="528"/>
                    </a:lnTo>
                    <a:lnTo>
                      <a:pt x="544" y="519"/>
                    </a:lnTo>
                    <a:lnTo>
                      <a:pt x="520" y="511"/>
                    </a:lnTo>
                    <a:lnTo>
                      <a:pt x="494" y="503"/>
                    </a:lnTo>
                    <a:lnTo>
                      <a:pt x="469" y="494"/>
                    </a:lnTo>
                    <a:lnTo>
                      <a:pt x="445" y="486"/>
                    </a:lnTo>
                    <a:lnTo>
                      <a:pt x="424" y="480"/>
                    </a:lnTo>
                    <a:lnTo>
                      <a:pt x="421" y="479"/>
                    </a:lnTo>
                    <a:lnTo>
                      <a:pt x="419" y="476"/>
                    </a:lnTo>
                    <a:lnTo>
                      <a:pt x="418" y="470"/>
                    </a:lnTo>
                    <a:lnTo>
                      <a:pt x="418" y="459"/>
                    </a:lnTo>
                    <a:lnTo>
                      <a:pt x="419" y="448"/>
                    </a:lnTo>
                    <a:lnTo>
                      <a:pt x="423" y="436"/>
                    </a:lnTo>
                    <a:lnTo>
                      <a:pt x="426" y="424"/>
                    </a:lnTo>
                    <a:lnTo>
                      <a:pt x="431" y="414"/>
                    </a:lnTo>
                    <a:lnTo>
                      <a:pt x="437" y="401"/>
                    </a:lnTo>
                    <a:lnTo>
                      <a:pt x="442" y="386"/>
                    </a:lnTo>
                    <a:lnTo>
                      <a:pt x="446" y="369"/>
                    </a:lnTo>
                    <a:lnTo>
                      <a:pt x="449" y="353"/>
                    </a:lnTo>
                    <a:lnTo>
                      <a:pt x="456" y="343"/>
                    </a:lnTo>
                    <a:lnTo>
                      <a:pt x="463" y="330"/>
                    </a:lnTo>
                    <a:lnTo>
                      <a:pt x="466" y="321"/>
                    </a:lnTo>
                    <a:lnTo>
                      <a:pt x="469" y="312"/>
                    </a:lnTo>
                    <a:lnTo>
                      <a:pt x="472" y="301"/>
                    </a:lnTo>
                    <a:lnTo>
                      <a:pt x="476" y="288"/>
                    </a:lnTo>
                    <a:lnTo>
                      <a:pt x="479" y="268"/>
                    </a:lnTo>
                    <a:lnTo>
                      <a:pt x="479" y="253"/>
                    </a:lnTo>
                    <a:lnTo>
                      <a:pt x="478" y="242"/>
                    </a:lnTo>
                    <a:lnTo>
                      <a:pt x="475" y="235"/>
                    </a:lnTo>
                    <a:lnTo>
                      <a:pt x="475" y="233"/>
                    </a:lnTo>
                    <a:lnTo>
                      <a:pt x="473" y="231"/>
                    </a:lnTo>
                    <a:lnTo>
                      <a:pt x="473" y="220"/>
                    </a:lnTo>
                    <a:lnTo>
                      <a:pt x="475" y="201"/>
                    </a:lnTo>
                    <a:lnTo>
                      <a:pt x="477" y="179"/>
                    </a:lnTo>
                    <a:lnTo>
                      <a:pt x="480" y="155"/>
                    </a:lnTo>
                    <a:lnTo>
                      <a:pt x="481" y="146"/>
                    </a:lnTo>
                    <a:lnTo>
                      <a:pt x="481" y="137"/>
                    </a:lnTo>
                    <a:lnTo>
                      <a:pt x="480" y="125"/>
                    </a:lnTo>
                    <a:lnTo>
                      <a:pt x="477" y="112"/>
                    </a:lnTo>
                    <a:lnTo>
                      <a:pt x="473" y="98"/>
                    </a:lnTo>
                    <a:lnTo>
                      <a:pt x="467" y="84"/>
                    </a:lnTo>
                    <a:lnTo>
                      <a:pt x="461" y="70"/>
                    </a:lnTo>
                    <a:lnTo>
                      <a:pt x="451" y="56"/>
                    </a:lnTo>
                    <a:lnTo>
                      <a:pt x="443" y="47"/>
                    </a:lnTo>
                    <a:lnTo>
                      <a:pt x="434" y="38"/>
                    </a:lnTo>
                    <a:lnTo>
                      <a:pt x="423" y="30"/>
                    </a:lnTo>
                    <a:lnTo>
                      <a:pt x="410" y="21"/>
                    </a:lnTo>
                    <a:lnTo>
                      <a:pt x="396" y="13"/>
                    </a:lnTo>
                    <a:lnTo>
                      <a:pt x="378" y="8"/>
                    </a:lnTo>
                    <a:lnTo>
                      <a:pt x="369" y="6"/>
                    </a:lnTo>
                    <a:lnTo>
                      <a:pt x="359" y="4"/>
                    </a:lnTo>
                    <a:lnTo>
                      <a:pt x="348" y="2"/>
                    </a:lnTo>
                    <a:lnTo>
                      <a:pt x="336" y="0"/>
                    </a:lnTo>
                    <a:lnTo>
                      <a:pt x="303" y="2"/>
                    </a:lnTo>
                    <a:lnTo>
                      <a:pt x="291" y="2"/>
                    </a:lnTo>
                    <a:lnTo>
                      <a:pt x="281" y="4"/>
                    </a:lnTo>
                    <a:lnTo>
                      <a:pt x="270" y="6"/>
                    </a:lnTo>
                    <a:lnTo>
                      <a:pt x="262" y="8"/>
                    </a:lnTo>
                    <a:lnTo>
                      <a:pt x="244" y="13"/>
                    </a:lnTo>
                    <a:lnTo>
                      <a:pt x="229" y="21"/>
                    </a:lnTo>
                    <a:lnTo>
                      <a:pt x="217" y="30"/>
                    </a:lnTo>
                    <a:lnTo>
                      <a:pt x="206" y="38"/>
                    </a:lnTo>
                    <a:lnTo>
                      <a:pt x="197" y="47"/>
                    </a:lnTo>
                    <a:lnTo>
                      <a:pt x="189" y="56"/>
                    </a:lnTo>
                    <a:lnTo>
                      <a:pt x="180" y="70"/>
                    </a:lnTo>
                    <a:lnTo>
                      <a:pt x="172" y="84"/>
                    </a:lnTo>
                    <a:lnTo>
                      <a:pt x="167" y="98"/>
                    </a:lnTo>
                    <a:lnTo>
                      <a:pt x="163" y="112"/>
                    </a:lnTo>
                    <a:lnTo>
                      <a:pt x="160" y="125"/>
                    </a:lnTo>
                    <a:lnTo>
                      <a:pt x="159" y="137"/>
                    </a:lnTo>
                    <a:lnTo>
                      <a:pt x="159" y="146"/>
                    </a:lnTo>
                    <a:lnTo>
                      <a:pt x="160" y="155"/>
                    </a:lnTo>
                    <a:lnTo>
                      <a:pt x="163" y="179"/>
                    </a:lnTo>
                    <a:lnTo>
                      <a:pt x="166" y="201"/>
                    </a:lnTo>
                    <a:lnTo>
                      <a:pt x="167" y="220"/>
                    </a:lnTo>
                    <a:lnTo>
                      <a:pt x="167" y="231"/>
                    </a:lnTo>
                    <a:lnTo>
                      <a:pt x="166" y="233"/>
                    </a:lnTo>
                    <a:lnTo>
                      <a:pt x="166" y="235"/>
                    </a:lnTo>
                    <a:lnTo>
                      <a:pt x="162" y="242"/>
                    </a:lnTo>
                    <a:lnTo>
                      <a:pt x="161" y="253"/>
                    </a:lnTo>
                    <a:lnTo>
                      <a:pt x="161" y="268"/>
                    </a:lnTo>
                    <a:lnTo>
                      <a:pt x="165" y="288"/>
                    </a:lnTo>
                    <a:lnTo>
                      <a:pt x="168" y="301"/>
                    </a:lnTo>
                    <a:lnTo>
                      <a:pt x="170" y="312"/>
                    </a:lnTo>
                    <a:lnTo>
                      <a:pt x="174" y="321"/>
                    </a:lnTo>
                    <a:lnTo>
                      <a:pt x="178" y="330"/>
                    </a:lnTo>
                    <a:lnTo>
                      <a:pt x="184" y="343"/>
                    </a:lnTo>
                    <a:lnTo>
                      <a:pt x="190" y="353"/>
                    </a:lnTo>
                    <a:lnTo>
                      <a:pt x="194" y="369"/>
                    </a:lnTo>
                    <a:lnTo>
                      <a:pt x="198" y="386"/>
                    </a:lnTo>
                    <a:lnTo>
                      <a:pt x="203" y="401"/>
                    </a:lnTo>
                    <a:lnTo>
                      <a:pt x="209" y="414"/>
                    </a:lnTo>
                    <a:lnTo>
                      <a:pt x="212" y="423"/>
                    </a:lnTo>
                    <a:lnTo>
                      <a:pt x="214" y="432"/>
                    </a:lnTo>
                    <a:lnTo>
                      <a:pt x="216" y="445"/>
                    </a:lnTo>
                    <a:lnTo>
                      <a:pt x="216" y="459"/>
                    </a:lnTo>
                    <a:lnTo>
                      <a:pt x="216" y="470"/>
                    </a:lnTo>
                    <a:lnTo>
                      <a:pt x="215" y="477"/>
                    </a:lnTo>
                    <a:lnTo>
                      <a:pt x="214" y="479"/>
                    </a:lnTo>
                    <a:lnTo>
                      <a:pt x="211" y="480"/>
                    </a:lnTo>
                    <a:lnTo>
                      <a:pt x="189" y="488"/>
                    </a:lnTo>
                    <a:lnTo>
                      <a:pt x="165" y="495"/>
                    </a:lnTo>
                    <a:lnTo>
                      <a:pt x="140" y="504"/>
                    </a:lnTo>
                    <a:lnTo>
                      <a:pt x="114" y="512"/>
                    </a:lnTo>
                    <a:lnTo>
                      <a:pt x="90" y="521"/>
                    </a:lnTo>
                    <a:lnTo>
                      <a:pt x="67" y="530"/>
                    </a:lnTo>
                    <a:lnTo>
                      <a:pt x="48" y="537"/>
                    </a:lnTo>
                    <a:lnTo>
                      <a:pt x="34" y="544"/>
                    </a:lnTo>
                    <a:lnTo>
                      <a:pt x="24" y="548"/>
                    </a:lnTo>
                    <a:lnTo>
                      <a:pt x="18" y="553"/>
                    </a:lnTo>
                    <a:lnTo>
                      <a:pt x="11" y="560"/>
                    </a:lnTo>
                    <a:lnTo>
                      <a:pt x="7" y="565"/>
                    </a:lnTo>
                    <a:lnTo>
                      <a:pt x="4" y="573"/>
                    </a:lnTo>
                    <a:lnTo>
                      <a:pt x="3" y="579"/>
                    </a:lnTo>
                    <a:lnTo>
                      <a:pt x="1" y="587"/>
                    </a:lnTo>
                    <a:lnTo>
                      <a:pt x="0" y="593"/>
                    </a:lnTo>
                    <a:lnTo>
                      <a:pt x="0" y="613"/>
                    </a:lnTo>
                    <a:lnTo>
                      <a:pt x="0" y="638"/>
                    </a:lnTo>
                    <a:lnTo>
                      <a:pt x="0" y="661"/>
                    </a:lnTo>
                    <a:lnTo>
                      <a:pt x="0" y="678"/>
                    </a:lnTo>
                    <a:lnTo>
                      <a:pt x="1" y="682"/>
                    </a:lnTo>
                    <a:lnTo>
                      <a:pt x="3" y="687"/>
                    </a:lnTo>
                    <a:lnTo>
                      <a:pt x="5" y="693"/>
                    </a:lnTo>
                    <a:lnTo>
                      <a:pt x="7" y="698"/>
                    </a:lnTo>
                    <a:lnTo>
                      <a:pt x="12" y="702"/>
                    </a:lnTo>
                    <a:lnTo>
                      <a:pt x="18" y="707"/>
                    </a:lnTo>
                    <a:lnTo>
                      <a:pt x="24" y="709"/>
                    </a:lnTo>
                    <a:lnTo>
                      <a:pt x="34" y="710"/>
                    </a:lnTo>
                    <a:lnTo>
                      <a:pt x="47" y="710"/>
                    </a:lnTo>
                    <a:lnTo>
                      <a:pt x="71" y="710"/>
                    </a:lnTo>
                    <a:lnTo>
                      <a:pt x="102" y="710"/>
                    </a:lnTo>
                    <a:lnTo>
                      <a:pt x="139" y="710"/>
                    </a:lnTo>
                    <a:lnTo>
                      <a:pt x="178" y="710"/>
                    </a:lnTo>
                    <a:lnTo>
                      <a:pt x="216" y="710"/>
                    </a:lnTo>
                    <a:lnTo>
                      <a:pt x="252" y="710"/>
                    </a:lnTo>
                    <a:lnTo>
                      <a:pt x="282" y="710"/>
                    </a:lnTo>
                    <a:lnTo>
                      <a:pt x="297" y="710"/>
                    </a:lnTo>
                    <a:lnTo>
                      <a:pt x="308" y="710"/>
                    </a:lnTo>
                    <a:lnTo>
                      <a:pt x="315" y="710"/>
                    </a:lnTo>
                    <a:lnTo>
                      <a:pt x="318" y="710"/>
                    </a:lnTo>
                    <a:lnTo>
                      <a:pt x="323" y="710"/>
                    </a:lnTo>
                    <a:lnTo>
                      <a:pt x="327" y="710"/>
                    </a:lnTo>
                    <a:lnTo>
                      <a:pt x="333" y="710"/>
                    </a:lnTo>
                    <a:lnTo>
                      <a:pt x="345" y="710"/>
                    </a:lnTo>
                    <a:lnTo>
                      <a:pt x="360" y="710"/>
                    </a:lnTo>
                    <a:lnTo>
                      <a:pt x="390" y="710"/>
                    </a:lnTo>
                    <a:lnTo>
                      <a:pt x="426" y="710"/>
                    </a:lnTo>
                    <a:lnTo>
                      <a:pt x="465" y="710"/>
                    </a:lnTo>
                    <a:lnTo>
                      <a:pt x="504" y="710"/>
                    </a:lnTo>
                    <a:lnTo>
                      <a:pt x="540" y="710"/>
                    </a:lnTo>
                    <a:lnTo>
                      <a:pt x="572" y="710"/>
                    </a:lnTo>
                    <a:lnTo>
                      <a:pt x="596" y="710"/>
                    </a:lnTo>
                    <a:lnTo>
                      <a:pt x="609" y="710"/>
                    </a:lnTo>
                    <a:lnTo>
                      <a:pt x="617" y="709"/>
                    </a:lnTo>
                    <a:lnTo>
                      <a:pt x="625" y="707"/>
                    </a:lnTo>
                    <a:lnTo>
                      <a:pt x="630" y="702"/>
                    </a:lnTo>
                    <a:lnTo>
                      <a:pt x="634" y="698"/>
                    </a:lnTo>
                    <a:lnTo>
                      <a:pt x="638" y="693"/>
                    </a:lnTo>
                    <a:lnTo>
                      <a:pt x="640" y="687"/>
                    </a:lnTo>
                    <a:lnTo>
                      <a:pt x="641" y="682"/>
                    </a:lnTo>
                    <a:lnTo>
                      <a:pt x="641" y="678"/>
                    </a:lnTo>
                    <a:lnTo>
                      <a:pt x="641" y="661"/>
                    </a:lnTo>
                    <a:lnTo>
                      <a:pt x="641" y="638"/>
                    </a:lnTo>
                    <a:lnTo>
                      <a:pt x="641" y="613"/>
                    </a:lnTo>
                    <a:lnTo>
                      <a:pt x="641" y="593"/>
                    </a:lnTo>
                    <a:lnTo>
                      <a:pt x="641" y="586"/>
                    </a:lnTo>
                    <a:lnTo>
                      <a:pt x="639" y="579"/>
                    </a:lnTo>
                    <a:lnTo>
                      <a:pt x="636" y="572"/>
                    </a:lnTo>
                    <a:lnTo>
                      <a:pt x="632" y="564"/>
                    </a:lnTo>
                    <a:lnTo>
                      <a:pt x="627" y="558"/>
                    </a:lnTo>
                    <a:lnTo>
                      <a:pt x="619" y="551"/>
                    </a:lnTo>
                    <a:lnTo>
                      <a:pt x="612" y="546"/>
                    </a:lnTo>
                    <a:lnTo>
                      <a:pt x="602"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0"/>
              <p:cNvSpPr>
                <a:spLocks noEditPoints="1"/>
              </p:cNvSpPr>
              <p:nvPr/>
            </p:nvSpPr>
            <p:spPr bwMode="auto">
              <a:xfrm>
                <a:off x="3634014" y="4729163"/>
                <a:ext cx="147638" cy="147638"/>
              </a:xfrm>
              <a:custGeom>
                <a:avLst/>
                <a:gdLst>
                  <a:gd name="T0" fmla="*/ 202 w 371"/>
                  <a:gd name="T1" fmla="*/ 203 h 371"/>
                  <a:gd name="T2" fmla="*/ 169 w 371"/>
                  <a:gd name="T3" fmla="*/ 303 h 371"/>
                  <a:gd name="T4" fmla="*/ 69 w 371"/>
                  <a:gd name="T5" fmla="*/ 203 h 371"/>
                  <a:gd name="T6" fmla="*/ 169 w 371"/>
                  <a:gd name="T7" fmla="*/ 168 h 371"/>
                  <a:gd name="T8" fmla="*/ 202 w 371"/>
                  <a:gd name="T9" fmla="*/ 68 h 371"/>
                  <a:gd name="T10" fmla="*/ 303 w 371"/>
                  <a:gd name="T11" fmla="*/ 168 h 371"/>
                  <a:gd name="T12" fmla="*/ 185 w 371"/>
                  <a:gd name="T13" fmla="*/ 0 h 371"/>
                  <a:gd name="T14" fmla="*/ 148 w 371"/>
                  <a:gd name="T15" fmla="*/ 4 h 371"/>
                  <a:gd name="T16" fmla="*/ 114 w 371"/>
                  <a:gd name="T17" fmla="*/ 15 h 371"/>
                  <a:gd name="T18" fmla="*/ 81 w 371"/>
                  <a:gd name="T19" fmla="*/ 31 h 371"/>
                  <a:gd name="T20" fmla="*/ 54 w 371"/>
                  <a:gd name="T21" fmla="*/ 54 h 371"/>
                  <a:gd name="T22" fmla="*/ 32 w 371"/>
                  <a:gd name="T23" fmla="*/ 82 h 371"/>
                  <a:gd name="T24" fmla="*/ 15 w 371"/>
                  <a:gd name="T25" fmla="*/ 113 h 371"/>
                  <a:gd name="T26" fmla="*/ 4 w 371"/>
                  <a:gd name="T27" fmla="*/ 148 h 371"/>
                  <a:gd name="T28" fmla="*/ 0 w 371"/>
                  <a:gd name="T29" fmla="*/ 185 h 371"/>
                  <a:gd name="T30" fmla="*/ 4 w 371"/>
                  <a:gd name="T31" fmla="*/ 223 h 371"/>
                  <a:gd name="T32" fmla="*/ 15 w 371"/>
                  <a:gd name="T33" fmla="*/ 258 h 371"/>
                  <a:gd name="T34" fmla="*/ 32 w 371"/>
                  <a:gd name="T35" fmla="*/ 289 h 371"/>
                  <a:gd name="T36" fmla="*/ 54 w 371"/>
                  <a:gd name="T37" fmla="*/ 316 h 371"/>
                  <a:gd name="T38" fmla="*/ 81 w 371"/>
                  <a:gd name="T39" fmla="*/ 339 h 371"/>
                  <a:gd name="T40" fmla="*/ 114 w 371"/>
                  <a:gd name="T41" fmla="*/ 356 h 371"/>
                  <a:gd name="T42" fmla="*/ 148 w 371"/>
                  <a:gd name="T43" fmla="*/ 367 h 371"/>
                  <a:gd name="T44" fmla="*/ 185 w 371"/>
                  <a:gd name="T45" fmla="*/ 371 h 371"/>
                  <a:gd name="T46" fmla="*/ 223 w 371"/>
                  <a:gd name="T47" fmla="*/ 367 h 371"/>
                  <a:gd name="T48" fmla="*/ 258 w 371"/>
                  <a:gd name="T49" fmla="*/ 356 h 371"/>
                  <a:gd name="T50" fmla="*/ 289 w 371"/>
                  <a:gd name="T51" fmla="*/ 339 h 371"/>
                  <a:gd name="T52" fmla="*/ 317 w 371"/>
                  <a:gd name="T53" fmla="*/ 316 h 371"/>
                  <a:gd name="T54" fmla="*/ 340 w 371"/>
                  <a:gd name="T55" fmla="*/ 289 h 371"/>
                  <a:gd name="T56" fmla="*/ 357 w 371"/>
                  <a:gd name="T57" fmla="*/ 258 h 371"/>
                  <a:gd name="T58" fmla="*/ 368 w 371"/>
                  <a:gd name="T59" fmla="*/ 223 h 371"/>
                  <a:gd name="T60" fmla="*/ 371 w 371"/>
                  <a:gd name="T61" fmla="*/ 185 h 371"/>
                  <a:gd name="T62" fmla="*/ 368 w 371"/>
                  <a:gd name="T63" fmla="*/ 148 h 371"/>
                  <a:gd name="T64" fmla="*/ 357 w 371"/>
                  <a:gd name="T65" fmla="*/ 113 h 371"/>
                  <a:gd name="T66" fmla="*/ 340 w 371"/>
                  <a:gd name="T67" fmla="*/ 82 h 371"/>
                  <a:gd name="T68" fmla="*/ 317 w 371"/>
                  <a:gd name="T69" fmla="*/ 54 h 371"/>
                  <a:gd name="T70" fmla="*/ 289 w 371"/>
                  <a:gd name="T71" fmla="*/ 31 h 371"/>
                  <a:gd name="T72" fmla="*/ 258 w 371"/>
                  <a:gd name="T73" fmla="*/ 15 h 371"/>
                  <a:gd name="T74" fmla="*/ 223 w 371"/>
                  <a:gd name="T75" fmla="*/ 4 h 371"/>
                  <a:gd name="T76" fmla="*/ 185 w 371"/>
                  <a:gd name="T7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1" h="371">
                    <a:moveTo>
                      <a:pt x="303" y="203"/>
                    </a:moveTo>
                    <a:lnTo>
                      <a:pt x="202" y="203"/>
                    </a:lnTo>
                    <a:lnTo>
                      <a:pt x="202" y="303"/>
                    </a:lnTo>
                    <a:lnTo>
                      <a:pt x="169" y="303"/>
                    </a:lnTo>
                    <a:lnTo>
                      <a:pt x="169" y="203"/>
                    </a:lnTo>
                    <a:lnTo>
                      <a:pt x="69" y="203"/>
                    </a:lnTo>
                    <a:lnTo>
                      <a:pt x="69" y="168"/>
                    </a:lnTo>
                    <a:lnTo>
                      <a:pt x="169" y="168"/>
                    </a:lnTo>
                    <a:lnTo>
                      <a:pt x="169" y="68"/>
                    </a:lnTo>
                    <a:lnTo>
                      <a:pt x="202" y="68"/>
                    </a:lnTo>
                    <a:lnTo>
                      <a:pt x="202" y="168"/>
                    </a:lnTo>
                    <a:lnTo>
                      <a:pt x="303" y="168"/>
                    </a:lnTo>
                    <a:lnTo>
                      <a:pt x="303" y="203"/>
                    </a:lnTo>
                    <a:close/>
                    <a:moveTo>
                      <a:pt x="185" y="0"/>
                    </a:moveTo>
                    <a:lnTo>
                      <a:pt x="167" y="1"/>
                    </a:lnTo>
                    <a:lnTo>
                      <a:pt x="148" y="4"/>
                    </a:lnTo>
                    <a:lnTo>
                      <a:pt x="130" y="8"/>
                    </a:lnTo>
                    <a:lnTo>
                      <a:pt x="114" y="15"/>
                    </a:lnTo>
                    <a:lnTo>
                      <a:pt x="98" y="22"/>
                    </a:lnTo>
                    <a:lnTo>
                      <a:pt x="81" y="31"/>
                    </a:lnTo>
                    <a:lnTo>
                      <a:pt x="67" y="42"/>
                    </a:lnTo>
                    <a:lnTo>
                      <a:pt x="54" y="54"/>
                    </a:lnTo>
                    <a:lnTo>
                      <a:pt x="43" y="68"/>
                    </a:lnTo>
                    <a:lnTo>
                      <a:pt x="32" y="82"/>
                    </a:lnTo>
                    <a:lnTo>
                      <a:pt x="22" y="97"/>
                    </a:lnTo>
                    <a:lnTo>
                      <a:pt x="15" y="113"/>
                    </a:lnTo>
                    <a:lnTo>
                      <a:pt x="8" y="130"/>
                    </a:lnTo>
                    <a:lnTo>
                      <a:pt x="4" y="148"/>
                    </a:lnTo>
                    <a:lnTo>
                      <a:pt x="2" y="166"/>
                    </a:lnTo>
                    <a:lnTo>
                      <a:pt x="0" y="185"/>
                    </a:lnTo>
                    <a:lnTo>
                      <a:pt x="2" y="204"/>
                    </a:lnTo>
                    <a:lnTo>
                      <a:pt x="4" y="223"/>
                    </a:lnTo>
                    <a:lnTo>
                      <a:pt x="8" y="240"/>
                    </a:lnTo>
                    <a:lnTo>
                      <a:pt x="15" y="258"/>
                    </a:lnTo>
                    <a:lnTo>
                      <a:pt x="22" y="274"/>
                    </a:lnTo>
                    <a:lnTo>
                      <a:pt x="32" y="289"/>
                    </a:lnTo>
                    <a:lnTo>
                      <a:pt x="43" y="303"/>
                    </a:lnTo>
                    <a:lnTo>
                      <a:pt x="54" y="316"/>
                    </a:lnTo>
                    <a:lnTo>
                      <a:pt x="67" y="328"/>
                    </a:lnTo>
                    <a:lnTo>
                      <a:pt x="81" y="339"/>
                    </a:lnTo>
                    <a:lnTo>
                      <a:pt x="98" y="348"/>
                    </a:lnTo>
                    <a:lnTo>
                      <a:pt x="114" y="356"/>
                    </a:lnTo>
                    <a:lnTo>
                      <a:pt x="130" y="362"/>
                    </a:lnTo>
                    <a:lnTo>
                      <a:pt x="148" y="367"/>
                    </a:lnTo>
                    <a:lnTo>
                      <a:pt x="167" y="370"/>
                    </a:lnTo>
                    <a:lnTo>
                      <a:pt x="185" y="371"/>
                    </a:lnTo>
                    <a:lnTo>
                      <a:pt x="205" y="370"/>
                    </a:lnTo>
                    <a:lnTo>
                      <a:pt x="223" y="367"/>
                    </a:lnTo>
                    <a:lnTo>
                      <a:pt x="241" y="362"/>
                    </a:lnTo>
                    <a:lnTo>
                      <a:pt x="258" y="356"/>
                    </a:lnTo>
                    <a:lnTo>
                      <a:pt x="274" y="348"/>
                    </a:lnTo>
                    <a:lnTo>
                      <a:pt x="289" y="339"/>
                    </a:lnTo>
                    <a:lnTo>
                      <a:pt x="304" y="328"/>
                    </a:lnTo>
                    <a:lnTo>
                      <a:pt x="317" y="316"/>
                    </a:lnTo>
                    <a:lnTo>
                      <a:pt x="329" y="303"/>
                    </a:lnTo>
                    <a:lnTo>
                      <a:pt x="340" y="289"/>
                    </a:lnTo>
                    <a:lnTo>
                      <a:pt x="348" y="274"/>
                    </a:lnTo>
                    <a:lnTo>
                      <a:pt x="357" y="258"/>
                    </a:lnTo>
                    <a:lnTo>
                      <a:pt x="362" y="240"/>
                    </a:lnTo>
                    <a:lnTo>
                      <a:pt x="368" y="223"/>
                    </a:lnTo>
                    <a:lnTo>
                      <a:pt x="370" y="204"/>
                    </a:lnTo>
                    <a:lnTo>
                      <a:pt x="371" y="185"/>
                    </a:lnTo>
                    <a:lnTo>
                      <a:pt x="370" y="166"/>
                    </a:lnTo>
                    <a:lnTo>
                      <a:pt x="368" y="148"/>
                    </a:lnTo>
                    <a:lnTo>
                      <a:pt x="362" y="130"/>
                    </a:lnTo>
                    <a:lnTo>
                      <a:pt x="357" y="113"/>
                    </a:lnTo>
                    <a:lnTo>
                      <a:pt x="348" y="97"/>
                    </a:lnTo>
                    <a:lnTo>
                      <a:pt x="340" y="82"/>
                    </a:lnTo>
                    <a:lnTo>
                      <a:pt x="329" y="68"/>
                    </a:lnTo>
                    <a:lnTo>
                      <a:pt x="317" y="54"/>
                    </a:lnTo>
                    <a:lnTo>
                      <a:pt x="304" y="42"/>
                    </a:lnTo>
                    <a:lnTo>
                      <a:pt x="289" y="31"/>
                    </a:lnTo>
                    <a:lnTo>
                      <a:pt x="274" y="22"/>
                    </a:lnTo>
                    <a:lnTo>
                      <a:pt x="258" y="15"/>
                    </a:lnTo>
                    <a:lnTo>
                      <a:pt x="241" y="8"/>
                    </a:lnTo>
                    <a:lnTo>
                      <a:pt x="223" y="4"/>
                    </a:lnTo>
                    <a:lnTo>
                      <a:pt x="205" y="1"/>
                    </a:lnTo>
                    <a:lnTo>
                      <a:pt x="1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8" name="Rectangle 107"/>
          <p:cNvSpPr/>
          <p:nvPr/>
        </p:nvSpPr>
        <p:spPr>
          <a:xfrm>
            <a:off x="8216900" y="4940299"/>
            <a:ext cx="3429000" cy="235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DE156FE7-4276-48C2-8D29-2DA35A3BAE26}" type="slidenum">
              <a:rPr lang="en-US" smtClean="0"/>
              <a:t>10</a:t>
            </a:fld>
            <a:endParaRPr lang="en-US"/>
          </a:p>
        </p:txBody>
      </p:sp>
    </p:spTree>
    <p:extLst>
      <p:ext uri="{BB962C8B-B14F-4D97-AF65-F5344CB8AC3E}">
        <p14:creationId xmlns:p14="http://schemas.microsoft.com/office/powerpoint/2010/main" val="3733733230"/>
      </p:ext>
    </p:extLst>
  </p:cSld>
  <p:clrMapOvr>
    <a:masterClrMapping/>
  </p:clrMapOvr>
  <p:transition spd="med">
    <p:pull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5D0322D3-5903-49EB-9A2C-7FBDC40EAC37}"/>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t="29185" b="47133"/>
          <a:stretch/>
        </p:blipFill>
        <p:spPr>
          <a:xfrm>
            <a:off x="381602" y="3238500"/>
            <a:ext cx="11467498" cy="3619500"/>
          </a:xfrm>
        </p:spPr>
      </p:pic>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HAT</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 WE DO</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10" name="Content Placeholder 2"/>
          <p:cNvSpPr txBox="1">
            <a:spLocks/>
          </p:cNvSpPr>
          <p:nvPr/>
        </p:nvSpPr>
        <p:spPr>
          <a:xfrm>
            <a:off x="732317" y="1631872"/>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dirty="0">
                <a:solidFill>
                  <a:schemeClr val="accent1"/>
                </a:solidFill>
                <a:latin typeface="Montserrat" panose="00000500000000000000" pitchFamily="2" charset="0"/>
                <a:cs typeface="Lato" panose="020F0502020204030203" pitchFamily="34" charset="0"/>
              </a:rPr>
              <a:t>01</a:t>
            </a:r>
          </a:p>
        </p:txBody>
      </p:sp>
      <p:sp>
        <p:nvSpPr>
          <p:cNvPr id="11" name="Content Placeholder 2"/>
          <p:cNvSpPr txBox="1">
            <a:spLocks/>
          </p:cNvSpPr>
          <p:nvPr/>
        </p:nvSpPr>
        <p:spPr>
          <a:xfrm>
            <a:off x="1692338" y="1596267"/>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dirty="0">
                <a:solidFill>
                  <a:schemeClr val="tx1">
                    <a:lumMod val="85000"/>
                    <a:lumOff val="15000"/>
                  </a:schemeClr>
                </a:solidFill>
                <a:latin typeface="Montserrat" panose="00000500000000000000" pitchFamily="2" charset="0"/>
                <a:ea typeface="Open Sans Light" panose="020B0306030504020204" pitchFamily="34" charset="0"/>
                <a:cs typeface="Lato" panose="020F0502020204030203" pitchFamily="34" charset="0"/>
              </a:rPr>
              <a:t>Best Service Of Us</a:t>
            </a:r>
          </a:p>
        </p:txBody>
      </p:sp>
      <p:sp>
        <p:nvSpPr>
          <p:cNvPr id="12" name="Rounded Rectangle 11"/>
          <p:cNvSpPr/>
          <p:nvPr/>
        </p:nvSpPr>
        <p:spPr>
          <a:xfrm rot="16200000" flipV="1">
            <a:off x="1267502" y="2005142"/>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Neris Light" panose="00000400000000000000" pitchFamily="50" charset="0"/>
            </a:endParaRPr>
          </a:p>
        </p:txBody>
      </p:sp>
      <p:sp>
        <p:nvSpPr>
          <p:cNvPr id="13" name="Rectangle 12"/>
          <p:cNvSpPr/>
          <p:nvPr/>
        </p:nvSpPr>
        <p:spPr>
          <a:xfrm>
            <a:off x="732317" y="2430359"/>
            <a:ext cx="2876539" cy="600164"/>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4" name="Content Placeholder 2"/>
          <p:cNvSpPr txBox="1">
            <a:spLocks/>
          </p:cNvSpPr>
          <p:nvPr/>
        </p:nvSpPr>
        <p:spPr>
          <a:xfrm>
            <a:off x="4594360" y="1631872"/>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dirty="0">
                <a:solidFill>
                  <a:schemeClr val="accent1"/>
                </a:solidFill>
                <a:latin typeface="Montserrat" panose="00000500000000000000" pitchFamily="2" charset="0"/>
                <a:cs typeface="Lato" panose="020F0502020204030203" pitchFamily="34" charset="0"/>
              </a:rPr>
              <a:t>02</a:t>
            </a:r>
          </a:p>
        </p:txBody>
      </p:sp>
      <p:sp>
        <p:nvSpPr>
          <p:cNvPr id="15" name="Content Placeholder 2"/>
          <p:cNvSpPr txBox="1">
            <a:spLocks/>
          </p:cNvSpPr>
          <p:nvPr/>
        </p:nvSpPr>
        <p:spPr>
          <a:xfrm>
            <a:off x="5554381" y="1596267"/>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dirty="0">
                <a:solidFill>
                  <a:schemeClr val="tx1">
                    <a:lumMod val="85000"/>
                    <a:lumOff val="15000"/>
                  </a:schemeClr>
                </a:solidFill>
                <a:latin typeface="Montserrat" panose="00000500000000000000" pitchFamily="2" charset="0"/>
                <a:ea typeface="Open Sans Light" panose="020B0306030504020204" pitchFamily="34" charset="0"/>
                <a:cs typeface="Lato" panose="020F0502020204030203" pitchFamily="34" charset="0"/>
              </a:rPr>
              <a:t>Best Service Of Us</a:t>
            </a:r>
          </a:p>
        </p:txBody>
      </p:sp>
      <p:sp>
        <p:nvSpPr>
          <p:cNvPr id="16" name="Rounded Rectangle 15"/>
          <p:cNvSpPr/>
          <p:nvPr/>
        </p:nvSpPr>
        <p:spPr>
          <a:xfrm rot="16200000" flipV="1">
            <a:off x="5129545" y="2005142"/>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Neris Light" panose="00000400000000000000" pitchFamily="50" charset="0"/>
            </a:endParaRPr>
          </a:p>
        </p:txBody>
      </p:sp>
      <p:sp>
        <p:nvSpPr>
          <p:cNvPr id="17" name="Rectangle 16"/>
          <p:cNvSpPr/>
          <p:nvPr/>
        </p:nvSpPr>
        <p:spPr>
          <a:xfrm>
            <a:off x="4594360" y="2430359"/>
            <a:ext cx="2876539" cy="600164"/>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18" name="Content Placeholder 2"/>
          <p:cNvSpPr txBox="1">
            <a:spLocks/>
          </p:cNvSpPr>
          <p:nvPr/>
        </p:nvSpPr>
        <p:spPr>
          <a:xfrm>
            <a:off x="8423488" y="1631872"/>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dirty="0">
                <a:solidFill>
                  <a:schemeClr val="accent1"/>
                </a:solidFill>
                <a:latin typeface="Montserrat" panose="00000500000000000000" pitchFamily="2" charset="0"/>
                <a:cs typeface="Lato" panose="020F0502020204030203" pitchFamily="34" charset="0"/>
              </a:rPr>
              <a:t>03</a:t>
            </a:r>
          </a:p>
        </p:txBody>
      </p:sp>
      <p:sp>
        <p:nvSpPr>
          <p:cNvPr id="19" name="Content Placeholder 2"/>
          <p:cNvSpPr txBox="1">
            <a:spLocks/>
          </p:cNvSpPr>
          <p:nvPr/>
        </p:nvSpPr>
        <p:spPr>
          <a:xfrm>
            <a:off x="9383509" y="1596267"/>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id-ID" dirty="0">
                <a:solidFill>
                  <a:schemeClr val="tx1">
                    <a:lumMod val="85000"/>
                    <a:lumOff val="15000"/>
                  </a:schemeClr>
                </a:solidFill>
                <a:latin typeface="Montserrat" panose="00000500000000000000" pitchFamily="2" charset="0"/>
                <a:ea typeface="Open Sans Light" panose="020B0306030504020204" pitchFamily="34" charset="0"/>
                <a:cs typeface="Lato" panose="020F0502020204030203" pitchFamily="34" charset="0"/>
              </a:rPr>
              <a:t>Best Service Of Us</a:t>
            </a:r>
          </a:p>
        </p:txBody>
      </p:sp>
      <p:sp>
        <p:nvSpPr>
          <p:cNvPr id="20" name="Rounded Rectangle 19"/>
          <p:cNvSpPr/>
          <p:nvPr/>
        </p:nvSpPr>
        <p:spPr>
          <a:xfrm rot="16200000" flipV="1">
            <a:off x="8958673" y="2005142"/>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Neris Light" panose="00000400000000000000" pitchFamily="50" charset="0"/>
            </a:endParaRPr>
          </a:p>
        </p:txBody>
      </p:sp>
      <p:sp>
        <p:nvSpPr>
          <p:cNvPr id="21" name="Rectangle 20"/>
          <p:cNvSpPr/>
          <p:nvPr/>
        </p:nvSpPr>
        <p:spPr>
          <a:xfrm>
            <a:off x="8423488" y="2430359"/>
            <a:ext cx="2876539" cy="600164"/>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 name="Slide Number Placeholder 1"/>
          <p:cNvSpPr>
            <a:spLocks noGrp="1"/>
          </p:cNvSpPr>
          <p:nvPr>
            <p:ph type="sldNum" sz="quarter" idx="12"/>
          </p:nvPr>
        </p:nvSpPr>
        <p:spPr/>
        <p:txBody>
          <a:bodyPr/>
          <a:lstStyle/>
          <a:p>
            <a:fld id="{DE156FE7-4276-48C2-8D29-2DA35A3BAE26}" type="slidenum">
              <a:rPr lang="en-US" smtClean="0"/>
              <a:t>11</a:t>
            </a:fld>
            <a:endParaRPr lang="en-US"/>
          </a:p>
        </p:txBody>
      </p:sp>
    </p:spTree>
    <p:extLst>
      <p:ext uri="{BB962C8B-B14F-4D97-AF65-F5344CB8AC3E}">
        <p14:creationId xmlns:p14="http://schemas.microsoft.com/office/powerpoint/2010/main" val="1371592258"/>
      </p:ext>
    </p:extLst>
  </p:cSld>
  <p:clrMapOvr>
    <a:masterClrMapping/>
  </p:clrMapOvr>
  <p:transition spd="med">
    <p:pull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156CFD7-BC81-470B-A4E4-C822CA3B1C92}"/>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7783" r="17783"/>
          <a:stretch>
            <a:fillRect/>
          </a:stretch>
        </p:blipFill>
        <p:spPr>
          <a:solidFill>
            <a:schemeClr val="bg1">
              <a:lumMod val="85000"/>
            </a:schemeClr>
          </a:solidFill>
        </p:spPr>
      </p:pic>
      <p:sp>
        <p:nvSpPr>
          <p:cNvPr id="2" name="Rectangle 1"/>
          <p:cNvSpPr/>
          <p:nvPr/>
        </p:nvSpPr>
        <p:spPr>
          <a:xfrm>
            <a:off x="1498600" y="1194103"/>
            <a:ext cx="6223000" cy="4902200"/>
          </a:xfrm>
          <a:prstGeom prst="rect">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B66AA1F-9744-4D17-8B79-08A260AA23CD}"/>
              </a:ext>
            </a:extLst>
          </p:cNvPr>
          <p:cNvSpPr/>
          <p:nvPr>
            <p:custDataLst>
              <p:tags r:id="rId1"/>
            </p:custDataLst>
          </p:nvPr>
        </p:nvSpPr>
        <p:spPr>
          <a:xfrm>
            <a:off x="2014533" y="1953693"/>
            <a:ext cx="4412868" cy="9234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latin typeface="Montserrat" panose="00000500000000000000" pitchFamily="2" charset="0"/>
                <a:ea typeface="Source Sans Pro" panose="020B0503030403020204" pitchFamily="34" charset="0"/>
                <a:cs typeface="Lato" panose="020F0502020204030203" pitchFamily="34" charset="0"/>
              </a:rPr>
              <a:t>Styles come and go.</a:t>
            </a:r>
          </a:p>
          <a:p>
            <a:r>
              <a:rPr lang="en-US" sz="2000" dirty="0">
                <a:solidFill>
                  <a:schemeClr val="bg1"/>
                </a:solidFill>
                <a:latin typeface="Montserrat" panose="00000500000000000000" pitchFamily="2" charset="0"/>
                <a:ea typeface="Source Sans Pro" panose="020B0503030403020204" pitchFamily="34" charset="0"/>
                <a:cs typeface="Lato" panose="020F0502020204030203" pitchFamily="34" charset="0"/>
              </a:rPr>
              <a:t>Good design is a language,</a:t>
            </a:r>
          </a:p>
          <a:p>
            <a:r>
              <a:rPr lang="en-US" sz="2000" dirty="0">
                <a:solidFill>
                  <a:schemeClr val="bg1"/>
                </a:solidFill>
                <a:latin typeface="Montserrat" panose="00000500000000000000" pitchFamily="2" charset="0"/>
                <a:ea typeface="Source Sans Pro" panose="020B0503030403020204" pitchFamily="34" charset="0"/>
                <a:cs typeface="Lato" panose="020F0502020204030203" pitchFamily="34" charset="0"/>
              </a:rPr>
              <a:t>not a style.</a:t>
            </a:r>
          </a:p>
        </p:txBody>
      </p:sp>
      <p:sp>
        <p:nvSpPr>
          <p:cNvPr id="7" name="TextBox 6">
            <a:extLst>
              <a:ext uri="{FF2B5EF4-FFF2-40B4-BE49-F238E27FC236}">
                <a16:creationId xmlns:a16="http://schemas.microsoft.com/office/drawing/2014/main" id="{9B72F581-8FF0-4526-AEA2-9AC2D2E25647}"/>
              </a:ext>
            </a:extLst>
          </p:cNvPr>
          <p:cNvSpPr txBox="1"/>
          <p:nvPr/>
        </p:nvSpPr>
        <p:spPr>
          <a:xfrm>
            <a:off x="2014533" y="3027361"/>
            <a:ext cx="4164538" cy="276999"/>
          </a:xfrm>
          <a:prstGeom prst="rect">
            <a:avLst/>
          </a:prstGeom>
          <a:noFill/>
        </p:spPr>
        <p:txBody>
          <a:bodyPr wrap="none" rtlCol="0">
            <a:spAutoFit/>
          </a:bodyPr>
          <a:lstStyle/>
          <a:p>
            <a:r>
              <a:rPr lang="en-US" sz="1200" spc="300" dirty="0">
                <a:solidFill>
                  <a:schemeClr val="bg1"/>
                </a:solidFill>
                <a:latin typeface="+mj-lt"/>
                <a:ea typeface="Roboto" panose="02000000000000000000" pitchFamily="2" charset="0"/>
                <a:cs typeface="Open Sans" panose="020B0606030504020204" pitchFamily="34" charset="0"/>
              </a:rPr>
              <a:t>The Most Beautiful PowerPoint Template</a:t>
            </a:r>
          </a:p>
        </p:txBody>
      </p:sp>
      <p:sp>
        <p:nvSpPr>
          <p:cNvPr id="8" name="Rectangle 7"/>
          <p:cNvSpPr/>
          <p:nvPr/>
        </p:nvSpPr>
        <p:spPr>
          <a:xfrm>
            <a:off x="2049197" y="3539918"/>
            <a:ext cx="4095209" cy="1754326"/>
          </a:xfrm>
          <a:prstGeom prst="rect">
            <a:avLst/>
          </a:prstGeom>
        </p:spPr>
        <p:txBody>
          <a:bodyPr wrap="square">
            <a:spAutoFit/>
          </a:bodyPr>
          <a:lstStyle/>
          <a:p>
            <a:pPr algn="just">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a:t>
            </a:r>
          </a:p>
          <a:p>
            <a:pPr algn="just">
              <a:buClr>
                <a:srgbClr val="E24848"/>
              </a:buClr>
              <a:defRPr/>
            </a:pPr>
            <a:endParaRPr lang="en-US" sz="1200" noProof="1">
              <a:solidFill>
                <a:schemeClr val="bg1"/>
              </a:solidFill>
              <a:latin typeface="+mj-lt"/>
              <a:ea typeface="Open Sans Light" panose="020B0306030504020204" pitchFamily="34" charset="0"/>
              <a:cs typeface="Open Sans Light" panose="020B0306030504020204" pitchFamily="34" charset="0"/>
            </a:endParaRPr>
          </a:p>
          <a:p>
            <a:pPr algn="just">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am. Aliquam erat volutpat. Aenean lacinia lacus aliquet ante mollis, sollicitudin tempor tortor aliquam. </a:t>
            </a:r>
          </a:p>
        </p:txBody>
      </p:sp>
      <p:sp>
        <p:nvSpPr>
          <p:cNvPr id="3" name="Slide Number Placeholder 2"/>
          <p:cNvSpPr>
            <a:spLocks noGrp="1"/>
          </p:cNvSpPr>
          <p:nvPr>
            <p:ph type="sldNum" sz="quarter" idx="12"/>
          </p:nvPr>
        </p:nvSpPr>
        <p:spPr/>
        <p:txBody>
          <a:bodyPr/>
          <a:lstStyle/>
          <a:p>
            <a:fld id="{DE156FE7-4276-48C2-8D29-2DA35A3BAE26}" type="slidenum">
              <a:rPr lang="en-US" smtClean="0"/>
              <a:t>12</a:t>
            </a:fld>
            <a:endParaRPr lang="en-US"/>
          </a:p>
        </p:txBody>
      </p:sp>
    </p:spTree>
    <p:extLst>
      <p:ext uri="{BB962C8B-B14F-4D97-AF65-F5344CB8AC3E}">
        <p14:creationId xmlns:p14="http://schemas.microsoft.com/office/powerpoint/2010/main" val="2393527689"/>
      </p:ext>
    </p:extLst>
  </p:cSld>
  <p:clrMapOvr>
    <a:masterClrMapping/>
  </p:clrMapOvr>
  <p:transition spd="med">
    <p:pull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a:extLst>
              <a:ext uri="{FF2B5EF4-FFF2-40B4-BE49-F238E27FC236}">
                <a16:creationId xmlns:a16="http://schemas.microsoft.com/office/drawing/2014/main" id="{EF094330-BED2-4FE1-A0EF-141D47A230D0}"/>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4723" r="14723"/>
          <a:stretch>
            <a:fillRect/>
          </a:stretch>
        </p:blipFill>
        <p:spPr>
          <a:noFill/>
        </p:spPr>
      </p:pic>
      <p:sp>
        <p:nvSpPr>
          <p:cNvPr id="4" name="Rectangle 3"/>
          <p:cNvSpPr/>
          <p:nvPr/>
        </p:nvSpPr>
        <p:spPr>
          <a:xfrm>
            <a:off x="415926" y="2019300"/>
            <a:ext cx="11776074" cy="3670300"/>
          </a:xfrm>
          <a:prstGeom prst="rect">
            <a:avLst/>
          </a:prstGeom>
          <a:gradFill>
            <a:gsLst>
              <a:gs pos="0">
                <a:schemeClr val="accent1">
                  <a:alpha val="95000"/>
                </a:schemeClr>
              </a:gs>
              <a:gs pos="100000">
                <a:schemeClr val="accent3">
                  <a:alpha val="9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782756" y="2321702"/>
            <a:ext cx="3862269" cy="707886"/>
          </a:xfrm>
          <a:prstGeom prst="rect">
            <a:avLst/>
          </a:prstGeom>
        </p:spPr>
        <p:txBody>
          <a:bodyPr wrap="square">
            <a:spAutoFit/>
          </a:bodyPr>
          <a:lstStyle/>
          <a:p>
            <a:pPr>
              <a:buClr>
                <a:srgbClr val="E24848"/>
              </a:buClr>
              <a:defRPr/>
            </a:pPr>
            <a:r>
              <a:rPr lang="en-US" sz="2000" b="1"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ipsum dolor sit amet</a:t>
            </a:r>
            <a:r>
              <a:rPr lang="en-US" sz="2000" noProof="1">
                <a:solidFill>
                  <a:schemeClr val="bg1"/>
                </a:solidFill>
                <a:latin typeface="Montserrat" panose="00000500000000000000" pitchFamily="2" charset="0"/>
                <a:ea typeface="Open Sans" panose="020B0606030504020204" pitchFamily="34" charset="0"/>
                <a:cs typeface="Open Sans" panose="020B0606030504020204" pitchFamily="34" charset="0"/>
              </a:rPr>
              <a:t>, Aliquam erat volutpat</a:t>
            </a:r>
          </a:p>
        </p:txBody>
      </p:sp>
      <p:sp>
        <p:nvSpPr>
          <p:cNvPr id="6" name="Rectangle 5"/>
          <p:cNvSpPr/>
          <p:nvPr/>
        </p:nvSpPr>
        <p:spPr>
          <a:xfrm>
            <a:off x="782756" y="3066912"/>
            <a:ext cx="4092785" cy="646331"/>
          </a:xfrm>
          <a:prstGeom prst="rect">
            <a:avLst/>
          </a:prstGeom>
        </p:spPr>
        <p:txBody>
          <a:bodyPr wrap="square">
            <a:spAutoFit/>
          </a:bodyPr>
          <a:lstStyle/>
          <a:p>
            <a:pPr algn="just">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a:t>
            </a:r>
          </a:p>
        </p:txBody>
      </p:sp>
      <p:sp>
        <p:nvSpPr>
          <p:cNvPr id="7" name="Rectangle 6"/>
          <p:cNvSpPr/>
          <p:nvPr/>
        </p:nvSpPr>
        <p:spPr>
          <a:xfrm>
            <a:off x="851341" y="1913931"/>
            <a:ext cx="727281" cy="118685"/>
          </a:xfrm>
          <a:prstGeom prst="rect">
            <a:avLst/>
          </a:prstGeom>
          <a:solidFill>
            <a:schemeClr val="bg1">
              <a:lumMod val="85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5984798" y="3397481"/>
            <a:ext cx="688207" cy="688207"/>
            <a:chOff x="962973" y="5176151"/>
            <a:chExt cx="832731" cy="832731"/>
          </a:xfrm>
        </p:grpSpPr>
        <p:sp>
          <p:nvSpPr>
            <p:cNvPr id="9" name="Oval 8"/>
            <p:cNvSpPr/>
            <p:nvPr/>
          </p:nvSpPr>
          <p:spPr>
            <a:xfrm>
              <a:off x="962973" y="5176151"/>
              <a:ext cx="832731" cy="8327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a:off x="1166577" y="5411019"/>
              <a:ext cx="412045" cy="413501"/>
              <a:chOff x="2032329" y="3781350"/>
              <a:chExt cx="412045" cy="413501"/>
            </a:xfrm>
            <a:solidFill>
              <a:schemeClr val="bg1"/>
            </a:solidFill>
          </p:grpSpPr>
          <p:sp>
            <p:nvSpPr>
              <p:cNvPr id="11" name="Freeform 414"/>
              <p:cNvSpPr>
                <a:spLocks noEditPoints="1"/>
              </p:cNvSpPr>
              <p:nvPr/>
            </p:nvSpPr>
            <p:spPr bwMode="auto">
              <a:xfrm>
                <a:off x="2032329" y="3781350"/>
                <a:ext cx="412045" cy="413501"/>
              </a:xfrm>
              <a:custGeom>
                <a:avLst/>
                <a:gdLst>
                  <a:gd name="T0" fmla="*/ 201 w 850"/>
                  <a:gd name="T1" fmla="*/ 808 h 850"/>
                  <a:gd name="T2" fmla="*/ 260 w 850"/>
                  <a:gd name="T3" fmla="*/ 781 h 850"/>
                  <a:gd name="T4" fmla="*/ 294 w 850"/>
                  <a:gd name="T5" fmla="*/ 739 h 850"/>
                  <a:gd name="T6" fmla="*/ 309 w 850"/>
                  <a:gd name="T7" fmla="*/ 693 h 850"/>
                  <a:gd name="T8" fmla="*/ 306 w 850"/>
                  <a:gd name="T9" fmla="*/ 643 h 850"/>
                  <a:gd name="T10" fmla="*/ 298 w 850"/>
                  <a:gd name="T11" fmla="*/ 607 h 850"/>
                  <a:gd name="T12" fmla="*/ 618 w 850"/>
                  <a:gd name="T13" fmla="*/ 297 h 850"/>
                  <a:gd name="T14" fmla="*/ 676 w 850"/>
                  <a:gd name="T15" fmla="*/ 310 h 850"/>
                  <a:gd name="T16" fmla="*/ 739 w 850"/>
                  <a:gd name="T17" fmla="*/ 294 h 850"/>
                  <a:gd name="T18" fmla="*/ 792 w 850"/>
                  <a:gd name="T19" fmla="*/ 244 h 850"/>
                  <a:gd name="T20" fmla="*/ 811 w 850"/>
                  <a:gd name="T21" fmla="*/ 167 h 850"/>
                  <a:gd name="T22" fmla="*/ 748 w 850"/>
                  <a:gd name="T23" fmla="*/ 206 h 850"/>
                  <a:gd name="T24" fmla="*/ 651 w 850"/>
                  <a:gd name="T25" fmla="*/ 203 h 850"/>
                  <a:gd name="T26" fmla="*/ 643 w 850"/>
                  <a:gd name="T27" fmla="*/ 188 h 850"/>
                  <a:gd name="T28" fmla="*/ 648 w 850"/>
                  <a:gd name="T29" fmla="*/ 93 h 850"/>
                  <a:gd name="T30" fmla="*/ 650 w 850"/>
                  <a:gd name="T31" fmla="*/ 42 h 850"/>
                  <a:gd name="T32" fmla="*/ 591 w 850"/>
                  <a:gd name="T33" fmla="*/ 70 h 850"/>
                  <a:gd name="T34" fmla="*/ 556 w 850"/>
                  <a:gd name="T35" fmla="*/ 111 h 850"/>
                  <a:gd name="T36" fmla="*/ 542 w 850"/>
                  <a:gd name="T37" fmla="*/ 159 h 850"/>
                  <a:gd name="T38" fmla="*/ 545 w 850"/>
                  <a:gd name="T39" fmla="*/ 208 h 850"/>
                  <a:gd name="T40" fmla="*/ 550 w 850"/>
                  <a:gd name="T41" fmla="*/ 244 h 850"/>
                  <a:gd name="T42" fmla="*/ 232 w 850"/>
                  <a:gd name="T43" fmla="*/ 553 h 850"/>
                  <a:gd name="T44" fmla="*/ 173 w 850"/>
                  <a:gd name="T45" fmla="*/ 542 h 850"/>
                  <a:gd name="T46" fmla="*/ 110 w 850"/>
                  <a:gd name="T47" fmla="*/ 558 h 850"/>
                  <a:gd name="T48" fmla="*/ 58 w 850"/>
                  <a:gd name="T49" fmla="*/ 607 h 850"/>
                  <a:gd name="T50" fmla="*/ 39 w 850"/>
                  <a:gd name="T51" fmla="*/ 685 h 850"/>
                  <a:gd name="T52" fmla="*/ 103 w 850"/>
                  <a:gd name="T53" fmla="*/ 644 h 850"/>
                  <a:gd name="T54" fmla="*/ 199 w 850"/>
                  <a:gd name="T55" fmla="*/ 647 h 850"/>
                  <a:gd name="T56" fmla="*/ 206 w 850"/>
                  <a:gd name="T57" fmla="*/ 663 h 850"/>
                  <a:gd name="T58" fmla="*/ 202 w 850"/>
                  <a:gd name="T59" fmla="*/ 758 h 850"/>
                  <a:gd name="T60" fmla="*/ 123 w 850"/>
                  <a:gd name="T61" fmla="*/ 843 h 850"/>
                  <a:gd name="T62" fmla="*/ 95 w 850"/>
                  <a:gd name="T63" fmla="*/ 823 h 850"/>
                  <a:gd name="T64" fmla="*/ 169 w 850"/>
                  <a:gd name="T65" fmla="*/ 736 h 850"/>
                  <a:gd name="T66" fmla="*/ 38 w 850"/>
                  <a:gd name="T67" fmla="*/ 755 h 850"/>
                  <a:gd name="T68" fmla="*/ 16 w 850"/>
                  <a:gd name="T69" fmla="*/ 748 h 850"/>
                  <a:gd name="T70" fmla="*/ 0 w 850"/>
                  <a:gd name="T71" fmla="*/ 695 h 850"/>
                  <a:gd name="T72" fmla="*/ 6 w 850"/>
                  <a:gd name="T73" fmla="*/ 631 h 850"/>
                  <a:gd name="T74" fmla="*/ 34 w 850"/>
                  <a:gd name="T75" fmla="*/ 574 h 850"/>
                  <a:gd name="T76" fmla="*/ 93 w 850"/>
                  <a:gd name="T77" fmla="*/ 523 h 850"/>
                  <a:gd name="T78" fmla="*/ 173 w 850"/>
                  <a:gd name="T79" fmla="*/ 503 h 850"/>
                  <a:gd name="T80" fmla="*/ 512 w 850"/>
                  <a:gd name="T81" fmla="*/ 229 h 850"/>
                  <a:gd name="T82" fmla="*/ 502 w 850"/>
                  <a:gd name="T83" fmla="*/ 170 h 850"/>
                  <a:gd name="T84" fmla="*/ 513 w 850"/>
                  <a:gd name="T85" fmla="*/ 113 h 850"/>
                  <a:gd name="T86" fmla="*/ 545 w 850"/>
                  <a:gd name="T87" fmla="*/ 61 h 850"/>
                  <a:gd name="T88" fmla="*/ 610 w 850"/>
                  <a:gd name="T89" fmla="*/ 13 h 850"/>
                  <a:gd name="T90" fmla="*/ 693 w 850"/>
                  <a:gd name="T91" fmla="*/ 2 h 850"/>
                  <a:gd name="T92" fmla="*/ 751 w 850"/>
                  <a:gd name="T93" fmla="*/ 21 h 850"/>
                  <a:gd name="T94" fmla="*/ 754 w 850"/>
                  <a:gd name="T95" fmla="*/ 42 h 850"/>
                  <a:gd name="T96" fmla="*/ 804 w 850"/>
                  <a:gd name="T97" fmla="*/ 100 h 850"/>
                  <a:gd name="T98" fmla="*/ 827 w 850"/>
                  <a:gd name="T99" fmla="*/ 97 h 850"/>
                  <a:gd name="T100" fmla="*/ 844 w 850"/>
                  <a:gd name="T101" fmla="*/ 131 h 850"/>
                  <a:gd name="T102" fmla="*/ 849 w 850"/>
                  <a:gd name="T103" fmla="*/ 195 h 850"/>
                  <a:gd name="T104" fmla="*/ 830 w 850"/>
                  <a:gd name="T105" fmla="*/ 255 h 850"/>
                  <a:gd name="T106" fmla="*/ 787 w 850"/>
                  <a:gd name="T107" fmla="*/ 309 h 850"/>
                  <a:gd name="T108" fmla="*/ 710 w 850"/>
                  <a:gd name="T109" fmla="*/ 345 h 850"/>
                  <a:gd name="T110" fmla="*/ 634 w 850"/>
                  <a:gd name="T111" fmla="*/ 343 h 850"/>
                  <a:gd name="T112" fmla="*/ 346 w 850"/>
                  <a:gd name="T113" fmla="*/ 657 h 850"/>
                  <a:gd name="T114" fmla="*/ 343 w 850"/>
                  <a:gd name="T115" fmla="*/ 716 h 850"/>
                  <a:gd name="T116" fmla="*/ 320 w 850"/>
                  <a:gd name="T117" fmla="*/ 771 h 850"/>
                  <a:gd name="T118" fmla="*/ 270 w 850"/>
                  <a:gd name="T119" fmla="*/ 821 h 850"/>
                  <a:gd name="T120" fmla="*/ 192 w 850"/>
                  <a:gd name="T121" fmla="*/ 850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0" h="850">
                    <a:moveTo>
                      <a:pt x="150" y="810"/>
                    </a:moveTo>
                    <a:lnTo>
                      <a:pt x="162" y="811"/>
                    </a:lnTo>
                    <a:lnTo>
                      <a:pt x="175" y="811"/>
                    </a:lnTo>
                    <a:lnTo>
                      <a:pt x="188" y="811"/>
                    </a:lnTo>
                    <a:lnTo>
                      <a:pt x="201" y="808"/>
                    </a:lnTo>
                    <a:lnTo>
                      <a:pt x="214" y="806"/>
                    </a:lnTo>
                    <a:lnTo>
                      <a:pt x="226" y="801"/>
                    </a:lnTo>
                    <a:lnTo>
                      <a:pt x="238" y="795"/>
                    </a:lnTo>
                    <a:lnTo>
                      <a:pt x="250" y="790"/>
                    </a:lnTo>
                    <a:lnTo>
                      <a:pt x="260" y="781"/>
                    </a:lnTo>
                    <a:lnTo>
                      <a:pt x="270" y="772"/>
                    </a:lnTo>
                    <a:lnTo>
                      <a:pt x="277" y="765"/>
                    </a:lnTo>
                    <a:lnTo>
                      <a:pt x="283" y="757"/>
                    </a:lnTo>
                    <a:lnTo>
                      <a:pt x="288" y="748"/>
                    </a:lnTo>
                    <a:lnTo>
                      <a:pt x="294" y="739"/>
                    </a:lnTo>
                    <a:lnTo>
                      <a:pt x="298" y="731"/>
                    </a:lnTo>
                    <a:lnTo>
                      <a:pt x="301" y="722"/>
                    </a:lnTo>
                    <a:lnTo>
                      <a:pt x="304" y="712"/>
                    </a:lnTo>
                    <a:lnTo>
                      <a:pt x="307" y="702"/>
                    </a:lnTo>
                    <a:lnTo>
                      <a:pt x="309" y="693"/>
                    </a:lnTo>
                    <a:lnTo>
                      <a:pt x="309" y="683"/>
                    </a:lnTo>
                    <a:lnTo>
                      <a:pt x="309" y="673"/>
                    </a:lnTo>
                    <a:lnTo>
                      <a:pt x="309" y="663"/>
                    </a:lnTo>
                    <a:lnTo>
                      <a:pt x="307" y="653"/>
                    </a:lnTo>
                    <a:lnTo>
                      <a:pt x="306" y="643"/>
                    </a:lnTo>
                    <a:lnTo>
                      <a:pt x="301" y="634"/>
                    </a:lnTo>
                    <a:lnTo>
                      <a:pt x="298" y="624"/>
                    </a:lnTo>
                    <a:lnTo>
                      <a:pt x="297" y="618"/>
                    </a:lnTo>
                    <a:lnTo>
                      <a:pt x="297" y="613"/>
                    </a:lnTo>
                    <a:lnTo>
                      <a:pt x="298" y="607"/>
                    </a:lnTo>
                    <a:lnTo>
                      <a:pt x="303" y="602"/>
                    </a:lnTo>
                    <a:lnTo>
                      <a:pt x="602" y="303"/>
                    </a:lnTo>
                    <a:lnTo>
                      <a:pt x="607" y="300"/>
                    </a:lnTo>
                    <a:lnTo>
                      <a:pt x="612" y="297"/>
                    </a:lnTo>
                    <a:lnTo>
                      <a:pt x="618" y="297"/>
                    </a:lnTo>
                    <a:lnTo>
                      <a:pt x="624" y="299"/>
                    </a:lnTo>
                    <a:lnTo>
                      <a:pt x="635" y="303"/>
                    </a:lnTo>
                    <a:lnTo>
                      <a:pt x="650" y="307"/>
                    </a:lnTo>
                    <a:lnTo>
                      <a:pt x="663" y="309"/>
                    </a:lnTo>
                    <a:lnTo>
                      <a:pt x="676" y="310"/>
                    </a:lnTo>
                    <a:lnTo>
                      <a:pt x="690" y="309"/>
                    </a:lnTo>
                    <a:lnTo>
                      <a:pt x="703" y="307"/>
                    </a:lnTo>
                    <a:lnTo>
                      <a:pt x="716" y="304"/>
                    </a:lnTo>
                    <a:lnTo>
                      <a:pt x="728" y="300"/>
                    </a:lnTo>
                    <a:lnTo>
                      <a:pt x="739" y="294"/>
                    </a:lnTo>
                    <a:lnTo>
                      <a:pt x="751" y="287"/>
                    </a:lnTo>
                    <a:lnTo>
                      <a:pt x="762" y="278"/>
                    </a:lnTo>
                    <a:lnTo>
                      <a:pt x="772" y="270"/>
                    </a:lnTo>
                    <a:lnTo>
                      <a:pt x="782" y="258"/>
                    </a:lnTo>
                    <a:lnTo>
                      <a:pt x="792" y="244"/>
                    </a:lnTo>
                    <a:lnTo>
                      <a:pt x="800" y="229"/>
                    </a:lnTo>
                    <a:lnTo>
                      <a:pt x="805" y="215"/>
                    </a:lnTo>
                    <a:lnTo>
                      <a:pt x="810" y="199"/>
                    </a:lnTo>
                    <a:lnTo>
                      <a:pt x="811" y="183"/>
                    </a:lnTo>
                    <a:lnTo>
                      <a:pt x="811" y="167"/>
                    </a:lnTo>
                    <a:lnTo>
                      <a:pt x="810" y="150"/>
                    </a:lnTo>
                    <a:lnTo>
                      <a:pt x="758" y="202"/>
                    </a:lnTo>
                    <a:lnTo>
                      <a:pt x="755" y="203"/>
                    </a:lnTo>
                    <a:lnTo>
                      <a:pt x="752" y="206"/>
                    </a:lnTo>
                    <a:lnTo>
                      <a:pt x="748" y="206"/>
                    </a:lnTo>
                    <a:lnTo>
                      <a:pt x="745" y="208"/>
                    </a:lnTo>
                    <a:lnTo>
                      <a:pt x="663" y="208"/>
                    </a:lnTo>
                    <a:lnTo>
                      <a:pt x="658" y="206"/>
                    </a:lnTo>
                    <a:lnTo>
                      <a:pt x="656" y="206"/>
                    </a:lnTo>
                    <a:lnTo>
                      <a:pt x="651" y="203"/>
                    </a:lnTo>
                    <a:lnTo>
                      <a:pt x="648" y="202"/>
                    </a:lnTo>
                    <a:lnTo>
                      <a:pt x="647" y="199"/>
                    </a:lnTo>
                    <a:lnTo>
                      <a:pt x="644" y="196"/>
                    </a:lnTo>
                    <a:lnTo>
                      <a:pt x="644" y="192"/>
                    </a:lnTo>
                    <a:lnTo>
                      <a:pt x="643" y="188"/>
                    </a:lnTo>
                    <a:lnTo>
                      <a:pt x="643" y="106"/>
                    </a:lnTo>
                    <a:lnTo>
                      <a:pt x="644" y="103"/>
                    </a:lnTo>
                    <a:lnTo>
                      <a:pt x="644" y="98"/>
                    </a:lnTo>
                    <a:lnTo>
                      <a:pt x="647" y="95"/>
                    </a:lnTo>
                    <a:lnTo>
                      <a:pt x="648" y="93"/>
                    </a:lnTo>
                    <a:lnTo>
                      <a:pt x="700" y="41"/>
                    </a:lnTo>
                    <a:lnTo>
                      <a:pt x="689" y="39"/>
                    </a:lnTo>
                    <a:lnTo>
                      <a:pt x="676" y="39"/>
                    </a:lnTo>
                    <a:lnTo>
                      <a:pt x="663" y="39"/>
                    </a:lnTo>
                    <a:lnTo>
                      <a:pt x="650" y="42"/>
                    </a:lnTo>
                    <a:lnTo>
                      <a:pt x="637" y="45"/>
                    </a:lnTo>
                    <a:lnTo>
                      <a:pt x="624" y="49"/>
                    </a:lnTo>
                    <a:lnTo>
                      <a:pt x="612" y="55"/>
                    </a:lnTo>
                    <a:lnTo>
                      <a:pt x="601" y="62"/>
                    </a:lnTo>
                    <a:lnTo>
                      <a:pt x="591" y="70"/>
                    </a:lnTo>
                    <a:lnTo>
                      <a:pt x="581" y="78"/>
                    </a:lnTo>
                    <a:lnTo>
                      <a:pt x="574" y="87"/>
                    </a:lnTo>
                    <a:lnTo>
                      <a:pt x="568" y="94"/>
                    </a:lnTo>
                    <a:lnTo>
                      <a:pt x="562" y="103"/>
                    </a:lnTo>
                    <a:lnTo>
                      <a:pt x="556" y="111"/>
                    </a:lnTo>
                    <a:lnTo>
                      <a:pt x="552" y="120"/>
                    </a:lnTo>
                    <a:lnTo>
                      <a:pt x="549" y="130"/>
                    </a:lnTo>
                    <a:lnTo>
                      <a:pt x="546" y="139"/>
                    </a:lnTo>
                    <a:lnTo>
                      <a:pt x="543" y="149"/>
                    </a:lnTo>
                    <a:lnTo>
                      <a:pt x="542" y="159"/>
                    </a:lnTo>
                    <a:lnTo>
                      <a:pt x="540" y="167"/>
                    </a:lnTo>
                    <a:lnTo>
                      <a:pt x="540" y="178"/>
                    </a:lnTo>
                    <a:lnTo>
                      <a:pt x="542" y="188"/>
                    </a:lnTo>
                    <a:lnTo>
                      <a:pt x="543" y="198"/>
                    </a:lnTo>
                    <a:lnTo>
                      <a:pt x="545" y="208"/>
                    </a:lnTo>
                    <a:lnTo>
                      <a:pt x="548" y="218"/>
                    </a:lnTo>
                    <a:lnTo>
                      <a:pt x="552" y="227"/>
                    </a:lnTo>
                    <a:lnTo>
                      <a:pt x="553" y="232"/>
                    </a:lnTo>
                    <a:lnTo>
                      <a:pt x="553" y="238"/>
                    </a:lnTo>
                    <a:lnTo>
                      <a:pt x="550" y="244"/>
                    </a:lnTo>
                    <a:lnTo>
                      <a:pt x="548" y="248"/>
                    </a:lnTo>
                    <a:lnTo>
                      <a:pt x="248" y="548"/>
                    </a:lnTo>
                    <a:lnTo>
                      <a:pt x="244" y="552"/>
                    </a:lnTo>
                    <a:lnTo>
                      <a:pt x="238" y="553"/>
                    </a:lnTo>
                    <a:lnTo>
                      <a:pt x="232" y="553"/>
                    </a:lnTo>
                    <a:lnTo>
                      <a:pt x="226" y="552"/>
                    </a:lnTo>
                    <a:lnTo>
                      <a:pt x="214" y="548"/>
                    </a:lnTo>
                    <a:lnTo>
                      <a:pt x="201" y="545"/>
                    </a:lnTo>
                    <a:lnTo>
                      <a:pt x="188" y="542"/>
                    </a:lnTo>
                    <a:lnTo>
                      <a:pt x="173" y="542"/>
                    </a:lnTo>
                    <a:lnTo>
                      <a:pt x="160" y="542"/>
                    </a:lnTo>
                    <a:lnTo>
                      <a:pt x="147" y="543"/>
                    </a:lnTo>
                    <a:lnTo>
                      <a:pt x="134" y="548"/>
                    </a:lnTo>
                    <a:lnTo>
                      <a:pt x="123" y="552"/>
                    </a:lnTo>
                    <a:lnTo>
                      <a:pt x="110" y="558"/>
                    </a:lnTo>
                    <a:lnTo>
                      <a:pt x="98" y="564"/>
                    </a:lnTo>
                    <a:lnTo>
                      <a:pt x="88" y="572"/>
                    </a:lnTo>
                    <a:lnTo>
                      <a:pt x="78" y="581"/>
                    </a:lnTo>
                    <a:lnTo>
                      <a:pt x="67" y="594"/>
                    </a:lnTo>
                    <a:lnTo>
                      <a:pt x="58" y="607"/>
                    </a:lnTo>
                    <a:lnTo>
                      <a:pt x="51" y="621"/>
                    </a:lnTo>
                    <a:lnTo>
                      <a:pt x="45" y="637"/>
                    </a:lnTo>
                    <a:lnTo>
                      <a:pt x="41" y="651"/>
                    </a:lnTo>
                    <a:lnTo>
                      <a:pt x="39" y="669"/>
                    </a:lnTo>
                    <a:lnTo>
                      <a:pt x="39" y="685"/>
                    </a:lnTo>
                    <a:lnTo>
                      <a:pt x="41" y="700"/>
                    </a:lnTo>
                    <a:lnTo>
                      <a:pt x="93" y="650"/>
                    </a:lnTo>
                    <a:lnTo>
                      <a:pt x="95" y="647"/>
                    </a:lnTo>
                    <a:lnTo>
                      <a:pt x="98" y="646"/>
                    </a:lnTo>
                    <a:lnTo>
                      <a:pt x="103" y="644"/>
                    </a:lnTo>
                    <a:lnTo>
                      <a:pt x="106" y="644"/>
                    </a:lnTo>
                    <a:lnTo>
                      <a:pt x="188" y="644"/>
                    </a:lnTo>
                    <a:lnTo>
                      <a:pt x="192" y="644"/>
                    </a:lnTo>
                    <a:lnTo>
                      <a:pt x="195" y="646"/>
                    </a:lnTo>
                    <a:lnTo>
                      <a:pt x="199" y="647"/>
                    </a:lnTo>
                    <a:lnTo>
                      <a:pt x="202" y="650"/>
                    </a:lnTo>
                    <a:lnTo>
                      <a:pt x="203" y="653"/>
                    </a:lnTo>
                    <a:lnTo>
                      <a:pt x="205" y="656"/>
                    </a:lnTo>
                    <a:lnTo>
                      <a:pt x="206" y="659"/>
                    </a:lnTo>
                    <a:lnTo>
                      <a:pt x="206" y="663"/>
                    </a:lnTo>
                    <a:lnTo>
                      <a:pt x="206" y="745"/>
                    </a:lnTo>
                    <a:lnTo>
                      <a:pt x="206" y="749"/>
                    </a:lnTo>
                    <a:lnTo>
                      <a:pt x="205" y="752"/>
                    </a:lnTo>
                    <a:lnTo>
                      <a:pt x="203" y="755"/>
                    </a:lnTo>
                    <a:lnTo>
                      <a:pt x="202" y="758"/>
                    </a:lnTo>
                    <a:lnTo>
                      <a:pt x="150" y="810"/>
                    </a:lnTo>
                    <a:close/>
                    <a:moveTo>
                      <a:pt x="175" y="850"/>
                    </a:moveTo>
                    <a:lnTo>
                      <a:pt x="156" y="850"/>
                    </a:lnTo>
                    <a:lnTo>
                      <a:pt x="140" y="847"/>
                    </a:lnTo>
                    <a:lnTo>
                      <a:pt x="123" y="843"/>
                    </a:lnTo>
                    <a:lnTo>
                      <a:pt x="106" y="837"/>
                    </a:lnTo>
                    <a:lnTo>
                      <a:pt x="103" y="834"/>
                    </a:lnTo>
                    <a:lnTo>
                      <a:pt x="98" y="831"/>
                    </a:lnTo>
                    <a:lnTo>
                      <a:pt x="97" y="827"/>
                    </a:lnTo>
                    <a:lnTo>
                      <a:pt x="95" y="823"/>
                    </a:lnTo>
                    <a:lnTo>
                      <a:pt x="94" y="817"/>
                    </a:lnTo>
                    <a:lnTo>
                      <a:pt x="95" y="813"/>
                    </a:lnTo>
                    <a:lnTo>
                      <a:pt x="97" y="808"/>
                    </a:lnTo>
                    <a:lnTo>
                      <a:pt x="100" y="806"/>
                    </a:lnTo>
                    <a:lnTo>
                      <a:pt x="169" y="736"/>
                    </a:lnTo>
                    <a:lnTo>
                      <a:pt x="169" y="682"/>
                    </a:lnTo>
                    <a:lnTo>
                      <a:pt x="114" y="682"/>
                    </a:lnTo>
                    <a:lnTo>
                      <a:pt x="45" y="751"/>
                    </a:lnTo>
                    <a:lnTo>
                      <a:pt x="42" y="754"/>
                    </a:lnTo>
                    <a:lnTo>
                      <a:pt x="38" y="755"/>
                    </a:lnTo>
                    <a:lnTo>
                      <a:pt x="34" y="757"/>
                    </a:lnTo>
                    <a:lnTo>
                      <a:pt x="28" y="755"/>
                    </a:lnTo>
                    <a:lnTo>
                      <a:pt x="23" y="754"/>
                    </a:lnTo>
                    <a:lnTo>
                      <a:pt x="19" y="752"/>
                    </a:lnTo>
                    <a:lnTo>
                      <a:pt x="16" y="748"/>
                    </a:lnTo>
                    <a:lnTo>
                      <a:pt x="13" y="745"/>
                    </a:lnTo>
                    <a:lnTo>
                      <a:pt x="9" y="732"/>
                    </a:lnTo>
                    <a:lnTo>
                      <a:pt x="6" y="719"/>
                    </a:lnTo>
                    <a:lnTo>
                      <a:pt x="3" y="706"/>
                    </a:lnTo>
                    <a:lnTo>
                      <a:pt x="0" y="695"/>
                    </a:lnTo>
                    <a:lnTo>
                      <a:pt x="0" y="682"/>
                    </a:lnTo>
                    <a:lnTo>
                      <a:pt x="0" y="669"/>
                    </a:lnTo>
                    <a:lnTo>
                      <a:pt x="2" y="656"/>
                    </a:lnTo>
                    <a:lnTo>
                      <a:pt x="3" y="643"/>
                    </a:lnTo>
                    <a:lnTo>
                      <a:pt x="6" y="631"/>
                    </a:lnTo>
                    <a:lnTo>
                      <a:pt x="10" y="618"/>
                    </a:lnTo>
                    <a:lnTo>
                      <a:pt x="15" y="607"/>
                    </a:lnTo>
                    <a:lnTo>
                      <a:pt x="21" y="595"/>
                    </a:lnTo>
                    <a:lnTo>
                      <a:pt x="26" y="584"/>
                    </a:lnTo>
                    <a:lnTo>
                      <a:pt x="34" y="574"/>
                    </a:lnTo>
                    <a:lnTo>
                      <a:pt x="42" y="564"/>
                    </a:lnTo>
                    <a:lnTo>
                      <a:pt x="51" y="553"/>
                    </a:lnTo>
                    <a:lnTo>
                      <a:pt x="64" y="542"/>
                    </a:lnTo>
                    <a:lnTo>
                      <a:pt x="78" y="532"/>
                    </a:lnTo>
                    <a:lnTo>
                      <a:pt x="93" y="523"/>
                    </a:lnTo>
                    <a:lnTo>
                      <a:pt x="107" y="516"/>
                    </a:lnTo>
                    <a:lnTo>
                      <a:pt x="123" y="510"/>
                    </a:lnTo>
                    <a:lnTo>
                      <a:pt x="140" y="506"/>
                    </a:lnTo>
                    <a:lnTo>
                      <a:pt x="156" y="503"/>
                    </a:lnTo>
                    <a:lnTo>
                      <a:pt x="173" y="503"/>
                    </a:lnTo>
                    <a:lnTo>
                      <a:pt x="188" y="503"/>
                    </a:lnTo>
                    <a:lnTo>
                      <a:pt x="202" y="504"/>
                    </a:lnTo>
                    <a:lnTo>
                      <a:pt x="216" y="507"/>
                    </a:lnTo>
                    <a:lnTo>
                      <a:pt x="229" y="512"/>
                    </a:lnTo>
                    <a:lnTo>
                      <a:pt x="512" y="229"/>
                    </a:lnTo>
                    <a:lnTo>
                      <a:pt x="507" y="218"/>
                    </a:lnTo>
                    <a:lnTo>
                      <a:pt x="506" y="206"/>
                    </a:lnTo>
                    <a:lnTo>
                      <a:pt x="503" y="195"/>
                    </a:lnTo>
                    <a:lnTo>
                      <a:pt x="503" y="182"/>
                    </a:lnTo>
                    <a:lnTo>
                      <a:pt x="502" y="170"/>
                    </a:lnTo>
                    <a:lnTo>
                      <a:pt x="503" y="159"/>
                    </a:lnTo>
                    <a:lnTo>
                      <a:pt x="504" y="147"/>
                    </a:lnTo>
                    <a:lnTo>
                      <a:pt x="507" y="134"/>
                    </a:lnTo>
                    <a:lnTo>
                      <a:pt x="510" y="123"/>
                    </a:lnTo>
                    <a:lnTo>
                      <a:pt x="513" y="113"/>
                    </a:lnTo>
                    <a:lnTo>
                      <a:pt x="519" y="101"/>
                    </a:lnTo>
                    <a:lnTo>
                      <a:pt x="523" y="91"/>
                    </a:lnTo>
                    <a:lnTo>
                      <a:pt x="530" y="80"/>
                    </a:lnTo>
                    <a:lnTo>
                      <a:pt x="538" y="70"/>
                    </a:lnTo>
                    <a:lnTo>
                      <a:pt x="545" y="61"/>
                    </a:lnTo>
                    <a:lnTo>
                      <a:pt x="553" y="51"/>
                    </a:lnTo>
                    <a:lnTo>
                      <a:pt x="566" y="39"/>
                    </a:lnTo>
                    <a:lnTo>
                      <a:pt x="579" y="29"/>
                    </a:lnTo>
                    <a:lnTo>
                      <a:pt x="594" y="21"/>
                    </a:lnTo>
                    <a:lnTo>
                      <a:pt x="610" y="13"/>
                    </a:lnTo>
                    <a:lnTo>
                      <a:pt x="625" y="8"/>
                    </a:lnTo>
                    <a:lnTo>
                      <a:pt x="641" y="3"/>
                    </a:lnTo>
                    <a:lnTo>
                      <a:pt x="658" y="2"/>
                    </a:lnTo>
                    <a:lnTo>
                      <a:pt x="676" y="0"/>
                    </a:lnTo>
                    <a:lnTo>
                      <a:pt x="693" y="2"/>
                    </a:lnTo>
                    <a:lnTo>
                      <a:pt x="710" y="5"/>
                    </a:lnTo>
                    <a:lnTo>
                      <a:pt x="728" y="9"/>
                    </a:lnTo>
                    <a:lnTo>
                      <a:pt x="743" y="15"/>
                    </a:lnTo>
                    <a:lnTo>
                      <a:pt x="748" y="16"/>
                    </a:lnTo>
                    <a:lnTo>
                      <a:pt x="751" y="21"/>
                    </a:lnTo>
                    <a:lnTo>
                      <a:pt x="754" y="23"/>
                    </a:lnTo>
                    <a:lnTo>
                      <a:pt x="755" y="29"/>
                    </a:lnTo>
                    <a:lnTo>
                      <a:pt x="755" y="34"/>
                    </a:lnTo>
                    <a:lnTo>
                      <a:pt x="755" y="38"/>
                    </a:lnTo>
                    <a:lnTo>
                      <a:pt x="754" y="42"/>
                    </a:lnTo>
                    <a:lnTo>
                      <a:pt x="751" y="46"/>
                    </a:lnTo>
                    <a:lnTo>
                      <a:pt x="682" y="114"/>
                    </a:lnTo>
                    <a:lnTo>
                      <a:pt x="682" y="169"/>
                    </a:lnTo>
                    <a:lnTo>
                      <a:pt x="736" y="169"/>
                    </a:lnTo>
                    <a:lnTo>
                      <a:pt x="804" y="100"/>
                    </a:lnTo>
                    <a:lnTo>
                      <a:pt x="808" y="97"/>
                    </a:lnTo>
                    <a:lnTo>
                      <a:pt x="813" y="95"/>
                    </a:lnTo>
                    <a:lnTo>
                      <a:pt x="817" y="95"/>
                    </a:lnTo>
                    <a:lnTo>
                      <a:pt x="821" y="95"/>
                    </a:lnTo>
                    <a:lnTo>
                      <a:pt x="827" y="97"/>
                    </a:lnTo>
                    <a:lnTo>
                      <a:pt x="830" y="100"/>
                    </a:lnTo>
                    <a:lnTo>
                      <a:pt x="834" y="103"/>
                    </a:lnTo>
                    <a:lnTo>
                      <a:pt x="836" y="107"/>
                    </a:lnTo>
                    <a:lnTo>
                      <a:pt x="841" y="118"/>
                    </a:lnTo>
                    <a:lnTo>
                      <a:pt x="844" y="131"/>
                    </a:lnTo>
                    <a:lnTo>
                      <a:pt x="847" y="144"/>
                    </a:lnTo>
                    <a:lnTo>
                      <a:pt x="849" y="157"/>
                    </a:lnTo>
                    <a:lnTo>
                      <a:pt x="850" y="170"/>
                    </a:lnTo>
                    <a:lnTo>
                      <a:pt x="850" y="182"/>
                    </a:lnTo>
                    <a:lnTo>
                      <a:pt x="849" y="195"/>
                    </a:lnTo>
                    <a:lnTo>
                      <a:pt x="847" y="208"/>
                    </a:lnTo>
                    <a:lnTo>
                      <a:pt x="844" y="221"/>
                    </a:lnTo>
                    <a:lnTo>
                      <a:pt x="840" y="232"/>
                    </a:lnTo>
                    <a:lnTo>
                      <a:pt x="836" y="244"/>
                    </a:lnTo>
                    <a:lnTo>
                      <a:pt x="830" y="255"/>
                    </a:lnTo>
                    <a:lnTo>
                      <a:pt x="824" y="267"/>
                    </a:lnTo>
                    <a:lnTo>
                      <a:pt x="815" y="277"/>
                    </a:lnTo>
                    <a:lnTo>
                      <a:pt x="808" y="287"/>
                    </a:lnTo>
                    <a:lnTo>
                      <a:pt x="800" y="297"/>
                    </a:lnTo>
                    <a:lnTo>
                      <a:pt x="787" y="309"/>
                    </a:lnTo>
                    <a:lnTo>
                      <a:pt x="772" y="319"/>
                    </a:lnTo>
                    <a:lnTo>
                      <a:pt x="758" y="327"/>
                    </a:lnTo>
                    <a:lnTo>
                      <a:pt x="742" y="335"/>
                    </a:lnTo>
                    <a:lnTo>
                      <a:pt x="726" y="340"/>
                    </a:lnTo>
                    <a:lnTo>
                      <a:pt x="710" y="345"/>
                    </a:lnTo>
                    <a:lnTo>
                      <a:pt x="693" y="347"/>
                    </a:lnTo>
                    <a:lnTo>
                      <a:pt x="676" y="347"/>
                    </a:lnTo>
                    <a:lnTo>
                      <a:pt x="661" y="347"/>
                    </a:lnTo>
                    <a:lnTo>
                      <a:pt x="648" y="346"/>
                    </a:lnTo>
                    <a:lnTo>
                      <a:pt x="634" y="343"/>
                    </a:lnTo>
                    <a:lnTo>
                      <a:pt x="621" y="339"/>
                    </a:lnTo>
                    <a:lnTo>
                      <a:pt x="339" y="621"/>
                    </a:lnTo>
                    <a:lnTo>
                      <a:pt x="342" y="633"/>
                    </a:lnTo>
                    <a:lnTo>
                      <a:pt x="345" y="644"/>
                    </a:lnTo>
                    <a:lnTo>
                      <a:pt x="346" y="657"/>
                    </a:lnTo>
                    <a:lnTo>
                      <a:pt x="347" y="669"/>
                    </a:lnTo>
                    <a:lnTo>
                      <a:pt x="347" y="680"/>
                    </a:lnTo>
                    <a:lnTo>
                      <a:pt x="347" y="693"/>
                    </a:lnTo>
                    <a:lnTo>
                      <a:pt x="346" y="705"/>
                    </a:lnTo>
                    <a:lnTo>
                      <a:pt x="343" y="716"/>
                    </a:lnTo>
                    <a:lnTo>
                      <a:pt x="340" y="728"/>
                    </a:lnTo>
                    <a:lnTo>
                      <a:pt x="336" y="739"/>
                    </a:lnTo>
                    <a:lnTo>
                      <a:pt x="332" y="749"/>
                    </a:lnTo>
                    <a:lnTo>
                      <a:pt x="326" y="761"/>
                    </a:lnTo>
                    <a:lnTo>
                      <a:pt x="320" y="771"/>
                    </a:lnTo>
                    <a:lnTo>
                      <a:pt x="313" y="781"/>
                    </a:lnTo>
                    <a:lnTo>
                      <a:pt x="306" y="791"/>
                    </a:lnTo>
                    <a:lnTo>
                      <a:pt x="297" y="800"/>
                    </a:lnTo>
                    <a:lnTo>
                      <a:pt x="284" y="811"/>
                    </a:lnTo>
                    <a:lnTo>
                      <a:pt x="270" y="821"/>
                    </a:lnTo>
                    <a:lnTo>
                      <a:pt x="255" y="830"/>
                    </a:lnTo>
                    <a:lnTo>
                      <a:pt x="241" y="837"/>
                    </a:lnTo>
                    <a:lnTo>
                      <a:pt x="225" y="843"/>
                    </a:lnTo>
                    <a:lnTo>
                      <a:pt x="208" y="847"/>
                    </a:lnTo>
                    <a:lnTo>
                      <a:pt x="192" y="850"/>
                    </a:lnTo>
                    <a:lnTo>
                      <a:pt x="17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415"/>
              <p:cNvSpPr>
                <a:spLocks noEditPoints="1"/>
              </p:cNvSpPr>
              <p:nvPr/>
            </p:nvSpPr>
            <p:spPr bwMode="auto">
              <a:xfrm>
                <a:off x="2291495" y="4041972"/>
                <a:ext cx="152879" cy="152879"/>
              </a:xfrm>
              <a:custGeom>
                <a:avLst/>
                <a:gdLst>
                  <a:gd name="T0" fmla="*/ 210 w 315"/>
                  <a:gd name="T1" fmla="*/ 265 h 315"/>
                  <a:gd name="T2" fmla="*/ 223 w 315"/>
                  <a:gd name="T3" fmla="*/ 273 h 315"/>
                  <a:gd name="T4" fmla="*/ 237 w 315"/>
                  <a:gd name="T5" fmla="*/ 276 h 315"/>
                  <a:gd name="T6" fmla="*/ 252 w 315"/>
                  <a:gd name="T7" fmla="*/ 273 h 315"/>
                  <a:gd name="T8" fmla="*/ 265 w 315"/>
                  <a:gd name="T9" fmla="*/ 265 h 315"/>
                  <a:gd name="T10" fmla="*/ 273 w 315"/>
                  <a:gd name="T11" fmla="*/ 253 h 315"/>
                  <a:gd name="T12" fmla="*/ 276 w 315"/>
                  <a:gd name="T13" fmla="*/ 237 h 315"/>
                  <a:gd name="T14" fmla="*/ 273 w 315"/>
                  <a:gd name="T15" fmla="*/ 223 h 315"/>
                  <a:gd name="T16" fmla="*/ 265 w 315"/>
                  <a:gd name="T17" fmla="*/ 211 h 315"/>
                  <a:gd name="T18" fmla="*/ 47 w 315"/>
                  <a:gd name="T19" fmla="*/ 102 h 315"/>
                  <a:gd name="T20" fmla="*/ 230 w 315"/>
                  <a:gd name="T21" fmla="*/ 315 h 315"/>
                  <a:gd name="T22" fmla="*/ 216 w 315"/>
                  <a:gd name="T23" fmla="*/ 312 h 315"/>
                  <a:gd name="T24" fmla="*/ 201 w 315"/>
                  <a:gd name="T25" fmla="*/ 307 h 315"/>
                  <a:gd name="T26" fmla="*/ 188 w 315"/>
                  <a:gd name="T27" fmla="*/ 298 h 315"/>
                  <a:gd name="T28" fmla="*/ 5 w 315"/>
                  <a:gd name="T29" fmla="*/ 115 h 315"/>
                  <a:gd name="T30" fmla="*/ 1 w 315"/>
                  <a:gd name="T31" fmla="*/ 109 h 315"/>
                  <a:gd name="T32" fmla="*/ 0 w 315"/>
                  <a:gd name="T33" fmla="*/ 102 h 315"/>
                  <a:gd name="T34" fmla="*/ 1 w 315"/>
                  <a:gd name="T35" fmla="*/ 95 h 315"/>
                  <a:gd name="T36" fmla="*/ 5 w 315"/>
                  <a:gd name="T37" fmla="*/ 88 h 315"/>
                  <a:gd name="T38" fmla="*/ 90 w 315"/>
                  <a:gd name="T39" fmla="*/ 4 h 315"/>
                  <a:gd name="T40" fmla="*/ 98 w 315"/>
                  <a:gd name="T41" fmla="*/ 1 h 315"/>
                  <a:gd name="T42" fmla="*/ 105 w 315"/>
                  <a:gd name="T43" fmla="*/ 1 h 315"/>
                  <a:gd name="T44" fmla="*/ 112 w 315"/>
                  <a:gd name="T45" fmla="*/ 4 h 315"/>
                  <a:gd name="T46" fmla="*/ 292 w 315"/>
                  <a:gd name="T47" fmla="*/ 184 h 315"/>
                  <a:gd name="T48" fmla="*/ 302 w 315"/>
                  <a:gd name="T49" fmla="*/ 196 h 315"/>
                  <a:gd name="T50" fmla="*/ 309 w 315"/>
                  <a:gd name="T51" fmla="*/ 209 h 315"/>
                  <a:gd name="T52" fmla="*/ 314 w 315"/>
                  <a:gd name="T53" fmla="*/ 223 h 315"/>
                  <a:gd name="T54" fmla="*/ 315 w 315"/>
                  <a:gd name="T55" fmla="*/ 237 h 315"/>
                  <a:gd name="T56" fmla="*/ 314 w 315"/>
                  <a:gd name="T57" fmla="*/ 253 h 315"/>
                  <a:gd name="T58" fmla="*/ 309 w 315"/>
                  <a:gd name="T59" fmla="*/ 268 h 315"/>
                  <a:gd name="T60" fmla="*/ 302 w 315"/>
                  <a:gd name="T61" fmla="*/ 281 h 315"/>
                  <a:gd name="T62" fmla="*/ 292 w 315"/>
                  <a:gd name="T63" fmla="*/ 292 h 315"/>
                  <a:gd name="T64" fmla="*/ 280 w 315"/>
                  <a:gd name="T65" fmla="*/ 302 h 315"/>
                  <a:gd name="T66" fmla="*/ 267 w 315"/>
                  <a:gd name="T67" fmla="*/ 309 h 315"/>
                  <a:gd name="T68" fmla="*/ 253 w 315"/>
                  <a:gd name="T69" fmla="*/ 314 h 315"/>
                  <a:gd name="T70" fmla="*/ 237 w 315"/>
                  <a:gd name="T71"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5" h="315">
                    <a:moveTo>
                      <a:pt x="47" y="102"/>
                    </a:moveTo>
                    <a:lnTo>
                      <a:pt x="210" y="265"/>
                    </a:lnTo>
                    <a:lnTo>
                      <a:pt x="216" y="271"/>
                    </a:lnTo>
                    <a:lnTo>
                      <a:pt x="223" y="273"/>
                    </a:lnTo>
                    <a:lnTo>
                      <a:pt x="230" y="276"/>
                    </a:lnTo>
                    <a:lnTo>
                      <a:pt x="237" y="276"/>
                    </a:lnTo>
                    <a:lnTo>
                      <a:pt x="244" y="276"/>
                    </a:lnTo>
                    <a:lnTo>
                      <a:pt x="252" y="273"/>
                    </a:lnTo>
                    <a:lnTo>
                      <a:pt x="259" y="271"/>
                    </a:lnTo>
                    <a:lnTo>
                      <a:pt x="265" y="265"/>
                    </a:lnTo>
                    <a:lnTo>
                      <a:pt x="270" y="259"/>
                    </a:lnTo>
                    <a:lnTo>
                      <a:pt x="273" y="253"/>
                    </a:lnTo>
                    <a:lnTo>
                      <a:pt x="276" y="246"/>
                    </a:lnTo>
                    <a:lnTo>
                      <a:pt x="276" y="237"/>
                    </a:lnTo>
                    <a:lnTo>
                      <a:pt x="276" y="230"/>
                    </a:lnTo>
                    <a:lnTo>
                      <a:pt x="273" y="223"/>
                    </a:lnTo>
                    <a:lnTo>
                      <a:pt x="270" y="217"/>
                    </a:lnTo>
                    <a:lnTo>
                      <a:pt x="265" y="211"/>
                    </a:lnTo>
                    <a:lnTo>
                      <a:pt x="100" y="47"/>
                    </a:lnTo>
                    <a:lnTo>
                      <a:pt x="47" y="102"/>
                    </a:lnTo>
                    <a:close/>
                    <a:moveTo>
                      <a:pt x="237" y="315"/>
                    </a:moveTo>
                    <a:lnTo>
                      <a:pt x="230" y="315"/>
                    </a:lnTo>
                    <a:lnTo>
                      <a:pt x="223" y="314"/>
                    </a:lnTo>
                    <a:lnTo>
                      <a:pt x="216" y="312"/>
                    </a:lnTo>
                    <a:lnTo>
                      <a:pt x="208" y="309"/>
                    </a:lnTo>
                    <a:lnTo>
                      <a:pt x="201" y="307"/>
                    </a:lnTo>
                    <a:lnTo>
                      <a:pt x="195" y="302"/>
                    </a:lnTo>
                    <a:lnTo>
                      <a:pt x="188" y="298"/>
                    </a:lnTo>
                    <a:lnTo>
                      <a:pt x="183" y="292"/>
                    </a:lnTo>
                    <a:lnTo>
                      <a:pt x="5" y="115"/>
                    </a:lnTo>
                    <a:lnTo>
                      <a:pt x="3" y="112"/>
                    </a:lnTo>
                    <a:lnTo>
                      <a:pt x="1" y="109"/>
                    </a:lnTo>
                    <a:lnTo>
                      <a:pt x="0" y="105"/>
                    </a:lnTo>
                    <a:lnTo>
                      <a:pt x="0" y="102"/>
                    </a:lnTo>
                    <a:lnTo>
                      <a:pt x="0" y="98"/>
                    </a:lnTo>
                    <a:lnTo>
                      <a:pt x="1" y="95"/>
                    </a:lnTo>
                    <a:lnTo>
                      <a:pt x="3" y="90"/>
                    </a:lnTo>
                    <a:lnTo>
                      <a:pt x="5" y="88"/>
                    </a:lnTo>
                    <a:lnTo>
                      <a:pt x="87" y="6"/>
                    </a:lnTo>
                    <a:lnTo>
                      <a:pt x="90" y="4"/>
                    </a:lnTo>
                    <a:lnTo>
                      <a:pt x="93" y="1"/>
                    </a:lnTo>
                    <a:lnTo>
                      <a:pt x="98" y="1"/>
                    </a:lnTo>
                    <a:lnTo>
                      <a:pt x="100" y="0"/>
                    </a:lnTo>
                    <a:lnTo>
                      <a:pt x="105" y="1"/>
                    </a:lnTo>
                    <a:lnTo>
                      <a:pt x="109" y="1"/>
                    </a:lnTo>
                    <a:lnTo>
                      <a:pt x="112" y="4"/>
                    </a:lnTo>
                    <a:lnTo>
                      <a:pt x="115" y="6"/>
                    </a:lnTo>
                    <a:lnTo>
                      <a:pt x="292" y="184"/>
                    </a:lnTo>
                    <a:lnTo>
                      <a:pt x="298" y="188"/>
                    </a:lnTo>
                    <a:lnTo>
                      <a:pt x="302" y="196"/>
                    </a:lnTo>
                    <a:lnTo>
                      <a:pt x="306" y="201"/>
                    </a:lnTo>
                    <a:lnTo>
                      <a:pt x="309" y="209"/>
                    </a:lnTo>
                    <a:lnTo>
                      <a:pt x="312" y="216"/>
                    </a:lnTo>
                    <a:lnTo>
                      <a:pt x="314" y="223"/>
                    </a:lnTo>
                    <a:lnTo>
                      <a:pt x="315" y="230"/>
                    </a:lnTo>
                    <a:lnTo>
                      <a:pt x="315" y="237"/>
                    </a:lnTo>
                    <a:lnTo>
                      <a:pt x="315" y="246"/>
                    </a:lnTo>
                    <a:lnTo>
                      <a:pt x="314" y="253"/>
                    </a:lnTo>
                    <a:lnTo>
                      <a:pt x="312" y="260"/>
                    </a:lnTo>
                    <a:lnTo>
                      <a:pt x="309" y="268"/>
                    </a:lnTo>
                    <a:lnTo>
                      <a:pt x="306" y="275"/>
                    </a:lnTo>
                    <a:lnTo>
                      <a:pt x="302" y="281"/>
                    </a:lnTo>
                    <a:lnTo>
                      <a:pt x="298" y="286"/>
                    </a:lnTo>
                    <a:lnTo>
                      <a:pt x="292" y="292"/>
                    </a:lnTo>
                    <a:lnTo>
                      <a:pt x="286" y="298"/>
                    </a:lnTo>
                    <a:lnTo>
                      <a:pt x="280" y="302"/>
                    </a:lnTo>
                    <a:lnTo>
                      <a:pt x="275" y="307"/>
                    </a:lnTo>
                    <a:lnTo>
                      <a:pt x="267" y="309"/>
                    </a:lnTo>
                    <a:lnTo>
                      <a:pt x="260" y="312"/>
                    </a:lnTo>
                    <a:lnTo>
                      <a:pt x="253" y="314"/>
                    </a:lnTo>
                    <a:lnTo>
                      <a:pt x="246" y="315"/>
                    </a:lnTo>
                    <a:lnTo>
                      <a:pt x="237"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416"/>
              <p:cNvSpPr>
                <a:spLocks/>
              </p:cNvSpPr>
              <p:nvPr/>
            </p:nvSpPr>
            <p:spPr bwMode="auto">
              <a:xfrm>
                <a:off x="2100760" y="3851237"/>
                <a:ext cx="120847" cy="120847"/>
              </a:xfrm>
              <a:custGeom>
                <a:avLst/>
                <a:gdLst>
                  <a:gd name="T0" fmla="*/ 27 w 248"/>
                  <a:gd name="T1" fmla="*/ 0 h 248"/>
                  <a:gd name="T2" fmla="*/ 248 w 248"/>
                  <a:gd name="T3" fmla="*/ 220 h 248"/>
                  <a:gd name="T4" fmla="*/ 220 w 248"/>
                  <a:gd name="T5" fmla="*/ 248 h 248"/>
                  <a:gd name="T6" fmla="*/ 0 w 248"/>
                  <a:gd name="T7" fmla="*/ 27 h 248"/>
                  <a:gd name="T8" fmla="*/ 27 w 248"/>
                  <a:gd name="T9" fmla="*/ 0 h 248"/>
                </a:gdLst>
                <a:ahLst/>
                <a:cxnLst>
                  <a:cxn ang="0">
                    <a:pos x="T0" y="T1"/>
                  </a:cxn>
                  <a:cxn ang="0">
                    <a:pos x="T2" y="T3"/>
                  </a:cxn>
                  <a:cxn ang="0">
                    <a:pos x="T4" y="T5"/>
                  </a:cxn>
                  <a:cxn ang="0">
                    <a:pos x="T6" y="T7"/>
                  </a:cxn>
                  <a:cxn ang="0">
                    <a:pos x="T8" y="T9"/>
                  </a:cxn>
                </a:cxnLst>
                <a:rect l="0" t="0" r="r" b="b"/>
                <a:pathLst>
                  <a:path w="248" h="248">
                    <a:moveTo>
                      <a:pt x="27" y="0"/>
                    </a:moveTo>
                    <a:lnTo>
                      <a:pt x="248" y="220"/>
                    </a:lnTo>
                    <a:lnTo>
                      <a:pt x="220" y="248"/>
                    </a:lnTo>
                    <a:lnTo>
                      <a:pt x="0" y="27"/>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417"/>
              <p:cNvSpPr>
                <a:spLocks/>
              </p:cNvSpPr>
              <p:nvPr/>
            </p:nvSpPr>
            <p:spPr bwMode="auto">
              <a:xfrm>
                <a:off x="2271111" y="4021588"/>
                <a:ext cx="99007" cy="97551"/>
              </a:xfrm>
              <a:custGeom>
                <a:avLst/>
                <a:gdLst>
                  <a:gd name="T0" fmla="*/ 19 w 202"/>
                  <a:gd name="T1" fmla="*/ 202 h 202"/>
                  <a:gd name="T2" fmla="*/ 16 w 202"/>
                  <a:gd name="T3" fmla="*/ 202 h 202"/>
                  <a:gd name="T4" fmla="*/ 12 w 202"/>
                  <a:gd name="T5" fmla="*/ 202 h 202"/>
                  <a:gd name="T6" fmla="*/ 9 w 202"/>
                  <a:gd name="T7" fmla="*/ 199 h 202"/>
                  <a:gd name="T8" fmla="*/ 6 w 202"/>
                  <a:gd name="T9" fmla="*/ 198 h 202"/>
                  <a:gd name="T10" fmla="*/ 3 w 202"/>
                  <a:gd name="T11" fmla="*/ 193 h 202"/>
                  <a:gd name="T12" fmla="*/ 2 w 202"/>
                  <a:gd name="T13" fmla="*/ 191 h 202"/>
                  <a:gd name="T14" fmla="*/ 0 w 202"/>
                  <a:gd name="T15" fmla="*/ 188 h 202"/>
                  <a:gd name="T16" fmla="*/ 0 w 202"/>
                  <a:gd name="T17" fmla="*/ 183 h 202"/>
                  <a:gd name="T18" fmla="*/ 0 w 202"/>
                  <a:gd name="T19" fmla="*/ 180 h 202"/>
                  <a:gd name="T20" fmla="*/ 2 w 202"/>
                  <a:gd name="T21" fmla="*/ 176 h 202"/>
                  <a:gd name="T22" fmla="*/ 3 w 202"/>
                  <a:gd name="T23" fmla="*/ 173 h 202"/>
                  <a:gd name="T24" fmla="*/ 6 w 202"/>
                  <a:gd name="T25" fmla="*/ 170 h 202"/>
                  <a:gd name="T26" fmla="*/ 169 w 202"/>
                  <a:gd name="T27" fmla="*/ 6 h 202"/>
                  <a:gd name="T28" fmla="*/ 173 w 202"/>
                  <a:gd name="T29" fmla="*/ 3 h 202"/>
                  <a:gd name="T30" fmla="*/ 176 w 202"/>
                  <a:gd name="T31" fmla="*/ 2 h 202"/>
                  <a:gd name="T32" fmla="*/ 179 w 202"/>
                  <a:gd name="T33" fmla="*/ 0 h 202"/>
                  <a:gd name="T34" fmla="*/ 183 w 202"/>
                  <a:gd name="T35" fmla="*/ 0 h 202"/>
                  <a:gd name="T36" fmla="*/ 186 w 202"/>
                  <a:gd name="T37" fmla="*/ 0 h 202"/>
                  <a:gd name="T38" fmla="*/ 190 w 202"/>
                  <a:gd name="T39" fmla="*/ 2 h 202"/>
                  <a:gd name="T40" fmla="*/ 193 w 202"/>
                  <a:gd name="T41" fmla="*/ 3 h 202"/>
                  <a:gd name="T42" fmla="*/ 196 w 202"/>
                  <a:gd name="T43" fmla="*/ 6 h 202"/>
                  <a:gd name="T44" fmla="*/ 199 w 202"/>
                  <a:gd name="T45" fmla="*/ 9 h 202"/>
                  <a:gd name="T46" fmla="*/ 200 w 202"/>
                  <a:gd name="T47" fmla="*/ 12 h 202"/>
                  <a:gd name="T48" fmla="*/ 202 w 202"/>
                  <a:gd name="T49" fmla="*/ 16 h 202"/>
                  <a:gd name="T50" fmla="*/ 202 w 202"/>
                  <a:gd name="T51" fmla="*/ 19 h 202"/>
                  <a:gd name="T52" fmla="*/ 202 w 202"/>
                  <a:gd name="T53" fmla="*/ 23 h 202"/>
                  <a:gd name="T54" fmla="*/ 200 w 202"/>
                  <a:gd name="T55" fmla="*/ 26 h 202"/>
                  <a:gd name="T56" fmla="*/ 199 w 202"/>
                  <a:gd name="T57" fmla="*/ 31 h 202"/>
                  <a:gd name="T58" fmla="*/ 196 w 202"/>
                  <a:gd name="T59" fmla="*/ 34 h 202"/>
                  <a:gd name="T60" fmla="*/ 33 w 202"/>
                  <a:gd name="T61" fmla="*/ 198 h 202"/>
                  <a:gd name="T62" fmla="*/ 31 w 202"/>
                  <a:gd name="T63" fmla="*/ 199 h 202"/>
                  <a:gd name="T64" fmla="*/ 26 w 202"/>
                  <a:gd name="T65" fmla="*/ 202 h 202"/>
                  <a:gd name="T66" fmla="*/ 23 w 202"/>
                  <a:gd name="T67" fmla="*/ 202 h 202"/>
                  <a:gd name="T68" fmla="*/ 19 w 202"/>
                  <a:gd name="T6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2" h="202">
                    <a:moveTo>
                      <a:pt x="19" y="202"/>
                    </a:moveTo>
                    <a:lnTo>
                      <a:pt x="16" y="202"/>
                    </a:lnTo>
                    <a:lnTo>
                      <a:pt x="12" y="202"/>
                    </a:lnTo>
                    <a:lnTo>
                      <a:pt x="9" y="199"/>
                    </a:lnTo>
                    <a:lnTo>
                      <a:pt x="6" y="198"/>
                    </a:lnTo>
                    <a:lnTo>
                      <a:pt x="3" y="193"/>
                    </a:lnTo>
                    <a:lnTo>
                      <a:pt x="2" y="191"/>
                    </a:lnTo>
                    <a:lnTo>
                      <a:pt x="0" y="188"/>
                    </a:lnTo>
                    <a:lnTo>
                      <a:pt x="0" y="183"/>
                    </a:lnTo>
                    <a:lnTo>
                      <a:pt x="0" y="180"/>
                    </a:lnTo>
                    <a:lnTo>
                      <a:pt x="2" y="176"/>
                    </a:lnTo>
                    <a:lnTo>
                      <a:pt x="3" y="173"/>
                    </a:lnTo>
                    <a:lnTo>
                      <a:pt x="6" y="170"/>
                    </a:lnTo>
                    <a:lnTo>
                      <a:pt x="169" y="6"/>
                    </a:lnTo>
                    <a:lnTo>
                      <a:pt x="173" y="3"/>
                    </a:lnTo>
                    <a:lnTo>
                      <a:pt x="176" y="2"/>
                    </a:lnTo>
                    <a:lnTo>
                      <a:pt x="179" y="0"/>
                    </a:lnTo>
                    <a:lnTo>
                      <a:pt x="183" y="0"/>
                    </a:lnTo>
                    <a:lnTo>
                      <a:pt x="186" y="0"/>
                    </a:lnTo>
                    <a:lnTo>
                      <a:pt x="190" y="2"/>
                    </a:lnTo>
                    <a:lnTo>
                      <a:pt x="193" y="3"/>
                    </a:lnTo>
                    <a:lnTo>
                      <a:pt x="196" y="6"/>
                    </a:lnTo>
                    <a:lnTo>
                      <a:pt x="199" y="9"/>
                    </a:lnTo>
                    <a:lnTo>
                      <a:pt x="200" y="12"/>
                    </a:lnTo>
                    <a:lnTo>
                      <a:pt x="202" y="16"/>
                    </a:lnTo>
                    <a:lnTo>
                      <a:pt x="202" y="19"/>
                    </a:lnTo>
                    <a:lnTo>
                      <a:pt x="202" y="23"/>
                    </a:lnTo>
                    <a:lnTo>
                      <a:pt x="200" y="26"/>
                    </a:lnTo>
                    <a:lnTo>
                      <a:pt x="199" y="31"/>
                    </a:lnTo>
                    <a:lnTo>
                      <a:pt x="196" y="34"/>
                    </a:lnTo>
                    <a:lnTo>
                      <a:pt x="33" y="198"/>
                    </a:lnTo>
                    <a:lnTo>
                      <a:pt x="31" y="199"/>
                    </a:lnTo>
                    <a:lnTo>
                      <a:pt x="26" y="202"/>
                    </a:lnTo>
                    <a:lnTo>
                      <a:pt x="23" y="202"/>
                    </a:lnTo>
                    <a:lnTo>
                      <a:pt x="19"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418"/>
              <p:cNvSpPr>
                <a:spLocks noEditPoints="1"/>
              </p:cNvSpPr>
              <p:nvPr/>
            </p:nvSpPr>
            <p:spPr bwMode="auto">
              <a:xfrm>
                <a:off x="2032329" y="3781350"/>
                <a:ext cx="97551" cy="99007"/>
              </a:xfrm>
              <a:custGeom>
                <a:avLst/>
                <a:gdLst>
                  <a:gd name="T0" fmla="*/ 46 w 203"/>
                  <a:gd name="T1" fmla="*/ 74 h 203"/>
                  <a:gd name="T2" fmla="*/ 129 w 203"/>
                  <a:gd name="T3" fmla="*/ 156 h 203"/>
                  <a:gd name="T4" fmla="*/ 156 w 203"/>
                  <a:gd name="T5" fmla="*/ 129 h 203"/>
                  <a:gd name="T6" fmla="*/ 74 w 203"/>
                  <a:gd name="T7" fmla="*/ 46 h 203"/>
                  <a:gd name="T8" fmla="*/ 46 w 203"/>
                  <a:gd name="T9" fmla="*/ 74 h 203"/>
                  <a:gd name="T10" fmla="*/ 129 w 203"/>
                  <a:gd name="T11" fmla="*/ 203 h 203"/>
                  <a:gd name="T12" fmla="*/ 126 w 203"/>
                  <a:gd name="T13" fmla="*/ 202 h 203"/>
                  <a:gd name="T14" fmla="*/ 121 w 203"/>
                  <a:gd name="T15" fmla="*/ 202 h 203"/>
                  <a:gd name="T16" fmla="*/ 118 w 203"/>
                  <a:gd name="T17" fmla="*/ 199 h 203"/>
                  <a:gd name="T18" fmla="*/ 116 w 203"/>
                  <a:gd name="T19" fmla="*/ 198 h 203"/>
                  <a:gd name="T20" fmla="*/ 6 w 203"/>
                  <a:gd name="T21" fmla="*/ 88 h 203"/>
                  <a:gd name="T22" fmla="*/ 3 w 203"/>
                  <a:gd name="T23" fmla="*/ 85 h 203"/>
                  <a:gd name="T24" fmla="*/ 2 w 203"/>
                  <a:gd name="T25" fmla="*/ 82 h 203"/>
                  <a:gd name="T26" fmla="*/ 0 w 203"/>
                  <a:gd name="T27" fmla="*/ 78 h 203"/>
                  <a:gd name="T28" fmla="*/ 0 w 203"/>
                  <a:gd name="T29" fmla="*/ 74 h 203"/>
                  <a:gd name="T30" fmla="*/ 0 w 203"/>
                  <a:gd name="T31" fmla="*/ 71 h 203"/>
                  <a:gd name="T32" fmla="*/ 2 w 203"/>
                  <a:gd name="T33" fmla="*/ 67 h 203"/>
                  <a:gd name="T34" fmla="*/ 3 w 203"/>
                  <a:gd name="T35" fmla="*/ 64 h 203"/>
                  <a:gd name="T36" fmla="*/ 6 w 203"/>
                  <a:gd name="T37" fmla="*/ 61 h 203"/>
                  <a:gd name="T38" fmla="*/ 61 w 203"/>
                  <a:gd name="T39" fmla="*/ 6 h 203"/>
                  <a:gd name="T40" fmla="*/ 64 w 203"/>
                  <a:gd name="T41" fmla="*/ 3 h 203"/>
                  <a:gd name="T42" fmla="*/ 67 w 203"/>
                  <a:gd name="T43" fmla="*/ 2 h 203"/>
                  <a:gd name="T44" fmla="*/ 71 w 203"/>
                  <a:gd name="T45" fmla="*/ 0 h 203"/>
                  <a:gd name="T46" fmla="*/ 74 w 203"/>
                  <a:gd name="T47" fmla="*/ 0 h 203"/>
                  <a:gd name="T48" fmla="*/ 78 w 203"/>
                  <a:gd name="T49" fmla="*/ 0 h 203"/>
                  <a:gd name="T50" fmla="*/ 81 w 203"/>
                  <a:gd name="T51" fmla="*/ 2 h 203"/>
                  <a:gd name="T52" fmla="*/ 85 w 203"/>
                  <a:gd name="T53" fmla="*/ 3 h 203"/>
                  <a:gd name="T54" fmla="*/ 88 w 203"/>
                  <a:gd name="T55" fmla="*/ 6 h 203"/>
                  <a:gd name="T56" fmla="*/ 198 w 203"/>
                  <a:gd name="T57" fmla="*/ 116 h 203"/>
                  <a:gd name="T58" fmla="*/ 199 w 203"/>
                  <a:gd name="T59" fmla="*/ 118 h 203"/>
                  <a:gd name="T60" fmla="*/ 201 w 203"/>
                  <a:gd name="T61" fmla="*/ 121 h 203"/>
                  <a:gd name="T62" fmla="*/ 202 w 203"/>
                  <a:gd name="T63" fmla="*/ 126 h 203"/>
                  <a:gd name="T64" fmla="*/ 203 w 203"/>
                  <a:gd name="T65" fmla="*/ 129 h 203"/>
                  <a:gd name="T66" fmla="*/ 202 w 203"/>
                  <a:gd name="T67" fmla="*/ 133 h 203"/>
                  <a:gd name="T68" fmla="*/ 201 w 203"/>
                  <a:gd name="T69" fmla="*/ 136 h 203"/>
                  <a:gd name="T70" fmla="*/ 199 w 203"/>
                  <a:gd name="T71" fmla="*/ 140 h 203"/>
                  <a:gd name="T72" fmla="*/ 198 w 203"/>
                  <a:gd name="T73" fmla="*/ 143 h 203"/>
                  <a:gd name="T74" fmla="*/ 143 w 203"/>
                  <a:gd name="T75" fmla="*/ 198 h 203"/>
                  <a:gd name="T76" fmla="*/ 140 w 203"/>
                  <a:gd name="T77" fmla="*/ 199 h 203"/>
                  <a:gd name="T78" fmla="*/ 136 w 203"/>
                  <a:gd name="T79" fmla="*/ 202 h 203"/>
                  <a:gd name="T80" fmla="*/ 133 w 203"/>
                  <a:gd name="T81" fmla="*/ 202 h 203"/>
                  <a:gd name="T82" fmla="*/ 129 w 203"/>
                  <a:gd name="T8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203">
                    <a:moveTo>
                      <a:pt x="46" y="74"/>
                    </a:moveTo>
                    <a:lnTo>
                      <a:pt x="129" y="156"/>
                    </a:lnTo>
                    <a:lnTo>
                      <a:pt x="156" y="129"/>
                    </a:lnTo>
                    <a:lnTo>
                      <a:pt x="74" y="46"/>
                    </a:lnTo>
                    <a:lnTo>
                      <a:pt x="46" y="74"/>
                    </a:lnTo>
                    <a:close/>
                    <a:moveTo>
                      <a:pt x="129" y="203"/>
                    </a:moveTo>
                    <a:lnTo>
                      <a:pt x="126" y="202"/>
                    </a:lnTo>
                    <a:lnTo>
                      <a:pt x="121" y="202"/>
                    </a:lnTo>
                    <a:lnTo>
                      <a:pt x="118" y="199"/>
                    </a:lnTo>
                    <a:lnTo>
                      <a:pt x="116" y="198"/>
                    </a:lnTo>
                    <a:lnTo>
                      <a:pt x="6" y="88"/>
                    </a:lnTo>
                    <a:lnTo>
                      <a:pt x="3" y="85"/>
                    </a:lnTo>
                    <a:lnTo>
                      <a:pt x="2" y="82"/>
                    </a:lnTo>
                    <a:lnTo>
                      <a:pt x="0" y="78"/>
                    </a:lnTo>
                    <a:lnTo>
                      <a:pt x="0" y="74"/>
                    </a:lnTo>
                    <a:lnTo>
                      <a:pt x="0" y="71"/>
                    </a:lnTo>
                    <a:lnTo>
                      <a:pt x="2" y="67"/>
                    </a:lnTo>
                    <a:lnTo>
                      <a:pt x="3" y="64"/>
                    </a:lnTo>
                    <a:lnTo>
                      <a:pt x="6" y="61"/>
                    </a:lnTo>
                    <a:lnTo>
                      <a:pt x="61" y="6"/>
                    </a:lnTo>
                    <a:lnTo>
                      <a:pt x="64" y="3"/>
                    </a:lnTo>
                    <a:lnTo>
                      <a:pt x="67" y="2"/>
                    </a:lnTo>
                    <a:lnTo>
                      <a:pt x="71" y="0"/>
                    </a:lnTo>
                    <a:lnTo>
                      <a:pt x="74" y="0"/>
                    </a:lnTo>
                    <a:lnTo>
                      <a:pt x="78" y="0"/>
                    </a:lnTo>
                    <a:lnTo>
                      <a:pt x="81" y="2"/>
                    </a:lnTo>
                    <a:lnTo>
                      <a:pt x="85" y="3"/>
                    </a:lnTo>
                    <a:lnTo>
                      <a:pt x="88" y="6"/>
                    </a:lnTo>
                    <a:lnTo>
                      <a:pt x="198" y="116"/>
                    </a:lnTo>
                    <a:lnTo>
                      <a:pt x="199" y="118"/>
                    </a:lnTo>
                    <a:lnTo>
                      <a:pt x="201" y="121"/>
                    </a:lnTo>
                    <a:lnTo>
                      <a:pt x="202" y="126"/>
                    </a:lnTo>
                    <a:lnTo>
                      <a:pt x="203" y="129"/>
                    </a:lnTo>
                    <a:lnTo>
                      <a:pt x="202" y="133"/>
                    </a:lnTo>
                    <a:lnTo>
                      <a:pt x="201" y="136"/>
                    </a:lnTo>
                    <a:lnTo>
                      <a:pt x="199" y="140"/>
                    </a:lnTo>
                    <a:lnTo>
                      <a:pt x="198" y="143"/>
                    </a:lnTo>
                    <a:lnTo>
                      <a:pt x="143" y="198"/>
                    </a:lnTo>
                    <a:lnTo>
                      <a:pt x="140" y="199"/>
                    </a:lnTo>
                    <a:lnTo>
                      <a:pt x="136" y="202"/>
                    </a:lnTo>
                    <a:lnTo>
                      <a:pt x="133" y="202"/>
                    </a:lnTo>
                    <a:lnTo>
                      <a:pt x="129"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419"/>
              <p:cNvSpPr>
                <a:spLocks/>
              </p:cNvSpPr>
              <p:nvPr/>
            </p:nvSpPr>
            <p:spPr bwMode="auto">
              <a:xfrm>
                <a:off x="2247815" y="3998293"/>
                <a:ext cx="81535" cy="81536"/>
              </a:xfrm>
              <a:custGeom>
                <a:avLst/>
                <a:gdLst>
                  <a:gd name="T0" fmla="*/ 28 w 169"/>
                  <a:gd name="T1" fmla="*/ 0 h 169"/>
                  <a:gd name="T2" fmla="*/ 169 w 169"/>
                  <a:gd name="T3" fmla="*/ 142 h 169"/>
                  <a:gd name="T4" fmla="*/ 141 w 169"/>
                  <a:gd name="T5" fmla="*/ 169 h 169"/>
                  <a:gd name="T6" fmla="*/ 0 w 169"/>
                  <a:gd name="T7" fmla="*/ 28 h 169"/>
                  <a:gd name="T8" fmla="*/ 28 w 169"/>
                  <a:gd name="T9" fmla="*/ 0 h 169"/>
                </a:gdLst>
                <a:ahLst/>
                <a:cxnLst>
                  <a:cxn ang="0">
                    <a:pos x="T0" y="T1"/>
                  </a:cxn>
                  <a:cxn ang="0">
                    <a:pos x="T2" y="T3"/>
                  </a:cxn>
                  <a:cxn ang="0">
                    <a:pos x="T4" y="T5"/>
                  </a:cxn>
                  <a:cxn ang="0">
                    <a:pos x="T6" y="T7"/>
                  </a:cxn>
                  <a:cxn ang="0">
                    <a:pos x="T8" y="T9"/>
                  </a:cxn>
                </a:cxnLst>
                <a:rect l="0" t="0" r="r" b="b"/>
                <a:pathLst>
                  <a:path w="169" h="169">
                    <a:moveTo>
                      <a:pt x="28" y="0"/>
                    </a:moveTo>
                    <a:lnTo>
                      <a:pt x="169" y="142"/>
                    </a:lnTo>
                    <a:lnTo>
                      <a:pt x="141" y="169"/>
                    </a:lnTo>
                    <a:lnTo>
                      <a:pt x="0" y="28"/>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p:cNvGrpSpPr/>
          <p:nvPr/>
        </p:nvGrpSpPr>
        <p:grpSpPr>
          <a:xfrm>
            <a:off x="10226268" y="3397481"/>
            <a:ext cx="688207" cy="688207"/>
            <a:chOff x="8809029" y="3040069"/>
            <a:chExt cx="688207" cy="688207"/>
          </a:xfrm>
        </p:grpSpPr>
        <p:sp>
          <p:nvSpPr>
            <p:cNvPr id="18" name="Oval 17"/>
            <p:cNvSpPr/>
            <p:nvPr/>
          </p:nvSpPr>
          <p:spPr>
            <a:xfrm>
              <a:off x="8809029" y="3040069"/>
              <a:ext cx="688207" cy="68820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grpSp>
          <p:nvGrpSpPr>
            <p:cNvPr id="19" name="Group 18"/>
            <p:cNvGrpSpPr/>
            <p:nvPr/>
          </p:nvGrpSpPr>
          <p:grpSpPr>
            <a:xfrm>
              <a:off x="8970738" y="3219133"/>
              <a:ext cx="371820" cy="371820"/>
              <a:chOff x="1260653" y="5164541"/>
              <a:chExt cx="449902" cy="449902"/>
            </a:xfrm>
            <a:solidFill>
              <a:schemeClr val="bg1"/>
            </a:solidFill>
          </p:grpSpPr>
          <p:sp>
            <p:nvSpPr>
              <p:cNvPr id="20" name="Freeform 439"/>
              <p:cNvSpPr>
                <a:spLocks noEditPoints="1"/>
              </p:cNvSpPr>
              <p:nvPr/>
            </p:nvSpPr>
            <p:spPr bwMode="auto">
              <a:xfrm>
                <a:off x="1317437" y="5538731"/>
                <a:ext cx="75712" cy="75712"/>
              </a:xfrm>
              <a:custGeom>
                <a:avLst/>
                <a:gdLst>
                  <a:gd name="T0" fmla="*/ 69 w 154"/>
                  <a:gd name="T1" fmla="*/ 39 h 155"/>
                  <a:gd name="T2" fmla="*/ 54 w 154"/>
                  <a:gd name="T3" fmla="*/ 46 h 155"/>
                  <a:gd name="T4" fmla="*/ 44 w 154"/>
                  <a:gd name="T5" fmla="*/ 57 h 155"/>
                  <a:gd name="T6" fmla="*/ 39 w 154"/>
                  <a:gd name="T7" fmla="*/ 70 h 155"/>
                  <a:gd name="T8" fmla="*/ 39 w 154"/>
                  <a:gd name="T9" fmla="*/ 85 h 155"/>
                  <a:gd name="T10" fmla="*/ 44 w 154"/>
                  <a:gd name="T11" fmla="*/ 100 h 155"/>
                  <a:gd name="T12" fmla="*/ 54 w 154"/>
                  <a:gd name="T13" fmla="*/ 110 h 155"/>
                  <a:gd name="T14" fmla="*/ 69 w 154"/>
                  <a:gd name="T15" fmla="*/ 116 h 155"/>
                  <a:gd name="T16" fmla="*/ 85 w 154"/>
                  <a:gd name="T17" fmla="*/ 116 h 155"/>
                  <a:gd name="T18" fmla="*/ 98 w 154"/>
                  <a:gd name="T19" fmla="*/ 110 h 155"/>
                  <a:gd name="T20" fmla="*/ 109 w 154"/>
                  <a:gd name="T21" fmla="*/ 100 h 155"/>
                  <a:gd name="T22" fmla="*/ 115 w 154"/>
                  <a:gd name="T23" fmla="*/ 85 h 155"/>
                  <a:gd name="T24" fmla="*/ 115 w 154"/>
                  <a:gd name="T25" fmla="*/ 70 h 155"/>
                  <a:gd name="T26" fmla="*/ 109 w 154"/>
                  <a:gd name="T27" fmla="*/ 57 h 155"/>
                  <a:gd name="T28" fmla="*/ 98 w 154"/>
                  <a:gd name="T29" fmla="*/ 46 h 155"/>
                  <a:gd name="T30" fmla="*/ 85 w 154"/>
                  <a:gd name="T31" fmla="*/ 39 h 155"/>
                  <a:gd name="T32" fmla="*/ 76 w 154"/>
                  <a:gd name="T33" fmla="*/ 155 h 155"/>
                  <a:gd name="T34" fmla="*/ 62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2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4" y="46"/>
                    </a:lnTo>
                    <a:lnTo>
                      <a:pt x="49" y="51"/>
                    </a:lnTo>
                    <a:lnTo>
                      <a:pt x="44" y="57"/>
                    </a:lnTo>
                    <a:lnTo>
                      <a:pt x="41" y="62"/>
                    </a:lnTo>
                    <a:lnTo>
                      <a:pt x="39" y="70"/>
                    </a:lnTo>
                    <a:lnTo>
                      <a:pt x="39" y="78"/>
                    </a:lnTo>
                    <a:lnTo>
                      <a:pt x="39" y="85"/>
                    </a:lnTo>
                    <a:lnTo>
                      <a:pt x="41" y="93"/>
                    </a:lnTo>
                    <a:lnTo>
                      <a:pt x="44" y="100"/>
                    </a:lnTo>
                    <a:lnTo>
                      <a:pt x="49" y="106"/>
                    </a:lnTo>
                    <a:lnTo>
                      <a:pt x="54" y="110"/>
                    </a:lnTo>
                    <a:lnTo>
                      <a:pt x="62" y="113"/>
                    </a:lnTo>
                    <a:lnTo>
                      <a:pt x="69" y="116"/>
                    </a:lnTo>
                    <a:lnTo>
                      <a:pt x="76" y="117"/>
                    </a:lnTo>
                    <a:lnTo>
                      <a:pt x="85" y="116"/>
                    </a:lnTo>
                    <a:lnTo>
                      <a:pt x="92" y="113"/>
                    </a:lnTo>
                    <a:lnTo>
                      <a:pt x="98" y="110"/>
                    </a:lnTo>
                    <a:lnTo>
                      <a:pt x="103" y="106"/>
                    </a:lnTo>
                    <a:lnTo>
                      <a:pt x="109" y="100"/>
                    </a:lnTo>
                    <a:lnTo>
                      <a:pt x="112" y="93"/>
                    </a:lnTo>
                    <a:lnTo>
                      <a:pt x="115" y="85"/>
                    </a:lnTo>
                    <a:lnTo>
                      <a:pt x="115" y="78"/>
                    </a:lnTo>
                    <a:lnTo>
                      <a:pt x="115" y="70"/>
                    </a:lnTo>
                    <a:lnTo>
                      <a:pt x="112" y="62"/>
                    </a:lnTo>
                    <a:lnTo>
                      <a:pt x="109" y="57"/>
                    </a:lnTo>
                    <a:lnTo>
                      <a:pt x="103" y="51"/>
                    </a:lnTo>
                    <a:lnTo>
                      <a:pt x="98" y="46"/>
                    </a:lnTo>
                    <a:lnTo>
                      <a:pt x="92" y="42"/>
                    </a:lnTo>
                    <a:lnTo>
                      <a:pt x="85" y="39"/>
                    </a:lnTo>
                    <a:lnTo>
                      <a:pt x="76" y="39"/>
                    </a:lnTo>
                    <a:close/>
                    <a:moveTo>
                      <a:pt x="76" y="155"/>
                    </a:moveTo>
                    <a:lnTo>
                      <a:pt x="69" y="155"/>
                    </a:lnTo>
                    <a:lnTo>
                      <a:pt x="62" y="153"/>
                    </a:lnTo>
                    <a:lnTo>
                      <a:pt x="53" y="152"/>
                    </a:lnTo>
                    <a:lnTo>
                      <a:pt x="46" y="149"/>
                    </a:lnTo>
                    <a:lnTo>
                      <a:pt x="33" y="142"/>
                    </a:lnTo>
                    <a:lnTo>
                      <a:pt x="21" y="133"/>
                    </a:lnTo>
                    <a:lnTo>
                      <a:pt x="13" y="121"/>
                    </a:lnTo>
                    <a:lnTo>
                      <a:pt x="5" y="108"/>
                    </a:lnTo>
                    <a:lnTo>
                      <a:pt x="3" y="101"/>
                    </a:lnTo>
                    <a:lnTo>
                      <a:pt x="1" y="94"/>
                    </a:lnTo>
                    <a:lnTo>
                      <a:pt x="0" y="85"/>
                    </a:lnTo>
                    <a:lnTo>
                      <a:pt x="0" y="78"/>
                    </a:lnTo>
                    <a:lnTo>
                      <a:pt x="0" y="70"/>
                    </a:lnTo>
                    <a:lnTo>
                      <a:pt x="1" y="62"/>
                    </a:lnTo>
                    <a:lnTo>
                      <a:pt x="3" y="55"/>
                    </a:lnTo>
                    <a:lnTo>
                      <a:pt x="5" y="48"/>
                    </a:lnTo>
                    <a:lnTo>
                      <a:pt x="13" y="35"/>
                    </a:lnTo>
                    <a:lnTo>
                      <a:pt x="21" y="23"/>
                    </a:lnTo>
                    <a:lnTo>
                      <a:pt x="33" y="13"/>
                    </a:lnTo>
                    <a:lnTo>
                      <a:pt x="46" y="6"/>
                    </a:lnTo>
                    <a:lnTo>
                      <a:pt x="53" y="5"/>
                    </a:lnTo>
                    <a:lnTo>
                      <a:pt x="62" y="2"/>
                    </a:lnTo>
                    <a:lnTo>
                      <a:pt x="69" y="0"/>
                    </a:lnTo>
                    <a:lnTo>
                      <a:pt x="76" y="0"/>
                    </a:lnTo>
                    <a:lnTo>
                      <a:pt x="85"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5"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1" name="Freeform 440"/>
              <p:cNvSpPr>
                <a:spLocks noEditPoints="1"/>
              </p:cNvSpPr>
              <p:nvPr/>
            </p:nvSpPr>
            <p:spPr bwMode="auto">
              <a:xfrm>
                <a:off x="1524188" y="5538731"/>
                <a:ext cx="74256" cy="75712"/>
              </a:xfrm>
              <a:custGeom>
                <a:avLst/>
                <a:gdLst>
                  <a:gd name="T0" fmla="*/ 69 w 154"/>
                  <a:gd name="T1" fmla="*/ 39 h 155"/>
                  <a:gd name="T2" fmla="*/ 54 w 154"/>
                  <a:gd name="T3" fmla="*/ 46 h 155"/>
                  <a:gd name="T4" fmla="*/ 44 w 154"/>
                  <a:gd name="T5" fmla="*/ 57 h 155"/>
                  <a:gd name="T6" fmla="*/ 38 w 154"/>
                  <a:gd name="T7" fmla="*/ 70 h 155"/>
                  <a:gd name="T8" fmla="*/ 38 w 154"/>
                  <a:gd name="T9" fmla="*/ 85 h 155"/>
                  <a:gd name="T10" fmla="*/ 44 w 154"/>
                  <a:gd name="T11" fmla="*/ 100 h 155"/>
                  <a:gd name="T12" fmla="*/ 54 w 154"/>
                  <a:gd name="T13" fmla="*/ 110 h 155"/>
                  <a:gd name="T14" fmla="*/ 69 w 154"/>
                  <a:gd name="T15" fmla="*/ 116 h 155"/>
                  <a:gd name="T16" fmla="*/ 84 w 154"/>
                  <a:gd name="T17" fmla="*/ 116 h 155"/>
                  <a:gd name="T18" fmla="*/ 97 w 154"/>
                  <a:gd name="T19" fmla="*/ 110 h 155"/>
                  <a:gd name="T20" fmla="*/ 109 w 154"/>
                  <a:gd name="T21" fmla="*/ 100 h 155"/>
                  <a:gd name="T22" fmla="*/ 115 w 154"/>
                  <a:gd name="T23" fmla="*/ 85 h 155"/>
                  <a:gd name="T24" fmla="*/ 115 w 154"/>
                  <a:gd name="T25" fmla="*/ 70 h 155"/>
                  <a:gd name="T26" fmla="*/ 109 w 154"/>
                  <a:gd name="T27" fmla="*/ 57 h 155"/>
                  <a:gd name="T28" fmla="*/ 97 w 154"/>
                  <a:gd name="T29" fmla="*/ 46 h 155"/>
                  <a:gd name="T30" fmla="*/ 84 w 154"/>
                  <a:gd name="T31" fmla="*/ 39 h 155"/>
                  <a:gd name="T32" fmla="*/ 76 w 154"/>
                  <a:gd name="T33" fmla="*/ 155 h 155"/>
                  <a:gd name="T34" fmla="*/ 61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1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1" y="42"/>
                    </a:lnTo>
                    <a:lnTo>
                      <a:pt x="54" y="46"/>
                    </a:lnTo>
                    <a:lnTo>
                      <a:pt x="48" y="51"/>
                    </a:lnTo>
                    <a:lnTo>
                      <a:pt x="44" y="57"/>
                    </a:lnTo>
                    <a:lnTo>
                      <a:pt x="41" y="62"/>
                    </a:lnTo>
                    <a:lnTo>
                      <a:pt x="38" y="70"/>
                    </a:lnTo>
                    <a:lnTo>
                      <a:pt x="38" y="78"/>
                    </a:lnTo>
                    <a:lnTo>
                      <a:pt x="38" y="85"/>
                    </a:lnTo>
                    <a:lnTo>
                      <a:pt x="41" y="93"/>
                    </a:lnTo>
                    <a:lnTo>
                      <a:pt x="44" y="100"/>
                    </a:lnTo>
                    <a:lnTo>
                      <a:pt x="48" y="106"/>
                    </a:lnTo>
                    <a:lnTo>
                      <a:pt x="54" y="110"/>
                    </a:lnTo>
                    <a:lnTo>
                      <a:pt x="61" y="113"/>
                    </a:lnTo>
                    <a:lnTo>
                      <a:pt x="69" y="116"/>
                    </a:lnTo>
                    <a:lnTo>
                      <a:pt x="76" y="117"/>
                    </a:lnTo>
                    <a:lnTo>
                      <a:pt x="84" y="116"/>
                    </a:lnTo>
                    <a:lnTo>
                      <a:pt x="92" y="113"/>
                    </a:lnTo>
                    <a:lnTo>
                      <a:pt x="97" y="110"/>
                    </a:lnTo>
                    <a:lnTo>
                      <a:pt x="103" y="106"/>
                    </a:lnTo>
                    <a:lnTo>
                      <a:pt x="109" y="100"/>
                    </a:lnTo>
                    <a:lnTo>
                      <a:pt x="112" y="93"/>
                    </a:lnTo>
                    <a:lnTo>
                      <a:pt x="115" y="85"/>
                    </a:lnTo>
                    <a:lnTo>
                      <a:pt x="115" y="78"/>
                    </a:lnTo>
                    <a:lnTo>
                      <a:pt x="115" y="70"/>
                    </a:lnTo>
                    <a:lnTo>
                      <a:pt x="112" y="62"/>
                    </a:lnTo>
                    <a:lnTo>
                      <a:pt x="109" y="57"/>
                    </a:lnTo>
                    <a:lnTo>
                      <a:pt x="103" y="51"/>
                    </a:lnTo>
                    <a:lnTo>
                      <a:pt x="97" y="46"/>
                    </a:lnTo>
                    <a:lnTo>
                      <a:pt x="92" y="42"/>
                    </a:lnTo>
                    <a:lnTo>
                      <a:pt x="84" y="39"/>
                    </a:lnTo>
                    <a:lnTo>
                      <a:pt x="76" y="39"/>
                    </a:lnTo>
                    <a:close/>
                    <a:moveTo>
                      <a:pt x="76" y="155"/>
                    </a:moveTo>
                    <a:lnTo>
                      <a:pt x="69" y="155"/>
                    </a:lnTo>
                    <a:lnTo>
                      <a:pt x="61" y="153"/>
                    </a:lnTo>
                    <a:lnTo>
                      <a:pt x="53" y="152"/>
                    </a:lnTo>
                    <a:lnTo>
                      <a:pt x="46" y="149"/>
                    </a:lnTo>
                    <a:lnTo>
                      <a:pt x="33" y="142"/>
                    </a:lnTo>
                    <a:lnTo>
                      <a:pt x="21" y="133"/>
                    </a:lnTo>
                    <a:lnTo>
                      <a:pt x="12" y="121"/>
                    </a:lnTo>
                    <a:lnTo>
                      <a:pt x="5" y="108"/>
                    </a:lnTo>
                    <a:lnTo>
                      <a:pt x="2" y="101"/>
                    </a:lnTo>
                    <a:lnTo>
                      <a:pt x="1" y="94"/>
                    </a:lnTo>
                    <a:lnTo>
                      <a:pt x="0" y="85"/>
                    </a:lnTo>
                    <a:lnTo>
                      <a:pt x="0" y="78"/>
                    </a:lnTo>
                    <a:lnTo>
                      <a:pt x="0" y="70"/>
                    </a:lnTo>
                    <a:lnTo>
                      <a:pt x="1" y="62"/>
                    </a:lnTo>
                    <a:lnTo>
                      <a:pt x="2" y="55"/>
                    </a:lnTo>
                    <a:lnTo>
                      <a:pt x="5" y="48"/>
                    </a:lnTo>
                    <a:lnTo>
                      <a:pt x="12" y="35"/>
                    </a:lnTo>
                    <a:lnTo>
                      <a:pt x="21" y="23"/>
                    </a:lnTo>
                    <a:lnTo>
                      <a:pt x="33" y="13"/>
                    </a:lnTo>
                    <a:lnTo>
                      <a:pt x="46" y="6"/>
                    </a:lnTo>
                    <a:lnTo>
                      <a:pt x="53" y="5"/>
                    </a:lnTo>
                    <a:lnTo>
                      <a:pt x="61" y="2"/>
                    </a:lnTo>
                    <a:lnTo>
                      <a:pt x="69" y="0"/>
                    </a:lnTo>
                    <a:lnTo>
                      <a:pt x="76" y="0"/>
                    </a:lnTo>
                    <a:lnTo>
                      <a:pt x="84"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4"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2" name="Freeform 441"/>
              <p:cNvSpPr>
                <a:spLocks/>
              </p:cNvSpPr>
              <p:nvPr/>
            </p:nvSpPr>
            <p:spPr bwMode="auto">
              <a:xfrm>
                <a:off x="1448476" y="5164541"/>
                <a:ext cx="18928" cy="149967"/>
              </a:xfrm>
              <a:custGeom>
                <a:avLst/>
                <a:gdLst>
                  <a:gd name="T0" fmla="*/ 20 w 39"/>
                  <a:gd name="T1" fmla="*/ 309 h 309"/>
                  <a:gd name="T2" fmla="*/ 16 w 39"/>
                  <a:gd name="T3" fmla="*/ 309 h 309"/>
                  <a:gd name="T4" fmla="*/ 13 w 39"/>
                  <a:gd name="T5" fmla="*/ 307 h 309"/>
                  <a:gd name="T6" fmla="*/ 9 w 39"/>
                  <a:gd name="T7" fmla="*/ 306 h 309"/>
                  <a:gd name="T8" fmla="*/ 6 w 39"/>
                  <a:gd name="T9" fmla="*/ 303 h 309"/>
                  <a:gd name="T10" fmla="*/ 4 w 39"/>
                  <a:gd name="T11" fmla="*/ 300 h 309"/>
                  <a:gd name="T12" fmla="*/ 1 w 39"/>
                  <a:gd name="T13" fmla="*/ 297 h 309"/>
                  <a:gd name="T14" fmla="*/ 1 w 39"/>
                  <a:gd name="T15" fmla="*/ 294 h 309"/>
                  <a:gd name="T16" fmla="*/ 0 w 39"/>
                  <a:gd name="T17" fmla="*/ 290 h 309"/>
                  <a:gd name="T18" fmla="*/ 0 w 39"/>
                  <a:gd name="T19" fmla="*/ 19 h 309"/>
                  <a:gd name="T20" fmla="*/ 1 w 39"/>
                  <a:gd name="T21" fmla="*/ 15 h 309"/>
                  <a:gd name="T22" fmla="*/ 1 w 39"/>
                  <a:gd name="T23" fmla="*/ 12 h 309"/>
                  <a:gd name="T24" fmla="*/ 4 w 39"/>
                  <a:gd name="T25" fmla="*/ 9 h 309"/>
                  <a:gd name="T26" fmla="*/ 6 w 39"/>
                  <a:gd name="T27" fmla="*/ 6 h 309"/>
                  <a:gd name="T28" fmla="*/ 9 w 39"/>
                  <a:gd name="T29" fmla="*/ 3 h 309"/>
                  <a:gd name="T30" fmla="*/ 13 w 39"/>
                  <a:gd name="T31" fmla="*/ 2 h 309"/>
                  <a:gd name="T32" fmla="*/ 16 w 39"/>
                  <a:gd name="T33" fmla="*/ 0 h 309"/>
                  <a:gd name="T34" fmla="*/ 20 w 39"/>
                  <a:gd name="T35" fmla="*/ 0 h 309"/>
                  <a:gd name="T36" fmla="*/ 24 w 39"/>
                  <a:gd name="T37" fmla="*/ 0 h 309"/>
                  <a:gd name="T38" fmla="*/ 27 w 39"/>
                  <a:gd name="T39" fmla="*/ 2 h 309"/>
                  <a:gd name="T40" fmla="*/ 30 w 39"/>
                  <a:gd name="T41" fmla="*/ 3 h 309"/>
                  <a:gd name="T42" fmla="*/ 33 w 39"/>
                  <a:gd name="T43" fmla="*/ 6 h 309"/>
                  <a:gd name="T44" fmla="*/ 36 w 39"/>
                  <a:gd name="T45" fmla="*/ 9 h 309"/>
                  <a:gd name="T46" fmla="*/ 37 w 39"/>
                  <a:gd name="T47" fmla="*/ 12 h 309"/>
                  <a:gd name="T48" fmla="*/ 39 w 39"/>
                  <a:gd name="T49" fmla="*/ 15 h 309"/>
                  <a:gd name="T50" fmla="*/ 39 w 39"/>
                  <a:gd name="T51" fmla="*/ 19 h 309"/>
                  <a:gd name="T52" fmla="*/ 39 w 39"/>
                  <a:gd name="T53" fmla="*/ 290 h 309"/>
                  <a:gd name="T54" fmla="*/ 39 w 39"/>
                  <a:gd name="T55" fmla="*/ 294 h 309"/>
                  <a:gd name="T56" fmla="*/ 37 w 39"/>
                  <a:gd name="T57" fmla="*/ 297 h 309"/>
                  <a:gd name="T58" fmla="*/ 36 w 39"/>
                  <a:gd name="T59" fmla="*/ 300 h 309"/>
                  <a:gd name="T60" fmla="*/ 33 w 39"/>
                  <a:gd name="T61" fmla="*/ 303 h 309"/>
                  <a:gd name="T62" fmla="*/ 30 w 39"/>
                  <a:gd name="T63" fmla="*/ 306 h 309"/>
                  <a:gd name="T64" fmla="*/ 27 w 39"/>
                  <a:gd name="T65" fmla="*/ 307 h 309"/>
                  <a:gd name="T66" fmla="*/ 24 w 39"/>
                  <a:gd name="T67" fmla="*/ 309 h 309"/>
                  <a:gd name="T68" fmla="*/ 20 w 39"/>
                  <a:gd name="T6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309">
                    <a:moveTo>
                      <a:pt x="20" y="309"/>
                    </a:moveTo>
                    <a:lnTo>
                      <a:pt x="16" y="309"/>
                    </a:lnTo>
                    <a:lnTo>
                      <a:pt x="13" y="307"/>
                    </a:lnTo>
                    <a:lnTo>
                      <a:pt x="9" y="306"/>
                    </a:lnTo>
                    <a:lnTo>
                      <a:pt x="6" y="303"/>
                    </a:lnTo>
                    <a:lnTo>
                      <a:pt x="4" y="300"/>
                    </a:lnTo>
                    <a:lnTo>
                      <a:pt x="1" y="297"/>
                    </a:lnTo>
                    <a:lnTo>
                      <a:pt x="1" y="294"/>
                    </a:lnTo>
                    <a:lnTo>
                      <a:pt x="0" y="290"/>
                    </a:lnTo>
                    <a:lnTo>
                      <a:pt x="0" y="19"/>
                    </a:lnTo>
                    <a:lnTo>
                      <a:pt x="1" y="15"/>
                    </a:lnTo>
                    <a:lnTo>
                      <a:pt x="1" y="12"/>
                    </a:lnTo>
                    <a:lnTo>
                      <a:pt x="4" y="9"/>
                    </a:lnTo>
                    <a:lnTo>
                      <a:pt x="6" y="6"/>
                    </a:lnTo>
                    <a:lnTo>
                      <a:pt x="9" y="3"/>
                    </a:lnTo>
                    <a:lnTo>
                      <a:pt x="13" y="2"/>
                    </a:lnTo>
                    <a:lnTo>
                      <a:pt x="16" y="0"/>
                    </a:lnTo>
                    <a:lnTo>
                      <a:pt x="20" y="0"/>
                    </a:lnTo>
                    <a:lnTo>
                      <a:pt x="24" y="0"/>
                    </a:lnTo>
                    <a:lnTo>
                      <a:pt x="27" y="2"/>
                    </a:lnTo>
                    <a:lnTo>
                      <a:pt x="30" y="3"/>
                    </a:lnTo>
                    <a:lnTo>
                      <a:pt x="33" y="6"/>
                    </a:lnTo>
                    <a:lnTo>
                      <a:pt x="36" y="9"/>
                    </a:lnTo>
                    <a:lnTo>
                      <a:pt x="37" y="12"/>
                    </a:lnTo>
                    <a:lnTo>
                      <a:pt x="39" y="15"/>
                    </a:lnTo>
                    <a:lnTo>
                      <a:pt x="39" y="19"/>
                    </a:lnTo>
                    <a:lnTo>
                      <a:pt x="39" y="290"/>
                    </a:lnTo>
                    <a:lnTo>
                      <a:pt x="39" y="294"/>
                    </a:lnTo>
                    <a:lnTo>
                      <a:pt x="37" y="297"/>
                    </a:lnTo>
                    <a:lnTo>
                      <a:pt x="36" y="300"/>
                    </a:lnTo>
                    <a:lnTo>
                      <a:pt x="33" y="303"/>
                    </a:lnTo>
                    <a:lnTo>
                      <a:pt x="30" y="306"/>
                    </a:lnTo>
                    <a:lnTo>
                      <a:pt x="27" y="307"/>
                    </a:lnTo>
                    <a:lnTo>
                      <a:pt x="24" y="309"/>
                    </a:lnTo>
                    <a:lnTo>
                      <a:pt x="20"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3" name="Freeform 442"/>
              <p:cNvSpPr>
                <a:spLocks/>
              </p:cNvSpPr>
              <p:nvPr/>
            </p:nvSpPr>
            <p:spPr bwMode="auto">
              <a:xfrm>
                <a:off x="1393149" y="5164541"/>
                <a:ext cx="131039" cy="74256"/>
              </a:xfrm>
              <a:custGeom>
                <a:avLst/>
                <a:gdLst>
                  <a:gd name="T0" fmla="*/ 250 w 271"/>
                  <a:gd name="T1" fmla="*/ 154 h 154"/>
                  <a:gd name="T2" fmla="*/ 247 w 271"/>
                  <a:gd name="T3" fmla="*/ 154 h 154"/>
                  <a:gd name="T4" fmla="*/ 243 w 271"/>
                  <a:gd name="T5" fmla="*/ 153 h 154"/>
                  <a:gd name="T6" fmla="*/ 240 w 271"/>
                  <a:gd name="T7" fmla="*/ 152 h 154"/>
                  <a:gd name="T8" fmla="*/ 237 w 271"/>
                  <a:gd name="T9" fmla="*/ 149 h 154"/>
                  <a:gd name="T10" fmla="*/ 135 w 271"/>
                  <a:gd name="T11" fmla="*/ 46 h 154"/>
                  <a:gd name="T12" fmla="*/ 33 w 271"/>
                  <a:gd name="T13" fmla="*/ 149 h 154"/>
                  <a:gd name="T14" fmla="*/ 30 w 271"/>
                  <a:gd name="T15" fmla="*/ 152 h 154"/>
                  <a:gd name="T16" fmla="*/ 26 w 271"/>
                  <a:gd name="T17" fmla="*/ 153 h 154"/>
                  <a:gd name="T18" fmla="*/ 23 w 271"/>
                  <a:gd name="T19" fmla="*/ 154 h 154"/>
                  <a:gd name="T20" fmla="*/ 19 w 271"/>
                  <a:gd name="T21" fmla="*/ 154 h 154"/>
                  <a:gd name="T22" fmla="*/ 16 w 271"/>
                  <a:gd name="T23" fmla="*/ 154 h 154"/>
                  <a:gd name="T24" fmla="*/ 11 w 271"/>
                  <a:gd name="T25" fmla="*/ 153 h 154"/>
                  <a:gd name="T26" fmla="*/ 8 w 271"/>
                  <a:gd name="T27" fmla="*/ 152 h 154"/>
                  <a:gd name="T28" fmla="*/ 6 w 271"/>
                  <a:gd name="T29" fmla="*/ 149 h 154"/>
                  <a:gd name="T30" fmla="*/ 3 w 271"/>
                  <a:gd name="T31" fmla="*/ 146 h 154"/>
                  <a:gd name="T32" fmla="*/ 1 w 271"/>
                  <a:gd name="T33" fmla="*/ 143 h 154"/>
                  <a:gd name="T34" fmla="*/ 0 w 271"/>
                  <a:gd name="T35" fmla="*/ 139 h 154"/>
                  <a:gd name="T36" fmla="*/ 0 w 271"/>
                  <a:gd name="T37" fmla="*/ 136 h 154"/>
                  <a:gd name="T38" fmla="*/ 0 w 271"/>
                  <a:gd name="T39" fmla="*/ 131 h 154"/>
                  <a:gd name="T40" fmla="*/ 1 w 271"/>
                  <a:gd name="T41" fmla="*/ 129 h 154"/>
                  <a:gd name="T42" fmla="*/ 3 w 271"/>
                  <a:gd name="T43" fmla="*/ 124 h 154"/>
                  <a:gd name="T44" fmla="*/ 6 w 271"/>
                  <a:gd name="T45" fmla="*/ 121 h 154"/>
                  <a:gd name="T46" fmla="*/ 121 w 271"/>
                  <a:gd name="T47" fmla="*/ 6 h 154"/>
                  <a:gd name="T48" fmla="*/ 124 w 271"/>
                  <a:gd name="T49" fmla="*/ 3 h 154"/>
                  <a:gd name="T50" fmla="*/ 128 w 271"/>
                  <a:gd name="T51" fmla="*/ 2 h 154"/>
                  <a:gd name="T52" fmla="*/ 131 w 271"/>
                  <a:gd name="T53" fmla="*/ 0 h 154"/>
                  <a:gd name="T54" fmla="*/ 135 w 271"/>
                  <a:gd name="T55" fmla="*/ 0 h 154"/>
                  <a:gd name="T56" fmla="*/ 138 w 271"/>
                  <a:gd name="T57" fmla="*/ 0 h 154"/>
                  <a:gd name="T58" fmla="*/ 142 w 271"/>
                  <a:gd name="T59" fmla="*/ 2 h 154"/>
                  <a:gd name="T60" fmla="*/ 145 w 271"/>
                  <a:gd name="T61" fmla="*/ 3 h 154"/>
                  <a:gd name="T62" fmla="*/ 148 w 271"/>
                  <a:gd name="T63" fmla="*/ 6 h 154"/>
                  <a:gd name="T64" fmla="*/ 265 w 271"/>
                  <a:gd name="T65" fmla="*/ 121 h 154"/>
                  <a:gd name="T66" fmla="*/ 266 w 271"/>
                  <a:gd name="T67" fmla="*/ 124 h 154"/>
                  <a:gd name="T68" fmla="*/ 269 w 271"/>
                  <a:gd name="T69" fmla="*/ 129 h 154"/>
                  <a:gd name="T70" fmla="*/ 269 w 271"/>
                  <a:gd name="T71" fmla="*/ 131 h 154"/>
                  <a:gd name="T72" fmla="*/ 271 w 271"/>
                  <a:gd name="T73" fmla="*/ 136 h 154"/>
                  <a:gd name="T74" fmla="*/ 269 w 271"/>
                  <a:gd name="T75" fmla="*/ 139 h 154"/>
                  <a:gd name="T76" fmla="*/ 269 w 271"/>
                  <a:gd name="T77" fmla="*/ 143 h 154"/>
                  <a:gd name="T78" fmla="*/ 266 w 271"/>
                  <a:gd name="T79" fmla="*/ 146 h 154"/>
                  <a:gd name="T80" fmla="*/ 265 w 271"/>
                  <a:gd name="T81" fmla="*/ 149 h 154"/>
                  <a:gd name="T82" fmla="*/ 262 w 271"/>
                  <a:gd name="T83" fmla="*/ 152 h 154"/>
                  <a:gd name="T84" fmla="*/ 258 w 271"/>
                  <a:gd name="T85" fmla="*/ 153 h 154"/>
                  <a:gd name="T86" fmla="*/ 255 w 271"/>
                  <a:gd name="T87" fmla="*/ 154 h 154"/>
                  <a:gd name="T88" fmla="*/ 250 w 271"/>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154">
                    <a:moveTo>
                      <a:pt x="250" y="154"/>
                    </a:moveTo>
                    <a:lnTo>
                      <a:pt x="247" y="154"/>
                    </a:lnTo>
                    <a:lnTo>
                      <a:pt x="243" y="153"/>
                    </a:lnTo>
                    <a:lnTo>
                      <a:pt x="240" y="152"/>
                    </a:lnTo>
                    <a:lnTo>
                      <a:pt x="237" y="149"/>
                    </a:lnTo>
                    <a:lnTo>
                      <a:pt x="135" y="46"/>
                    </a:lnTo>
                    <a:lnTo>
                      <a:pt x="33" y="149"/>
                    </a:lnTo>
                    <a:lnTo>
                      <a:pt x="30" y="152"/>
                    </a:lnTo>
                    <a:lnTo>
                      <a:pt x="26" y="153"/>
                    </a:lnTo>
                    <a:lnTo>
                      <a:pt x="23" y="154"/>
                    </a:lnTo>
                    <a:lnTo>
                      <a:pt x="19" y="154"/>
                    </a:lnTo>
                    <a:lnTo>
                      <a:pt x="16" y="154"/>
                    </a:lnTo>
                    <a:lnTo>
                      <a:pt x="11" y="153"/>
                    </a:lnTo>
                    <a:lnTo>
                      <a:pt x="8" y="152"/>
                    </a:lnTo>
                    <a:lnTo>
                      <a:pt x="6" y="149"/>
                    </a:lnTo>
                    <a:lnTo>
                      <a:pt x="3" y="146"/>
                    </a:lnTo>
                    <a:lnTo>
                      <a:pt x="1" y="143"/>
                    </a:lnTo>
                    <a:lnTo>
                      <a:pt x="0" y="139"/>
                    </a:lnTo>
                    <a:lnTo>
                      <a:pt x="0" y="136"/>
                    </a:lnTo>
                    <a:lnTo>
                      <a:pt x="0" y="131"/>
                    </a:lnTo>
                    <a:lnTo>
                      <a:pt x="1" y="129"/>
                    </a:lnTo>
                    <a:lnTo>
                      <a:pt x="3" y="124"/>
                    </a:lnTo>
                    <a:lnTo>
                      <a:pt x="6" y="121"/>
                    </a:lnTo>
                    <a:lnTo>
                      <a:pt x="121" y="6"/>
                    </a:lnTo>
                    <a:lnTo>
                      <a:pt x="124" y="3"/>
                    </a:lnTo>
                    <a:lnTo>
                      <a:pt x="128" y="2"/>
                    </a:lnTo>
                    <a:lnTo>
                      <a:pt x="131" y="0"/>
                    </a:lnTo>
                    <a:lnTo>
                      <a:pt x="135" y="0"/>
                    </a:lnTo>
                    <a:lnTo>
                      <a:pt x="138" y="0"/>
                    </a:lnTo>
                    <a:lnTo>
                      <a:pt x="142" y="2"/>
                    </a:lnTo>
                    <a:lnTo>
                      <a:pt x="145" y="3"/>
                    </a:lnTo>
                    <a:lnTo>
                      <a:pt x="148" y="6"/>
                    </a:lnTo>
                    <a:lnTo>
                      <a:pt x="265" y="121"/>
                    </a:lnTo>
                    <a:lnTo>
                      <a:pt x="266" y="124"/>
                    </a:lnTo>
                    <a:lnTo>
                      <a:pt x="269" y="129"/>
                    </a:lnTo>
                    <a:lnTo>
                      <a:pt x="269" y="131"/>
                    </a:lnTo>
                    <a:lnTo>
                      <a:pt x="271" y="136"/>
                    </a:lnTo>
                    <a:lnTo>
                      <a:pt x="269" y="139"/>
                    </a:lnTo>
                    <a:lnTo>
                      <a:pt x="269" y="143"/>
                    </a:lnTo>
                    <a:lnTo>
                      <a:pt x="266" y="146"/>
                    </a:lnTo>
                    <a:lnTo>
                      <a:pt x="265" y="149"/>
                    </a:lnTo>
                    <a:lnTo>
                      <a:pt x="262" y="152"/>
                    </a:lnTo>
                    <a:lnTo>
                      <a:pt x="258" y="153"/>
                    </a:lnTo>
                    <a:lnTo>
                      <a:pt x="255" y="154"/>
                    </a:lnTo>
                    <a:lnTo>
                      <a:pt x="25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4" name="Freeform 443"/>
              <p:cNvSpPr>
                <a:spLocks/>
              </p:cNvSpPr>
              <p:nvPr/>
            </p:nvSpPr>
            <p:spPr bwMode="auto">
              <a:xfrm>
                <a:off x="1345101" y="5221325"/>
                <a:ext cx="365454" cy="336334"/>
              </a:xfrm>
              <a:custGeom>
                <a:avLst/>
                <a:gdLst>
                  <a:gd name="T0" fmla="*/ 444 w 753"/>
                  <a:gd name="T1" fmla="*/ 695 h 695"/>
                  <a:gd name="T2" fmla="*/ 19 w 753"/>
                  <a:gd name="T3" fmla="*/ 695 h 695"/>
                  <a:gd name="T4" fmla="*/ 16 w 753"/>
                  <a:gd name="T5" fmla="*/ 695 h 695"/>
                  <a:gd name="T6" fmla="*/ 12 w 753"/>
                  <a:gd name="T7" fmla="*/ 694 h 695"/>
                  <a:gd name="T8" fmla="*/ 9 w 753"/>
                  <a:gd name="T9" fmla="*/ 692 h 695"/>
                  <a:gd name="T10" fmla="*/ 6 w 753"/>
                  <a:gd name="T11" fmla="*/ 690 h 695"/>
                  <a:gd name="T12" fmla="*/ 3 w 753"/>
                  <a:gd name="T13" fmla="*/ 687 h 695"/>
                  <a:gd name="T14" fmla="*/ 2 w 753"/>
                  <a:gd name="T15" fmla="*/ 684 h 695"/>
                  <a:gd name="T16" fmla="*/ 0 w 753"/>
                  <a:gd name="T17" fmla="*/ 679 h 695"/>
                  <a:gd name="T18" fmla="*/ 0 w 753"/>
                  <a:gd name="T19" fmla="*/ 677 h 695"/>
                  <a:gd name="T20" fmla="*/ 0 w 753"/>
                  <a:gd name="T21" fmla="*/ 672 h 695"/>
                  <a:gd name="T22" fmla="*/ 2 w 753"/>
                  <a:gd name="T23" fmla="*/ 668 h 695"/>
                  <a:gd name="T24" fmla="*/ 3 w 753"/>
                  <a:gd name="T25" fmla="*/ 665 h 695"/>
                  <a:gd name="T26" fmla="*/ 6 w 753"/>
                  <a:gd name="T27" fmla="*/ 662 h 695"/>
                  <a:gd name="T28" fmla="*/ 9 w 753"/>
                  <a:gd name="T29" fmla="*/ 659 h 695"/>
                  <a:gd name="T30" fmla="*/ 12 w 753"/>
                  <a:gd name="T31" fmla="*/ 658 h 695"/>
                  <a:gd name="T32" fmla="*/ 16 w 753"/>
                  <a:gd name="T33" fmla="*/ 656 h 695"/>
                  <a:gd name="T34" fmla="*/ 19 w 753"/>
                  <a:gd name="T35" fmla="*/ 656 h 695"/>
                  <a:gd name="T36" fmla="*/ 429 w 753"/>
                  <a:gd name="T37" fmla="*/ 656 h 695"/>
                  <a:gd name="T38" fmla="*/ 581 w 753"/>
                  <a:gd name="T39" fmla="*/ 15 h 695"/>
                  <a:gd name="T40" fmla="*/ 582 w 753"/>
                  <a:gd name="T41" fmla="*/ 8 h 695"/>
                  <a:gd name="T42" fmla="*/ 586 w 753"/>
                  <a:gd name="T43" fmla="*/ 4 h 695"/>
                  <a:gd name="T44" fmla="*/ 592 w 753"/>
                  <a:gd name="T45" fmla="*/ 1 h 695"/>
                  <a:gd name="T46" fmla="*/ 599 w 753"/>
                  <a:gd name="T47" fmla="*/ 0 h 695"/>
                  <a:gd name="T48" fmla="*/ 733 w 753"/>
                  <a:gd name="T49" fmla="*/ 0 h 695"/>
                  <a:gd name="T50" fmla="*/ 738 w 753"/>
                  <a:gd name="T51" fmla="*/ 0 h 695"/>
                  <a:gd name="T52" fmla="*/ 742 w 753"/>
                  <a:gd name="T53" fmla="*/ 1 h 695"/>
                  <a:gd name="T54" fmla="*/ 745 w 753"/>
                  <a:gd name="T55" fmla="*/ 2 h 695"/>
                  <a:gd name="T56" fmla="*/ 748 w 753"/>
                  <a:gd name="T57" fmla="*/ 5 h 695"/>
                  <a:gd name="T58" fmla="*/ 751 w 753"/>
                  <a:gd name="T59" fmla="*/ 8 h 695"/>
                  <a:gd name="T60" fmla="*/ 752 w 753"/>
                  <a:gd name="T61" fmla="*/ 11 h 695"/>
                  <a:gd name="T62" fmla="*/ 753 w 753"/>
                  <a:gd name="T63" fmla="*/ 15 h 695"/>
                  <a:gd name="T64" fmla="*/ 753 w 753"/>
                  <a:gd name="T65" fmla="*/ 20 h 695"/>
                  <a:gd name="T66" fmla="*/ 753 w 753"/>
                  <a:gd name="T67" fmla="*/ 23 h 695"/>
                  <a:gd name="T68" fmla="*/ 752 w 753"/>
                  <a:gd name="T69" fmla="*/ 27 h 695"/>
                  <a:gd name="T70" fmla="*/ 751 w 753"/>
                  <a:gd name="T71" fmla="*/ 30 h 695"/>
                  <a:gd name="T72" fmla="*/ 748 w 753"/>
                  <a:gd name="T73" fmla="*/ 33 h 695"/>
                  <a:gd name="T74" fmla="*/ 745 w 753"/>
                  <a:gd name="T75" fmla="*/ 36 h 695"/>
                  <a:gd name="T76" fmla="*/ 742 w 753"/>
                  <a:gd name="T77" fmla="*/ 37 h 695"/>
                  <a:gd name="T78" fmla="*/ 738 w 753"/>
                  <a:gd name="T79" fmla="*/ 38 h 695"/>
                  <a:gd name="T80" fmla="*/ 733 w 753"/>
                  <a:gd name="T81" fmla="*/ 38 h 695"/>
                  <a:gd name="T82" fmla="*/ 614 w 753"/>
                  <a:gd name="T83" fmla="*/ 38 h 695"/>
                  <a:gd name="T84" fmla="*/ 463 w 753"/>
                  <a:gd name="T85" fmla="*/ 681 h 695"/>
                  <a:gd name="T86" fmla="*/ 461 w 753"/>
                  <a:gd name="T87" fmla="*/ 687 h 695"/>
                  <a:gd name="T88" fmla="*/ 457 w 753"/>
                  <a:gd name="T89" fmla="*/ 691 h 695"/>
                  <a:gd name="T90" fmla="*/ 451 w 753"/>
                  <a:gd name="T91" fmla="*/ 694 h 695"/>
                  <a:gd name="T92" fmla="*/ 444 w 753"/>
                  <a:gd name="T93"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3" h="695">
                    <a:moveTo>
                      <a:pt x="444" y="695"/>
                    </a:moveTo>
                    <a:lnTo>
                      <a:pt x="19" y="695"/>
                    </a:lnTo>
                    <a:lnTo>
                      <a:pt x="16" y="695"/>
                    </a:lnTo>
                    <a:lnTo>
                      <a:pt x="12" y="694"/>
                    </a:lnTo>
                    <a:lnTo>
                      <a:pt x="9" y="692"/>
                    </a:lnTo>
                    <a:lnTo>
                      <a:pt x="6" y="690"/>
                    </a:lnTo>
                    <a:lnTo>
                      <a:pt x="3" y="687"/>
                    </a:lnTo>
                    <a:lnTo>
                      <a:pt x="2" y="684"/>
                    </a:lnTo>
                    <a:lnTo>
                      <a:pt x="0" y="679"/>
                    </a:lnTo>
                    <a:lnTo>
                      <a:pt x="0" y="677"/>
                    </a:lnTo>
                    <a:lnTo>
                      <a:pt x="0" y="672"/>
                    </a:lnTo>
                    <a:lnTo>
                      <a:pt x="2" y="668"/>
                    </a:lnTo>
                    <a:lnTo>
                      <a:pt x="3" y="665"/>
                    </a:lnTo>
                    <a:lnTo>
                      <a:pt x="6" y="662"/>
                    </a:lnTo>
                    <a:lnTo>
                      <a:pt x="9" y="659"/>
                    </a:lnTo>
                    <a:lnTo>
                      <a:pt x="12" y="658"/>
                    </a:lnTo>
                    <a:lnTo>
                      <a:pt x="16" y="656"/>
                    </a:lnTo>
                    <a:lnTo>
                      <a:pt x="19" y="656"/>
                    </a:lnTo>
                    <a:lnTo>
                      <a:pt x="429" y="656"/>
                    </a:lnTo>
                    <a:lnTo>
                      <a:pt x="581" y="15"/>
                    </a:lnTo>
                    <a:lnTo>
                      <a:pt x="582" y="8"/>
                    </a:lnTo>
                    <a:lnTo>
                      <a:pt x="586" y="4"/>
                    </a:lnTo>
                    <a:lnTo>
                      <a:pt x="592" y="1"/>
                    </a:lnTo>
                    <a:lnTo>
                      <a:pt x="599" y="0"/>
                    </a:lnTo>
                    <a:lnTo>
                      <a:pt x="733" y="0"/>
                    </a:lnTo>
                    <a:lnTo>
                      <a:pt x="738" y="0"/>
                    </a:lnTo>
                    <a:lnTo>
                      <a:pt x="742" y="1"/>
                    </a:lnTo>
                    <a:lnTo>
                      <a:pt x="745" y="2"/>
                    </a:lnTo>
                    <a:lnTo>
                      <a:pt x="748" y="5"/>
                    </a:lnTo>
                    <a:lnTo>
                      <a:pt x="751" y="8"/>
                    </a:lnTo>
                    <a:lnTo>
                      <a:pt x="752" y="11"/>
                    </a:lnTo>
                    <a:lnTo>
                      <a:pt x="753" y="15"/>
                    </a:lnTo>
                    <a:lnTo>
                      <a:pt x="753" y="20"/>
                    </a:lnTo>
                    <a:lnTo>
                      <a:pt x="753" y="23"/>
                    </a:lnTo>
                    <a:lnTo>
                      <a:pt x="752" y="27"/>
                    </a:lnTo>
                    <a:lnTo>
                      <a:pt x="751" y="30"/>
                    </a:lnTo>
                    <a:lnTo>
                      <a:pt x="748" y="33"/>
                    </a:lnTo>
                    <a:lnTo>
                      <a:pt x="745" y="36"/>
                    </a:lnTo>
                    <a:lnTo>
                      <a:pt x="742" y="37"/>
                    </a:lnTo>
                    <a:lnTo>
                      <a:pt x="738" y="38"/>
                    </a:lnTo>
                    <a:lnTo>
                      <a:pt x="733" y="38"/>
                    </a:lnTo>
                    <a:lnTo>
                      <a:pt x="614" y="38"/>
                    </a:lnTo>
                    <a:lnTo>
                      <a:pt x="463" y="681"/>
                    </a:lnTo>
                    <a:lnTo>
                      <a:pt x="461" y="687"/>
                    </a:lnTo>
                    <a:lnTo>
                      <a:pt x="457" y="691"/>
                    </a:lnTo>
                    <a:lnTo>
                      <a:pt x="451" y="694"/>
                    </a:lnTo>
                    <a:lnTo>
                      <a:pt x="444" y="6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5" name="Freeform 444"/>
              <p:cNvSpPr>
                <a:spLocks/>
              </p:cNvSpPr>
              <p:nvPr/>
            </p:nvSpPr>
            <p:spPr bwMode="auto">
              <a:xfrm>
                <a:off x="1260653" y="5333436"/>
                <a:ext cx="356718" cy="187823"/>
              </a:xfrm>
              <a:custGeom>
                <a:avLst/>
                <a:gdLst>
                  <a:gd name="T0" fmla="*/ 638 w 734"/>
                  <a:gd name="T1" fmla="*/ 387 h 387"/>
                  <a:gd name="T2" fmla="*/ 135 w 734"/>
                  <a:gd name="T3" fmla="*/ 387 h 387"/>
                  <a:gd name="T4" fmla="*/ 130 w 734"/>
                  <a:gd name="T5" fmla="*/ 387 h 387"/>
                  <a:gd name="T6" fmla="*/ 124 w 734"/>
                  <a:gd name="T7" fmla="*/ 384 h 387"/>
                  <a:gd name="T8" fmla="*/ 120 w 734"/>
                  <a:gd name="T9" fmla="*/ 379 h 387"/>
                  <a:gd name="T10" fmla="*/ 117 w 734"/>
                  <a:gd name="T11" fmla="*/ 374 h 387"/>
                  <a:gd name="T12" fmla="*/ 2 w 734"/>
                  <a:gd name="T13" fmla="*/ 26 h 387"/>
                  <a:gd name="T14" fmla="*/ 0 w 734"/>
                  <a:gd name="T15" fmla="*/ 22 h 387"/>
                  <a:gd name="T16" fmla="*/ 0 w 734"/>
                  <a:gd name="T17" fmla="*/ 16 h 387"/>
                  <a:gd name="T18" fmla="*/ 2 w 734"/>
                  <a:gd name="T19" fmla="*/ 12 h 387"/>
                  <a:gd name="T20" fmla="*/ 4 w 734"/>
                  <a:gd name="T21" fmla="*/ 9 h 387"/>
                  <a:gd name="T22" fmla="*/ 7 w 734"/>
                  <a:gd name="T23" fmla="*/ 5 h 387"/>
                  <a:gd name="T24" fmla="*/ 12 w 734"/>
                  <a:gd name="T25" fmla="*/ 3 h 387"/>
                  <a:gd name="T26" fmla="*/ 14 w 734"/>
                  <a:gd name="T27" fmla="*/ 0 h 387"/>
                  <a:gd name="T28" fmla="*/ 20 w 734"/>
                  <a:gd name="T29" fmla="*/ 0 h 387"/>
                  <a:gd name="T30" fmla="*/ 714 w 734"/>
                  <a:gd name="T31" fmla="*/ 0 h 387"/>
                  <a:gd name="T32" fmla="*/ 719 w 734"/>
                  <a:gd name="T33" fmla="*/ 0 h 387"/>
                  <a:gd name="T34" fmla="*/ 723 w 734"/>
                  <a:gd name="T35" fmla="*/ 2 h 387"/>
                  <a:gd name="T36" fmla="*/ 726 w 734"/>
                  <a:gd name="T37" fmla="*/ 3 h 387"/>
                  <a:gd name="T38" fmla="*/ 729 w 734"/>
                  <a:gd name="T39" fmla="*/ 6 h 387"/>
                  <a:gd name="T40" fmla="*/ 732 w 734"/>
                  <a:gd name="T41" fmla="*/ 9 h 387"/>
                  <a:gd name="T42" fmla="*/ 733 w 734"/>
                  <a:gd name="T43" fmla="*/ 12 h 387"/>
                  <a:gd name="T44" fmla="*/ 734 w 734"/>
                  <a:gd name="T45" fmla="*/ 16 h 387"/>
                  <a:gd name="T46" fmla="*/ 734 w 734"/>
                  <a:gd name="T47" fmla="*/ 21 h 387"/>
                  <a:gd name="T48" fmla="*/ 734 w 734"/>
                  <a:gd name="T49" fmla="*/ 24 h 387"/>
                  <a:gd name="T50" fmla="*/ 733 w 734"/>
                  <a:gd name="T51" fmla="*/ 28 h 387"/>
                  <a:gd name="T52" fmla="*/ 732 w 734"/>
                  <a:gd name="T53" fmla="*/ 31 h 387"/>
                  <a:gd name="T54" fmla="*/ 729 w 734"/>
                  <a:gd name="T55" fmla="*/ 34 h 387"/>
                  <a:gd name="T56" fmla="*/ 726 w 734"/>
                  <a:gd name="T57" fmla="*/ 36 h 387"/>
                  <a:gd name="T58" fmla="*/ 723 w 734"/>
                  <a:gd name="T59" fmla="*/ 38 h 387"/>
                  <a:gd name="T60" fmla="*/ 719 w 734"/>
                  <a:gd name="T61" fmla="*/ 39 h 387"/>
                  <a:gd name="T62" fmla="*/ 714 w 734"/>
                  <a:gd name="T63" fmla="*/ 39 h 387"/>
                  <a:gd name="T64" fmla="*/ 46 w 734"/>
                  <a:gd name="T65" fmla="*/ 39 h 387"/>
                  <a:gd name="T66" fmla="*/ 150 w 734"/>
                  <a:gd name="T67" fmla="*/ 348 h 387"/>
                  <a:gd name="T68" fmla="*/ 638 w 734"/>
                  <a:gd name="T69" fmla="*/ 348 h 387"/>
                  <a:gd name="T70" fmla="*/ 641 w 734"/>
                  <a:gd name="T71" fmla="*/ 349 h 387"/>
                  <a:gd name="T72" fmla="*/ 645 w 734"/>
                  <a:gd name="T73" fmla="*/ 350 h 387"/>
                  <a:gd name="T74" fmla="*/ 648 w 734"/>
                  <a:gd name="T75" fmla="*/ 352 h 387"/>
                  <a:gd name="T76" fmla="*/ 651 w 734"/>
                  <a:gd name="T77" fmla="*/ 353 h 387"/>
                  <a:gd name="T78" fmla="*/ 654 w 734"/>
                  <a:gd name="T79" fmla="*/ 356 h 387"/>
                  <a:gd name="T80" fmla="*/ 655 w 734"/>
                  <a:gd name="T81" fmla="*/ 361 h 387"/>
                  <a:gd name="T82" fmla="*/ 657 w 734"/>
                  <a:gd name="T83" fmla="*/ 363 h 387"/>
                  <a:gd name="T84" fmla="*/ 657 w 734"/>
                  <a:gd name="T85" fmla="*/ 368 h 387"/>
                  <a:gd name="T86" fmla="*/ 657 w 734"/>
                  <a:gd name="T87" fmla="*/ 372 h 387"/>
                  <a:gd name="T88" fmla="*/ 655 w 734"/>
                  <a:gd name="T89" fmla="*/ 375 h 387"/>
                  <a:gd name="T90" fmla="*/ 654 w 734"/>
                  <a:gd name="T91" fmla="*/ 378 h 387"/>
                  <a:gd name="T92" fmla="*/ 651 w 734"/>
                  <a:gd name="T93" fmla="*/ 381 h 387"/>
                  <a:gd name="T94" fmla="*/ 648 w 734"/>
                  <a:gd name="T95" fmla="*/ 384 h 387"/>
                  <a:gd name="T96" fmla="*/ 645 w 734"/>
                  <a:gd name="T97" fmla="*/ 385 h 387"/>
                  <a:gd name="T98" fmla="*/ 641 w 734"/>
                  <a:gd name="T99" fmla="*/ 387 h 387"/>
                  <a:gd name="T100" fmla="*/ 638 w 734"/>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4" h="387">
                    <a:moveTo>
                      <a:pt x="638" y="387"/>
                    </a:moveTo>
                    <a:lnTo>
                      <a:pt x="135" y="387"/>
                    </a:lnTo>
                    <a:lnTo>
                      <a:pt x="130" y="387"/>
                    </a:lnTo>
                    <a:lnTo>
                      <a:pt x="124" y="384"/>
                    </a:lnTo>
                    <a:lnTo>
                      <a:pt x="120" y="379"/>
                    </a:lnTo>
                    <a:lnTo>
                      <a:pt x="117" y="374"/>
                    </a:lnTo>
                    <a:lnTo>
                      <a:pt x="2" y="26"/>
                    </a:lnTo>
                    <a:lnTo>
                      <a:pt x="0" y="22"/>
                    </a:lnTo>
                    <a:lnTo>
                      <a:pt x="0" y="16"/>
                    </a:lnTo>
                    <a:lnTo>
                      <a:pt x="2" y="12"/>
                    </a:lnTo>
                    <a:lnTo>
                      <a:pt x="4" y="9"/>
                    </a:lnTo>
                    <a:lnTo>
                      <a:pt x="7" y="5"/>
                    </a:lnTo>
                    <a:lnTo>
                      <a:pt x="12" y="3"/>
                    </a:lnTo>
                    <a:lnTo>
                      <a:pt x="14" y="0"/>
                    </a:lnTo>
                    <a:lnTo>
                      <a:pt x="20" y="0"/>
                    </a:lnTo>
                    <a:lnTo>
                      <a:pt x="714" y="0"/>
                    </a:lnTo>
                    <a:lnTo>
                      <a:pt x="719" y="0"/>
                    </a:lnTo>
                    <a:lnTo>
                      <a:pt x="723" y="2"/>
                    </a:lnTo>
                    <a:lnTo>
                      <a:pt x="726" y="3"/>
                    </a:lnTo>
                    <a:lnTo>
                      <a:pt x="729" y="6"/>
                    </a:lnTo>
                    <a:lnTo>
                      <a:pt x="732" y="9"/>
                    </a:lnTo>
                    <a:lnTo>
                      <a:pt x="733" y="12"/>
                    </a:lnTo>
                    <a:lnTo>
                      <a:pt x="734" y="16"/>
                    </a:lnTo>
                    <a:lnTo>
                      <a:pt x="734" y="21"/>
                    </a:lnTo>
                    <a:lnTo>
                      <a:pt x="734" y="24"/>
                    </a:lnTo>
                    <a:lnTo>
                      <a:pt x="733" y="28"/>
                    </a:lnTo>
                    <a:lnTo>
                      <a:pt x="732" y="31"/>
                    </a:lnTo>
                    <a:lnTo>
                      <a:pt x="729" y="34"/>
                    </a:lnTo>
                    <a:lnTo>
                      <a:pt x="726" y="36"/>
                    </a:lnTo>
                    <a:lnTo>
                      <a:pt x="723" y="38"/>
                    </a:lnTo>
                    <a:lnTo>
                      <a:pt x="719" y="39"/>
                    </a:lnTo>
                    <a:lnTo>
                      <a:pt x="714" y="39"/>
                    </a:lnTo>
                    <a:lnTo>
                      <a:pt x="46" y="39"/>
                    </a:lnTo>
                    <a:lnTo>
                      <a:pt x="150" y="348"/>
                    </a:lnTo>
                    <a:lnTo>
                      <a:pt x="638" y="348"/>
                    </a:lnTo>
                    <a:lnTo>
                      <a:pt x="641" y="349"/>
                    </a:lnTo>
                    <a:lnTo>
                      <a:pt x="645" y="350"/>
                    </a:lnTo>
                    <a:lnTo>
                      <a:pt x="648" y="352"/>
                    </a:lnTo>
                    <a:lnTo>
                      <a:pt x="651" y="353"/>
                    </a:lnTo>
                    <a:lnTo>
                      <a:pt x="654" y="356"/>
                    </a:lnTo>
                    <a:lnTo>
                      <a:pt x="655" y="361"/>
                    </a:lnTo>
                    <a:lnTo>
                      <a:pt x="657" y="363"/>
                    </a:lnTo>
                    <a:lnTo>
                      <a:pt x="657" y="368"/>
                    </a:lnTo>
                    <a:lnTo>
                      <a:pt x="657" y="372"/>
                    </a:lnTo>
                    <a:lnTo>
                      <a:pt x="655" y="375"/>
                    </a:lnTo>
                    <a:lnTo>
                      <a:pt x="654" y="378"/>
                    </a:lnTo>
                    <a:lnTo>
                      <a:pt x="651" y="381"/>
                    </a:lnTo>
                    <a:lnTo>
                      <a:pt x="648" y="384"/>
                    </a:lnTo>
                    <a:lnTo>
                      <a:pt x="645" y="385"/>
                    </a:lnTo>
                    <a:lnTo>
                      <a:pt x="641" y="387"/>
                    </a:lnTo>
                    <a:lnTo>
                      <a:pt x="638"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grpSp>
      <p:grpSp>
        <p:nvGrpSpPr>
          <p:cNvPr id="28" name="Group 27"/>
          <p:cNvGrpSpPr/>
          <p:nvPr/>
        </p:nvGrpSpPr>
        <p:grpSpPr>
          <a:xfrm>
            <a:off x="8105533" y="3397481"/>
            <a:ext cx="688207" cy="688207"/>
            <a:chOff x="7521807" y="3040069"/>
            <a:chExt cx="688207" cy="688207"/>
          </a:xfrm>
        </p:grpSpPr>
        <p:sp>
          <p:nvSpPr>
            <p:cNvPr id="29" name="Oval 28"/>
            <p:cNvSpPr/>
            <p:nvPr/>
          </p:nvSpPr>
          <p:spPr>
            <a:xfrm>
              <a:off x="7521807" y="3040069"/>
              <a:ext cx="688207" cy="68820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p:cNvGrpSpPr/>
            <p:nvPr/>
          </p:nvGrpSpPr>
          <p:grpSpPr>
            <a:xfrm>
              <a:off x="7694505" y="3244402"/>
              <a:ext cx="371819" cy="321281"/>
              <a:chOff x="504994" y="5962425"/>
              <a:chExt cx="449901" cy="388750"/>
            </a:xfrm>
            <a:solidFill>
              <a:schemeClr val="bg1"/>
            </a:solidFill>
          </p:grpSpPr>
          <p:sp>
            <p:nvSpPr>
              <p:cNvPr id="31" name="Freeform 591"/>
              <p:cNvSpPr>
                <a:spLocks noEditPoints="1"/>
              </p:cNvSpPr>
              <p:nvPr/>
            </p:nvSpPr>
            <p:spPr bwMode="auto">
              <a:xfrm>
                <a:off x="504994" y="5962425"/>
                <a:ext cx="449901" cy="388750"/>
              </a:xfrm>
              <a:custGeom>
                <a:avLst/>
                <a:gdLst>
                  <a:gd name="T0" fmla="*/ 55 w 927"/>
                  <a:gd name="T1" fmla="*/ 39 h 800"/>
                  <a:gd name="T2" fmla="*/ 48 w 927"/>
                  <a:gd name="T3" fmla="*/ 42 h 800"/>
                  <a:gd name="T4" fmla="*/ 42 w 927"/>
                  <a:gd name="T5" fmla="*/ 46 h 800"/>
                  <a:gd name="T6" fmla="*/ 39 w 927"/>
                  <a:gd name="T7" fmla="*/ 54 h 800"/>
                  <a:gd name="T8" fmla="*/ 39 w 927"/>
                  <a:gd name="T9" fmla="*/ 559 h 800"/>
                  <a:gd name="T10" fmla="*/ 40 w 927"/>
                  <a:gd name="T11" fmla="*/ 568 h 800"/>
                  <a:gd name="T12" fmla="*/ 45 w 927"/>
                  <a:gd name="T13" fmla="*/ 573 h 800"/>
                  <a:gd name="T14" fmla="*/ 50 w 927"/>
                  <a:gd name="T15" fmla="*/ 578 h 800"/>
                  <a:gd name="T16" fmla="*/ 58 w 927"/>
                  <a:gd name="T17" fmla="*/ 579 h 800"/>
                  <a:gd name="T18" fmla="*/ 154 w 927"/>
                  <a:gd name="T19" fmla="*/ 706 h 800"/>
                  <a:gd name="T20" fmla="*/ 868 w 927"/>
                  <a:gd name="T21" fmla="*/ 579 h 800"/>
                  <a:gd name="T22" fmla="*/ 877 w 927"/>
                  <a:gd name="T23" fmla="*/ 578 h 800"/>
                  <a:gd name="T24" fmla="*/ 883 w 927"/>
                  <a:gd name="T25" fmla="*/ 573 h 800"/>
                  <a:gd name="T26" fmla="*/ 887 w 927"/>
                  <a:gd name="T27" fmla="*/ 568 h 800"/>
                  <a:gd name="T28" fmla="*/ 888 w 927"/>
                  <a:gd name="T29" fmla="*/ 559 h 800"/>
                  <a:gd name="T30" fmla="*/ 888 w 927"/>
                  <a:gd name="T31" fmla="*/ 54 h 800"/>
                  <a:gd name="T32" fmla="*/ 886 w 927"/>
                  <a:gd name="T33" fmla="*/ 46 h 800"/>
                  <a:gd name="T34" fmla="*/ 880 w 927"/>
                  <a:gd name="T35" fmla="*/ 42 h 800"/>
                  <a:gd name="T36" fmla="*/ 873 w 927"/>
                  <a:gd name="T37" fmla="*/ 39 h 800"/>
                  <a:gd name="T38" fmla="*/ 58 w 927"/>
                  <a:gd name="T39" fmla="*/ 38 h 800"/>
                  <a:gd name="T40" fmla="*/ 115 w 927"/>
                  <a:gd name="T41" fmla="*/ 618 h 800"/>
                  <a:gd name="T42" fmla="*/ 46 w 927"/>
                  <a:gd name="T43" fmla="*/ 617 h 800"/>
                  <a:gd name="T44" fmla="*/ 26 w 927"/>
                  <a:gd name="T45" fmla="*/ 608 h 800"/>
                  <a:gd name="T46" fmla="*/ 10 w 927"/>
                  <a:gd name="T47" fmla="*/ 592 h 800"/>
                  <a:gd name="T48" fmla="*/ 1 w 927"/>
                  <a:gd name="T49" fmla="*/ 571 h 800"/>
                  <a:gd name="T50" fmla="*/ 0 w 927"/>
                  <a:gd name="T51" fmla="*/ 58 h 800"/>
                  <a:gd name="T52" fmla="*/ 4 w 927"/>
                  <a:gd name="T53" fmla="*/ 35 h 800"/>
                  <a:gd name="T54" fmla="*/ 17 w 927"/>
                  <a:gd name="T55" fmla="*/ 16 h 800"/>
                  <a:gd name="T56" fmla="*/ 36 w 927"/>
                  <a:gd name="T57" fmla="*/ 5 h 800"/>
                  <a:gd name="T58" fmla="*/ 58 w 927"/>
                  <a:gd name="T59" fmla="*/ 0 h 800"/>
                  <a:gd name="T60" fmla="*/ 881 w 927"/>
                  <a:gd name="T61" fmla="*/ 0 h 800"/>
                  <a:gd name="T62" fmla="*/ 901 w 927"/>
                  <a:gd name="T63" fmla="*/ 9 h 800"/>
                  <a:gd name="T64" fmla="*/ 917 w 927"/>
                  <a:gd name="T65" fmla="*/ 25 h 800"/>
                  <a:gd name="T66" fmla="*/ 926 w 927"/>
                  <a:gd name="T67" fmla="*/ 46 h 800"/>
                  <a:gd name="T68" fmla="*/ 927 w 927"/>
                  <a:gd name="T69" fmla="*/ 559 h 800"/>
                  <a:gd name="T70" fmla="*/ 922 w 927"/>
                  <a:gd name="T71" fmla="*/ 582 h 800"/>
                  <a:gd name="T72" fmla="*/ 910 w 927"/>
                  <a:gd name="T73" fmla="*/ 601 h 800"/>
                  <a:gd name="T74" fmla="*/ 891 w 927"/>
                  <a:gd name="T75" fmla="*/ 612 h 800"/>
                  <a:gd name="T76" fmla="*/ 868 w 927"/>
                  <a:gd name="T77" fmla="*/ 618 h 800"/>
                  <a:gd name="T78" fmla="*/ 115 w 927"/>
                  <a:gd name="T79" fmla="*/ 8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7" h="800">
                    <a:moveTo>
                      <a:pt x="58" y="38"/>
                    </a:moveTo>
                    <a:lnTo>
                      <a:pt x="55" y="39"/>
                    </a:lnTo>
                    <a:lnTo>
                      <a:pt x="50" y="39"/>
                    </a:lnTo>
                    <a:lnTo>
                      <a:pt x="48" y="42"/>
                    </a:lnTo>
                    <a:lnTo>
                      <a:pt x="45" y="43"/>
                    </a:lnTo>
                    <a:lnTo>
                      <a:pt x="42" y="46"/>
                    </a:lnTo>
                    <a:lnTo>
                      <a:pt x="40" y="51"/>
                    </a:lnTo>
                    <a:lnTo>
                      <a:pt x="39" y="54"/>
                    </a:lnTo>
                    <a:lnTo>
                      <a:pt x="39" y="58"/>
                    </a:lnTo>
                    <a:lnTo>
                      <a:pt x="39" y="559"/>
                    </a:lnTo>
                    <a:lnTo>
                      <a:pt x="39" y="563"/>
                    </a:lnTo>
                    <a:lnTo>
                      <a:pt x="40" y="568"/>
                    </a:lnTo>
                    <a:lnTo>
                      <a:pt x="42" y="571"/>
                    </a:lnTo>
                    <a:lnTo>
                      <a:pt x="45" y="573"/>
                    </a:lnTo>
                    <a:lnTo>
                      <a:pt x="48" y="575"/>
                    </a:lnTo>
                    <a:lnTo>
                      <a:pt x="50" y="578"/>
                    </a:lnTo>
                    <a:lnTo>
                      <a:pt x="55" y="579"/>
                    </a:lnTo>
                    <a:lnTo>
                      <a:pt x="58" y="579"/>
                    </a:lnTo>
                    <a:lnTo>
                      <a:pt x="154" y="579"/>
                    </a:lnTo>
                    <a:lnTo>
                      <a:pt x="154" y="706"/>
                    </a:lnTo>
                    <a:lnTo>
                      <a:pt x="282" y="579"/>
                    </a:lnTo>
                    <a:lnTo>
                      <a:pt x="868" y="579"/>
                    </a:lnTo>
                    <a:lnTo>
                      <a:pt x="873" y="579"/>
                    </a:lnTo>
                    <a:lnTo>
                      <a:pt x="877" y="578"/>
                    </a:lnTo>
                    <a:lnTo>
                      <a:pt x="880" y="575"/>
                    </a:lnTo>
                    <a:lnTo>
                      <a:pt x="883" y="573"/>
                    </a:lnTo>
                    <a:lnTo>
                      <a:pt x="886" y="571"/>
                    </a:lnTo>
                    <a:lnTo>
                      <a:pt x="887" y="568"/>
                    </a:lnTo>
                    <a:lnTo>
                      <a:pt x="888" y="563"/>
                    </a:lnTo>
                    <a:lnTo>
                      <a:pt x="888" y="559"/>
                    </a:lnTo>
                    <a:lnTo>
                      <a:pt x="888" y="58"/>
                    </a:lnTo>
                    <a:lnTo>
                      <a:pt x="888" y="54"/>
                    </a:lnTo>
                    <a:lnTo>
                      <a:pt x="887" y="51"/>
                    </a:lnTo>
                    <a:lnTo>
                      <a:pt x="886" y="46"/>
                    </a:lnTo>
                    <a:lnTo>
                      <a:pt x="883" y="43"/>
                    </a:lnTo>
                    <a:lnTo>
                      <a:pt x="880" y="42"/>
                    </a:lnTo>
                    <a:lnTo>
                      <a:pt x="877" y="39"/>
                    </a:lnTo>
                    <a:lnTo>
                      <a:pt x="873" y="39"/>
                    </a:lnTo>
                    <a:lnTo>
                      <a:pt x="868" y="38"/>
                    </a:lnTo>
                    <a:lnTo>
                      <a:pt x="58" y="38"/>
                    </a:lnTo>
                    <a:close/>
                    <a:moveTo>
                      <a:pt x="115" y="800"/>
                    </a:moveTo>
                    <a:lnTo>
                      <a:pt x="115" y="618"/>
                    </a:lnTo>
                    <a:lnTo>
                      <a:pt x="58" y="618"/>
                    </a:lnTo>
                    <a:lnTo>
                      <a:pt x="46" y="617"/>
                    </a:lnTo>
                    <a:lnTo>
                      <a:pt x="36" y="612"/>
                    </a:lnTo>
                    <a:lnTo>
                      <a:pt x="26" y="608"/>
                    </a:lnTo>
                    <a:lnTo>
                      <a:pt x="17" y="601"/>
                    </a:lnTo>
                    <a:lnTo>
                      <a:pt x="10" y="592"/>
                    </a:lnTo>
                    <a:lnTo>
                      <a:pt x="4" y="582"/>
                    </a:lnTo>
                    <a:lnTo>
                      <a:pt x="1" y="571"/>
                    </a:lnTo>
                    <a:lnTo>
                      <a:pt x="0" y="559"/>
                    </a:lnTo>
                    <a:lnTo>
                      <a:pt x="0" y="58"/>
                    </a:lnTo>
                    <a:lnTo>
                      <a:pt x="1" y="46"/>
                    </a:lnTo>
                    <a:lnTo>
                      <a:pt x="4" y="35"/>
                    </a:lnTo>
                    <a:lnTo>
                      <a:pt x="10" y="25"/>
                    </a:lnTo>
                    <a:lnTo>
                      <a:pt x="17" y="16"/>
                    </a:lnTo>
                    <a:lnTo>
                      <a:pt x="26" y="9"/>
                    </a:lnTo>
                    <a:lnTo>
                      <a:pt x="36" y="5"/>
                    </a:lnTo>
                    <a:lnTo>
                      <a:pt x="46" y="0"/>
                    </a:lnTo>
                    <a:lnTo>
                      <a:pt x="58" y="0"/>
                    </a:lnTo>
                    <a:lnTo>
                      <a:pt x="868" y="0"/>
                    </a:lnTo>
                    <a:lnTo>
                      <a:pt x="881" y="0"/>
                    </a:lnTo>
                    <a:lnTo>
                      <a:pt x="891" y="5"/>
                    </a:lnTo>
                    <a:lnTo>
                      <a:pt x="901" y="9"/>
                    </a:lnTo>
                    <a:lnTo>
                      <a:pt x="910" y="16"/>
                    </a:lnTo>
                    <a:lnTo>
                      <a:pt x="917" y="25"/>
                    </a:lnTo>
                    <a:lnTo>
                      <a:pt x="922" y="35"/>
                    </a:lnTo>
                    <a:lnTo>
                      <a:pt x="926" y="46"/>
                    </a:lnTo>
                    <a:lnTo>
                      <a:pt x="927" y="58"/>
                    </a:lnTo>
                    <a:lnTo>
                      <a:pt x="927" y="559"/>
                    </a:lnTo>
                    <a:lnTo>
                      <a:pt x="926" y="571"/>
                    </a:lnTo>
                    <a:lnTo>
                      <a:pt x="922" y="582"/>
                    </a:lnTo>
                    <a:lnTo>
                      <a:pt x="917" y="592"/>
                    </a:lnTo>
                    <a:lnTo>
                      <a:pt x="910" y="601"/>
                    </a:lnTo>
                    <a:lnTo>
                      <a:pt x="901" y="608"/>
                    </a:lnTo>
                    <a:lnTo>
                      <a:pt x="891" y="612"/>
                    </a:lnTo>
                    <a:lnTo>
                      <a:pt x="881" y="617"/>
                    </a:lnTo>
                    <a:lnTo>
                      <a:pt x="868" y="618"/>
                    </a:lnTo>
                    <a:lnTo>
                      <a:pt x="298" y="618"/>
                    </a:lnTo>
                    <a:lnTo>
                      <a:pt x="115" y="8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92"/>
              <p:cNvSpPr>
                <a:spLocks/>
              </p:cNvSpPr>
              <p:nvPr/>
            </p:nvSpPr>
            <p:spPr bwMode="auto">
              <a:xfrm>
                <a:off x="636033" y="6093464"/>
                <a:ext cx="37856" cy="37856"/>
              </a:xfrm>
              <a:custGeom>
                <a:avLst/>
                <a:gdLst>
                  <a:gd name="T0" fmla="*/ 39 w 76"/>
                  <a:gd name="T1" fmla="*/ 0 h 77"/>
                  <a:gd name="T2" fmla="*/ 46 w 76"/>
                  <a:gd name="T3" fmla="*/ 1 h 77"/>
                  <a:gd name="T4" fmla="*/ 53 w 76"/>
                  <a:gd name="T5" fmla="*/ 2 h 77"/>
                  <a:gd name="T6" fmla="*/ 60 w 76"/>
                  <a:gd name="T7" fmla="*/ 7 h 77"/>
                  <a:gd name="T8" fmla="*/ 66 w 76"/>
                  <a:gd name="T9" fmla="*/ 11 h 77"/>
                  <a:gd name="T10" fmla="*/ 70 w 76"/>
                  <a:gd name="T11" fmla="*/ 17 h 77"/>
                  <a:gd name="T12" fmla="*/ 73 w 76"/>
                  <a:gd name="T13" fmla="*/ 24 h 77"/>
                  <a:gd name="T14" fmla="*/ 76 w 76"/>
                  <a:gd name="T15" fmla="*/ 31 h 77"/>
                  <a:gd name="T16" fmla="*/ 76 w 76"/>
                  <a:gd name="T17" fmla="*/ 38 h 77"/>
                  <a:gd name="T18" fmla="*/ 76 w 76"/>
                  <a:gd name="T19" fmla="*/ 46 h 77"/>
                  <a:gd name="T20" fmla="*/ 73 w 76"/>
                  <a:gd name="T21" fmla="*/ 53 h 77"/>
                  <a:gd name="T22" fmla="*/ 70 w 76"/>
                  <a:gd name="T23" fmla="*/ 60 h 77"/>
                  <a:gd name="T24" fmla="*/ 66 w 76"/>
                  <a:gd name="T25" fmla="*/ 66 h 77"/>
                  <a:gd name="T26" fmla="*/ 60 w 76"/>
                  <a:gd name="T27" fmla="*/ 70 h 77"/>
                  <a:gd name="T28" fmla="*/ 53 w 76"/>
                  <a:gd name="T29" fmla="*/ 74 h 77"/>
                  <a:gd name="T30" fmla="*/ 46 w 76"/>
                  <a:gd name="T31" fmla="*/ 76 h 77"/>
                  <a:gd name="T32" fmla="*/ 39 w 76"/>
                  <a:gd name="T33" fmla="*/ 77 h 77"/>
                  <a:gd name="T34" fmla="*/ 30 w 76"/>
                  <a:gd name="T35" fmla="*/ 76 h 77"/>
                  <a:gd name="T36" fmla="*/ 23 w 76"/>
                  <a:gd name="T37" fmla="*/ 74 h 77"/>
                  <a:gd name="T38" fmla="*/ 17 w 76"/>
                  <a:gd name="T39" fmla="*/ 70 h 77"/>
                  <a:gd name="T40" fmla="*/ 11 w 76"/>
                  <a:gd name="T41" fmla="*/ 66 h 77"/>
                  <a:gd name="T42" fmla="*/ 5 w 76"/>
                  <a:gd name="T43" fmla="*/ 60 h 77"/>
                  <a:gd name="T44" fmla="*/ 3 w 76"/>
                  <a:gd name="T45" fmla="*/ 53 h 77"/>
                  <a:gd name="T46" fmla="*/ 0 w 76"/>
                  <a:gd name="T47" fmla="*/ 46 h 77"/>
                  <a:gd name="T48" fmla="*/ 0 w 76"/>
                  <a:gd name="T49" fmla="*/ 38 h 77"/>
                  <a:gd name="T50" fmla="*/ 0 w 76"/>
                  <a:gd name="T51" fmla="*/ 31 h 77"/>
                  <a:gd name="T52" fmla="*/ 3 w 76"/>
                  <a:gd name="T53" fmla="*/ 24 h 77"/>
                  <a:gd name="T54" fmla="*/ 5 w 76"/>
                  <a:gd name="T55" fmla="*/ 17 h 77"/>
                  <a:gd name="T56" fmla="*/ 11 w 76"/>
                  <a:gd name="T57" fmla="*/ 11 h 77"/>
                  <a:gd name="T58" fmla="*/ 17 w 76"/>
                  <a:gd name="T59" fmla="*/ 7 h 77"/>
                  <a:gd name="T60" fmla="*/ 23 w 76"/>
                  <a:gd name="T61" fmla="*/ 2 h 77"/>
                  <a:gd name="T62" fmla="*/ 30 w 76"/>
                  <a:gd name="T63" fmla="*/ 1 h 77"/>
                  <a:gd name="T64" fmla="*/ 39 w 76"/>
                  <a:gd name="T6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77">
                    <a:moveTo>
                      <a:pt x="39" y="0"/>
                    </a:moveTo>
                    <a:lnTo>
                      <a:pt x="46" y="1"/>
                    </a:lnTo>
                    <a:lnTo>
                      <a:pt x="53" y="2"/>
                    </a:lnTo>
                    <a:lnTo>
                      <a:pt x="60" y="7"/>
                    </a:lnTo>
                    <a:lnTo>
                      <a:pt x="66" y="11"/>
                    </a:lnTo>
                    <a:lnTo>
                      <a:pt x="70" y="17"/>
                    </a:lnTo>
                    <a:lnTo>
                      <a:pt x="73" y="24"/>
                    </a:lnTo>
                    <a:lnTo>
                      <a:pt x="76" y="31"/>
                    </a:lnTo>
                    <a:lnTo>
                      <a:pt x="76" y="38"/>
                    </a:lnTo>
                    <a:lnTo>
                      <a:pt x="76" y="46"/>
                    </a:lnTo>
                    <a:lnTo>
                      <a:pt x="73" y="53"/>
                    </a:lnTo>
                    <a:lnTo>
                      <a:pt x="70" y="60"/>
                    </a:lnTo>
                    <a:lnTo>
                      <a:pt x="66" y="66"/>
                    </a:lnTo>
                    <a:lnTo>
                      <a:pt x="60" y="70"/>
                    </a:lnTo>
                    <a:lnTo>
                      <a:pt x="53" y="74"/>
                    </a:lnTo>
                    <a:lnTo>
                      <a:pt x="46" y="76"/>
                    </a:lnTo>
                    <a:lnTo>
                      <a:pt x="39" y="77"/>
                    </a:lnTo>
                    <a:lnTo>
                      <a:pt x="30" y="76"/>
                    </a:lnTo>
                    <a:lnTo>
                      <a:pt x="23" y="74"/>
                    </a:lnTo>
                    <a:lnTo>
                      <a:pt x="17" y="70"/>
                    </a:lnTo>
                    <a:lnTo>
                      <a:pt x="11" y="66"/>
                    </a:lnTo>
                    <a:lnTo>
                      <a:pt x="5" y="60"/>
                    </a:lnTo>
                    <a:lnTo>
                      <a:pt x="3" y="53"/>
                    </a:lnTo>
                    <a:lnTo>
                      <a:pt x="0" y="46"/>
                    </a:lnTo>
                    <a:lnTo>
                      <a:pt x="0" y="38"/>
                    </a:lnTo>
                    <a:lnTo>
                      <a:pt x="0" y="31"/>
                    </a:lnTo>
                    <a:lnTo>
                      <a:pt x="3" y="24"/>
                    </a:lnTo>
                    <a:lnTo>
                      <a:pt x="5" y="17"/>
                    </a:lnTo>
                    <a:lnTo>
                      <a:pt x="11" y="11"/>
                    </a:lnTo>
                    <a:lnTo>
                      <a:pt x="17" y="7"/>
                    </a:lnTo>
                    <a:lnTo>
                      <a:pt x="23" y="2"/>
                    </a:lnTo>
                    <a:lnTo>
                      <a:pt x="30"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93"/>
              <p:cNvSpPr>
                <a:spLocks/>
              </p:cNvSpPr>
              <p:nvPr/>
            </p:nvSpPr>
            <p:spPr bwMode="auto">
              <a:xfrm>
                <a:off x="786000" y="6093464"/>
                <a:ext cx="37856" cy="37856"/>
              </a:xfrm>
              <a:custGeom>
                <a:avLst/>
                <a:gdLst>
                  <a:gd name="T0" fmla="*/ 39 w 78"/>
                  <a:gd name="T1" fmla="*/ 0 h 77"/>
                  <a:gd name="T2" fmla="*/ 47 w 78"/>
                  <a:gd name="T3" fmla="*/ 1 h 77"/>
                  <a:gd name="T4" fmla="*/ 55 w 78"/>
                  <a:gd name="T5" fmla="*/ 2 h 77"/>
                  <a:gd name="T6" fmla="*/ 60 w 78"/>
                  <a:gd name="T7" fmla="*/ 7 h 77"/>
                  <a:gd name="T8" fmla="*/ 66 w 78"/>
                  <a:gd name="T9" fmla="*/ 11 h 77"/>
                  <a:gd name="T10" fmla="*/ 70 w 78"/>
                  <a:gd name="T11" fmla="*/ 17 h 77"/>
                  <a:gd name="T12" fmla="*/ 75 w 78"/>
                  <a:gd name="T13" fmla="*/ 24 h 77"/>
                  <a:gd name="T14" fmla="*/ 76 w 78"/>
                  <a:gd name="T15" fmla="*/ 31 h 77"/>
                  <a:gd name="T16" fmla="*/ 78 w 78"/>
                  <a:gd name="T17" fmla="*/ 38 h 77"/>
                  <a:gd name="T18" fmla="*/ 76 w 78"/>
                  <a:gd name="T19" fmla="*/ 46 h 77"/>
                  <a:gd name="T20" fmla="*/ 75 w 78"/>
                  <a:gd name="T21" fmla="*/ 53 h 77"/>
                  <a:gd name="T22" fmla="*/ 70 w 78"/>
                  <a:gd name="T23" fmla="*/ 60 h 77"/>
                  <a:gd name="T24" fmla="*/ 66 w 78"/>
                  <a:gd name="T25" fmla="*/ 66 h 77"/>
                  <a:gd name="T26" fmla="*/ 60 w 78"/>
                  <a:gd name="T27" fmla="*/ 70 h 77"/>
                  <a:gd name="T28" fmla="*/ 55 w 78"/>
                  <a:gd name="T29" fmla="*/ 74 h 77"/>
                  <a:gd name="T30" fmla="*/ 47 w 78"/>
                  <a:gd name="T31" fmla="*/ 76 h 77"/>
                  <a:gd name="T32" fmla="*/ 39 w 78"/>
                  <a:gd name="T33" fmla="*/ 77 h 77"/>
                  <a:gd name="T34" fmla="*/ 32 w 78"/>
                  <a:gd name="T35" fmla="*/ 76 h 77"/>
                  <a:gd name="T36" fmla="*/ 24 w 78"/>
                  <a:gd name="T37" fmla="*/ 74 h 77"/>
                  <a:gd name="T38" fmla="*/ 17 w 78"/>
                  <a:gd name="T39" fmla="*/ 70 h 77"/>
                  <a:gd name="T40" fmla="*/ 11 w 78"/>
                  <a:gd name="T41" fmla="*/ 66 h 77"/>
                  <a:gd name="T42" fmla="*/ 7 w 78"/>
                  <a:gd name="T43" fmla="*/ 60 h 77"/>
                  <a:gd name="T44" fmla="*/ 3 w 78"/>
                  <a:gd name="T45" fmla="*/ 53 h 77"/>
                  <a:gd name="T46" fmla="*/ 1 w 78"/>
                  <a:gd name="T47" fmla="*/ 46 h 77"/>
                  <a:gd name="T48" fmla="*/ 0 w 78"/>
                  <a:gd name="T49" fmla="*/ 38 h 77"/>
                  <a:gd name="T50" fmla="*/ 1 w 78"/>
                  <a:gd name="T51" fmla="*/ 31 h 77"/>
                  <a:gd name="T52" fmla="*/ 3 w 78"/>
                  <a:gd name="T53" fmla="*/ 24 h 77"/>
                  <a:gd name="T54" fmla="*/ 7 w 78"/>
                  <a:gd name="T55" fmla="*/ 17 h 77"/>
                  <a:gd name="T56" fmla="*/ 11 w 78"/>
                  <a:gd name="T57" fmla="*/ 11 h 77"/>
                  <a:gd name="T58" fmla="*/ 17 w 78"/>
                  <a:gd name="T59" fmla="*/ 7 h 77"/>
                  <a:gd name="T60" fmla="*/ 24 w 78"/>
                  <a:gd name="T61" fmla="*/ 2 h 77"/>
                  <a:gd name="T62" fmla="*/ 32 w 78"/>
                  <a:gd name="T63" fmla="*/ 1 h 77"/>
                  <a:gd name="T64" fmla="*/ 39 w 78"/>
                  <a:gd name="T6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7">
                    <a:moveTo>
                      <a:pt x="39" y="0"/>
                    </a:moveTo>
                    <a:lnTo>
                      <a:pt x="47" y="1"/>
                    </a:lnTo>
                    <a:lnTo>
                      <a:pt x="55" y="2"/>
                    </a:lnTo>
                    <a:lnTo>
                      <a:pt x="60" y="7"/>
                    </a:lnTo>
                    <a:lnTo>
                      <a:pt x="66" y="11"/>
                    </a:lnTo>
                    <a:lnTo>
                      <a:pt x="70" y="17"/>
                    </a:lnTo>
                    <a:lnTo>
                      <a:pt x="75" y="24"/>
                    </a:lnTo>
                    <a:lnTo>
                      <a:pt x="76" y="31"/>
                    </a:lnTo>
                    <a:lnTo>
                      <a:pt x="78" y="38"/>
                    </a:lnTo>
                    <a:lnTo>
                      <a:pt x="76" y="46"/>
                    </a:lnTo>
                    <a:lnTo>
                      <a:pt x="75" y="53"/>
                    </a:lnTo>
                    <a:lnTo>
                      <a:pt x="70" y="60"/>
                    </a:lnTo>
                    <a:lnTo>
                      <a:pt x="66" y="66"/>
                    </a:lnTo>
                    <a:lnTo>
                      <a:pt x="60" y="70"/>
                    </a:lnTo>
                    <a:lnTo>
                      <a:pt x="55" y="74"/>
                    </a:lnTo>
                    <a:lnTo>
                      <a:pt x="47" y="76"/>
                    </a:lnTo>
                    <a:lnTo>
                      <a:pt x="39" y="77"/>
                    </a:lnTo>
                    <a:lnTo>
                      <a:pt x="32" y="76"/>
                    </a:lnTo>
                    <a:lnTo>
                      <a:pt x="24" y="74"/>
                    </a:lnTo>
                    <a:lnTo>
                      <a:pt x="17" y="70"/>
                    </a:lnTo>
                    <a:lnTo>
                      <a:pt x="11" y="66"/>
                    </a:lnTo>
                    <a:lnTo>
                      <a:pt x="7" y="60"/>
                    </a:lnTo>
                    <a:lnTo>
                      <a:pt x="3" y="53"/>
                    </a:lnTo>
                    <a:lnTo>
                      <a:pt x="1" y="46"/>
                    </a:lnTo>
                    <a:lnTo>
                      <a:pt x="0" y="38"/>
                    </a:lnTo>
                    <a:lnTo>
                      <a:pt x="1" y="31"/>
                    </a:lnTo>
                    <a:lnTo>
                      <a:pt x="3" y="24"/>
                    </a:lnTo>
                    <a:lnTo>
                      <a:pt x="7" y="17"/>
                    </a:lnTo>
                    <a:lnTo>
                      <a:pt x="11" y="11"/>
                    </a:lnTo>
                    <a:lnTo>
                      <a:pt x="17" y="7"/>
                    </a:lnTo>
                    <a:lnTo>
                      <a:pt x="24" y="2"/>
                    </a:lnTo>
                    <a:lnTo>
                      <a:pt x="32"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94"/>
              <p:cNvSpPr>
                <a:spLocks/>
              </p:cNvSpPr>
              <p:nvPr/>
            </p:nvSpPr>
            <p:spPr bwMode="auto">
              <a:xfrm>
                <a:off x="711745" y="6093464"/>
                <a:ext cx="37856" cy="37856"/>
              </a:xfrm>
              <a:custGeom>
                <a:avLst/>
                <a:gdLst>
                  <a:gd name="T0" fmla="*/ 39 w 78"/>
                  <a:gd name="T1" fmla="*/ 0 h 77"/>
                  <a:gd name="T2" fmla="*/ 46 w 78"/>
                  <a:gd name="T3" fmla="*/ 1 h 77"/>
                  <a:gd name="T4" fmla="*/ 53 w 78"/>
                  <a:gd name="T5" fmla="*/ 2 h 77"/>
                  <a:gd name="T6" fmla="*/ 60 w 78"/>
                  <a:gd name="T7" fmla="*/ 7 h 77"/>
                  <a:gd name="T8" fmla="*/ 66 w 78"/>
                  <a:gd name="T9" fmla="*/ 11 h 77"/>
                  <a:gd name="T10" fmla="*/ 70 w 78"/>
                  <a:gd name="T11" fmla="*/ 17 h 77"/>
                  <a:gd name="T12" fmla="*/ 75 w 78"/>
                  <a:gd name="T13" fmla="*/ 24 h 77"/>
                  <a:gd name="T14" fmla="*/ 76 w 78"/>
                  <a:gd name="T15" fmla="*/ 31 h 77"/>
                  <a:gd name="T16" fmla="*/ 78 w 78"/>
                  <a:gd name="T17" fmla="*/ 38 h 77"/>
                  <a:gd name="T18" fmla="*/ 76 w 78"/>
                  <a:gd name="T19" fmla="*/ 46 h 77"/>
                  <a:gd name="T20" fmla="*/ 75 w 78"/>
                  <a:gd name="T21" fmla="*/ 53 h 77"/>
                  <a:gd name="T22" fmla="*/ 70 w 78"/>
                  <a:gd name="T23" fmla="*/ 60 h 77"/>
                  <a:gd name="T24" fmla="*/ 66 w 78"/>
                  <a:gd name="T25" fmla="*/ 66 h 77"/>
                  <a:gd name="T26" fmla="*/ 60 w 78"/>
                  <a:gd name="T27" fmla="*/ 70 h 77"/>
                  <a:gd name="T28" fmla="*/ 53 w 78"/>
                  <a:gd name="T29" fmla="*/ 74 h 77"/>
                  <a:gd name="T30" fmla="*/ 46 w 78"/>
                  <a:gd name="T31" fmla="*/ 76 h 77"/>
                  <a:gd name="T32" fmla="*/ 39 w 78"/>
                  <a:gd name="T33" fmla="*/ 77 h 77"/>
                  <a:gd name="T34" fmla="*/ 30 w 78"/>
                  <a:gd name="T35" fmla="*/ 76 h 77"/>
                  <a:gd name="T36" fmla="*/ 23 w 78"/>
                  <a:gd name="T37" fmla="*/ 74 h 77"/>
                  <a:gd name="T38" fmla="*/ 17 w 78"/>
                  <a:gd name="T39" fmla="*/ 70 h 77"/>
                  <a:gd name="T40" fmla="*/ 11 w 78"/>
                  <a:gd name="T41" fmla="*/ 66 h 77"/>
                  <a:gd name="T42" fmla="*/ 7 w 78"/>
                  <a:gd name="T43" fmla="*/ 60 h 77"/>
                  <a:gd name="T44" fmla="*/ 3 w 78"/>
                  <a:gd name="T45" fmla="*/ 53 h 77"/>
                  <a:gd name="T46" fmla="*/ 1 w 78"/>
                  <a:gd name="T47" fmla="*/ 46 h 77"/>
                  <a:gd name="T48" fmla="*/ 0 w 78"/>
                  <a:gd name="T49" fmla="*/ 38 h 77"/>
                  <a:gd name="T50" fmla="*/ 1 w 78"/>
                  <a:gd name="T51" fmla="*/ 31 h 77"/>
                  <a:gd name="T52" fmla="*/ 3 w 78"/>
                  <a:gd name="T53" fmla="*/ 24 h 77"/>
                  <a:gd name="T54" fmla="*/ 7 w 78"/>
                  <a:gd name="T55" fmla="*/ 17 h 77"/>
                  <a:gd name="T56" fmla="*/ 11 w 78"/>
                  <a:gd name="T57" fmla="*/ 11 h 77"/>
                  <a:gd name="T58" fmla="*/ 17 w 78"/>
                  <a:gd name="T59" fmla="*/ 7 h 77"/>
                  <a:gd name="T60" fmla="*/ 23 w 78"/>
                  <a:gd name="T61" fmla="*/ 2 h 77"/>
                  <a:gd name="T62" fmla="*/ 30 w 78"/>
                  <a:gd name="T63" fmla="*/ 1 h 77"/>
                  <a:gd name="T64" fmla="*/ 39 w 78"/>
                  <a:gd name="T6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7">
                    <a:moveTo>
                      <a:pt x="39" y="0"/>
                    </a:moveTo>
                    <a:lnTo>
                      <a:pt x="46" y="1"/>
                    </a:lnTo>
                    <a:lnTo>
                      <a:pt x="53" y="2"/>
                    </a:lnTo>
                    <a:lnTo>
                      <a:pt x="60" y="7"/>
                    </a:lnTo>
                    <a:lnTo>
                      <a:pt x="66" y="11"/>
                    </a:lnTo>
                    <a:lnTo>
                      <a:pt x="70" y="17"/>
                    </a:lnTo>
                    <a:lnTo>
                      <a:pt x="75" y="24"/>
                    </a:lnTo>
                    <a:lnTo>
                      <a:pt x="76" y="31"/>
                    </a:lnTo>
                    <a:lnTo>
                      <a:pt x="78" y="38"/>
                    </a:lnTo>
                    <a:lnTo>
                      <a:pt x="76" y="46"/>
                    </a:lnTo>
                    <a:lnTo>
                      <a:pt x="75" y="53"/>
                    </a:lnTo>
                    <a:lnTo>
                      <a:pt x="70" y="60"/>
                    </a:lnTo>
                    <a:lnTo>
                      <a:pt x="66" y="66"/>
                    </a:lnTo>
                    <a:lnTo>
                      <a:pt x="60" y="70"/>
                    </a:lnTo>
                    <a:lnTo>
                      <a:pt x="53" y="74"/>
                    </a:lnTo>
                    <a:lnTo>
                      <a:pt x="46" y="76"/>
                    </a:lnTo>
                    <a:lnTo>
                      <a:pt x="39" y="77"/>
                    </a:lnTo>
                    <a:lnTo>
                      <a:pt x="30" y="76"/>
                    </a:lnTo>
                    <a:lnTo>
                      <a:pt x="23" y="74"/>
                    </a:lnTo>
                    <a:lnTo>
                      <a:pt x="17" y="70"/>
                    </a:lnTo>
                    <a:lnTo>
                      <a:pt x="11" y="66"/>
                    </a:lnTo>
                    <a:lnTo>
                      <a:pt x="7" y="60"/>
                    </a:lnTo>
                    <a:lnTo>
                      <a:pt x="3" y="53"/>
                    </a:lnTo>
                    <a:lnTo>
                      <a:pt x="1" y="46"/>
                    </a:lnTo>
                    <a:lnTo>
                      <a:pt x="0" y="38"/>
                    </a:lnTo>
                    <a:lnTo>
                      <a:pt x="1" y="31"/>
                    </a:lnTo>
                    <a:lnTo>
                      <a:pt x="3" y="24"/>
                    </a:lnTo>
                    <a:lnTo>
                      <a:pt x="7" y="17"/>
                    </a:lnTo>
                    <a:lnTo>
                      <a:pt x="11" y="11"/>
                    </a:lnTo>
                    <a:lnTo>
                      <a:pt x="17" y="7"/>
                    </a:lnTo>
                    <a:lnTo>
                      <a:pt x="23" y="2"/>
                    </a:lnTo>
                    <a:lnTo>
                      <a:pt x="30"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 name="Rectangle 34"/>
          <p:cNvSpPr/>
          <p:nvPr/>
        </p:nvSpPr>
        <p:spPr>
          <a:xfrm>
            <a:off x="5744848" y="2804879"/>
            <a:ext cx="4721226" cy="307777"/>
          </a:xfrm>
          <a:prstGeom prst="rect">
            <a:avLst/>
          </a:prstGeom>
        </p:spPr>
        <p:txBody>
          <a:bodyPr wrap="square">
            <a:spAutoFit/>
          </a:bodyPr>
          <a:lstStyle/>
          <a:p>
            <a:pPr algn="just">
              <a:buClr>
                <a:srgbClr val="E24848"/>
              </a:buClr>
              <a:defRPr/>
            </a:pPr>
            <a:r>
              <a:rPr lang="en-US" sz="14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a:t>
            </a:r>
          </a:p>
        </p:txBody>
      </p:sp>
      <p:sp>
        <p:nvSpPr>
          <p:cNvPr id="36" name="Rectangle 35"/>
          <p:cNvSpPr/>
          <p:nvPr/>
        </p:nvSpPr>
        <p:spPr>
          <a:xfrm>
            <a:off x="5744848" y="2321702"/>
            <a:ext cx="5817629" cy="584775"/>
          </a:xfrm>
          <a:prstGeom prst="rect">
            <a:avLst/>
          </a:prstGeom>
        </p:spPr>
        <p:txBody>
          <a:bodyPr vert="horz" lIns="91440" tIns="45720" rIns="91440" bIns="45720" rtlCol="0" anchor="ctr">
            <a:noAutofit/>
          </a:bodyPr>
          <a:lstStyle/>
          <a:p>
            <a:pPr>
              <a:spcBef>
                <a:spcPct val="0"/>
              </a:spcBef>
            </a:pPr>
            <a:r>
              <a:rPr lang="en-US" sz="3200" b="1"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WHAT </a:t>
            </a:r>
            <a:r>
              <a:rPr lang="en-US" sz="3200"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WE DO</a:t>
            </a:r>
          </a:p>
        </p:txBody>
      </p:sp>
      <p:sp>
        <p:nvSpPr>
          <p:cNvPr id="37" name="Rectangle 36"/>
          <p:cNvSpPr/>
          <p:nvPr/>
        </p:nvSpPr>
        <p:spPr>
          <a:xfrm>
            <a:off x="5736779" y="4569032"/>
            <a:ext cx="1796135" cy="769441"/>
          </a:xfrm>
          <a:prstGeom prst="rect">
            <a:avLst/>
          </a:prstGeom>
        </p:spPr>
        <p:txBody>
          <a:bodyPr wrap="square">
            <a:spAutoFit/>
          </a:bodyPr>
          <a:lstStyle/>
          <a:p>
            <a:pPr>
              <a:spcBef>
                <a:spcPts val="600"/>
              </a:spcBef>
              <a:buClr>
                <a:srgbClr val="E24848"/>
              </a:buClr>
              <a:defRPr/>
            </a:pPr>
            <a:r>
              <a:rPr lang="en-US" sz="11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8" name="Rectangle 37"/>
          <p:cNvSpPr/>
          <p:nvPr/>
        </p:nvSpPr>
        <p:spPr>
          <a:xfrm>
            <a:off x="5715416" y="4242833"/>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a:t>
            </a:r>
            <a:r>
              <a:rPr lang="en-US" sz="1600"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Ipsum</a:t>
            </a:r>
          </a:p>
        </p:txBody>
      </p:sp>
      <p:sp>
        <p:nvSpPr>
          <p:cNvPr id="39" name="Rectangle 38"/>
          <p:cNvSpPr/>
          <p:nvPr/>
        </p:nvSpPr>
        <p:spPr>
          <a:xfrm>
            <a:off x="7865912" y="4242833"/>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a:t>
            </a:r>
            <a:r>
              <a:rPr lang="en-US" sz="1600"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Ipsum</a:t>
            </a:r>
          </a:p>
        </p:txBody>
      </p:sp>
      <p:sp>
        <p:nvSpPr>
          <p:cNvPr id="40" name="Rectangle 39"/>
          <p:cNvSpPr/>
          <p:nvPr/>
        </p:nvSpPr>
        <p:spPr>
          <a:xfrm>
            <a:off x="10016409" y="4242833"/>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Lorem </a:t>
            </a:r>
            <a:r>
              <a:rPr lang="en-US" sz="1600" spc="-150" noProof="1">
                <a:solidFill>
                  <a:schemeClr val="bg1"/>
                </a:solidFill>
                <a:latin typeface="Montserrat" panose="00000500000000000000" pitchFamily="2" charset="0"/>
                <a:ea typeface="Open Sans" panose="020B0606030504020204" pitchFamily="34" charset="0"/>
                <a:cs typeface="Open Sans" panose="020B0606030504020204" pitchFamily="34" charset="0"/>
              </a:rPr>
              <a:t>Ipsum</a:t>
            </a:r>
          </a:p>
        </p:txBody>
      </p:sp>
      <p:sp>
        <p:nvSpPr>
          <p:cNvPr id="41" name="Rectangle 40"/>
          <p:cNvSpPr/>
          <p:nvPr/>
        </p:nvSpPr>
        <p:spPr>
          <a:xfrm>
            <a:off x="7879414" y="4569032"/>
            <a:ext cx="1796135" cy="769441"/>
          </a:xfrm>
          <a:prstGeom prst="rect">
            <a:avLst/>
          </a:prstGeom>
        </p:spPr>
        <p:txBody>
          <a:bodyPr wrap="square">
            <a:spAutoFit/>
          </a:bodyPr>
          <a:lstStyle/>
          <a:p>
            <a:pPr>
              <a:spcBef>
                <a:spcPts val="600"/>
              </a:spcBef>
              <a:buClr>
                <a:srgbClr val="E24848"/>
              </a:buClr>
              <a:defRPr/>
            </a:pPr>
            <a:r>
              <a:rPr lang="en-US" sz="11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42" name="Rectangle 41"/>
          <p:cNvSpPr/>
          <p:nvPr/>
        </p:nvSpPr>
        <p:spPr>
          <a:xfrm>
            <a:off x="10016408" y="4569032"/>
            <a:ext cx="1796135" cy="769441"/>
          </a:xfrm>
          <a:prstGeom prst="rect">
            <a:avLst/>
          </a:prstGeom>
        </p:spPr>
        <p:txBody>
          <a:bodyPr wrap="square">
            <a:spAutoFit/>
          </a:bodyPr>
          <a:lstStyle/>
          <a:p>
            <a:pPr>
              <a:spcBef>
                <a:spcPts val="600"/>
              </a:spcBef>
              <a:buClr>
                <a:srgbClr val="E24848"/>
              </a:buClr>
              <a:defRPr/>
            </a:pPr>
            <a:r>
              <a:rPr lang="en-US" sz="11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 name="Slide Number Placeholder 1"/>
          <p:cNvSpPr>
            <a:spLocks noGrp="1"/>
          </p:cNvSpPr>
          <p:nvPr>
            <p:ph type="sldNum" sz="quarter" idx="12"/>
          </p:nvPr>
        </p:nvSpPr>
        <p:spPr/>
        <p:txBody>
          <a:bodyPr/>
          <a:lstStyle/>
          <a:p>
            <a:fld id="{DE156FE7-4276-48C2-8D29-2DA35A3BAE26}" type="slidenum">
              <a:rPr lang="en-US" smtClean="0"/>
              <a:t>13</a:t>
            </a:fld>
            <a:endParaRPr lang="en-US"/>
          </a:p>
        </p:txBody>
      </p:sp>
    </p:spTree>
    <p:extLst>
      <p:ext uri="{BB962C8B-B14F-4D97-AF65-F5344CB8AC3E}">
        <p14:creationId xmlns:p14="http://schemas.microsoft.com/office/powerpoint/2010/main" val="145336730"/>
      </p:ext>
    </p:extLst>
  </p:cSld>
  <p:clrMapOvr>
    <a:masterClrMapping/>
  </p:clrMapOvr>
  <p:transition spd="med">
    <p:pull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43A3344-E7BD-4BB7-B1D8-CAA263D4EBCF}"/>
              </a:ext>
            </a:extLst>
          </p:cNvPr>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t="11681" b="11681"/>
          <a:stretch>
            <a:fillRect/>
          </a:stretch>
        </p:blipFill>
        <p:spPr>
          <a:solidFill>
            <a:schemeClr val="bg1">
              <a:lumMod val="85000"/>
            </a:schemeClr>
          </a:solidFill>
        </p:spPr>
      </p:pic>
      <p:pic>
        <p:nvPicPr>
          <p:cNvPr id="11" name="Picture Placeholder 10">
            <a:extLst>
              <a:ext uri="{FF2B5EF4-FFF2-40B4-BE49-F238E27FC236}">
                <a16:creationId xmlns:a16="http://schemas.microsoft.com/office/drawing/2014/main" id="{B3B36F29-EE1E-4FBF-8142-1C095EC203A8}"/>
              </a:ext>
            </a:extLst>
          </p:cNvPr>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11681" b="11681"/>
          <a:stretch>
            <a:fillRect/>
          </a:stretch>
        </p:blipFill>
        <p:spPr>
          <a:solidFill>
            <a:schemeClr val="bg1">
              <a:lumMod val="85000"/>
            </a:schemeClr>
          </a:solidFill>
        </p:spPr>
      </p:pic>
      <p:pic>
        <p:nvPicPr>
          <p:cNvPr id="13" name="Picture Placeholder 12">
            <a:extLst>
              <a:ext uri="{FF2B5EF4-FFF2-40B4-BE49-F238E27FC236}">
                <a16:creationId xmlns:a16="http://schemas.microsoft.com/office/drawing/2014/main" id="{784F04D9-1B2F-4B06-B3B9-28D6C6F67868}"/>
              </a:ext>
            </a:extLst>
          </p:cNvPr>
          <p:cNvPicPr>
            <a:picLocks noGrp="1" noChangeAspect="1"/>
          </p:cNvPicPr>
          <p:nvPr>
            <p:ph type="pic" sz="quarter" idx="16"/>
          </p:nvPr>
        </p:nvPicPr>
        <p:blipFill>
          <a:blip r:embed="rId6" cstate="print">
            <a:extLst>
              <a:ext uri="{28A0092B-C50C-407E-A947-70E740481C1C}">
                <a14:useLocalDpi xmlns:a14="http://schemas.microsoft.com/office/drawing/2010/main" val="0"/>
              </a:ext>
            </a:extLst>
          </a:blip>
          <a:srcRect t="9971" b="9971"/>
          <a:stretch>
            <a:fillRect/>
          </a:stretch>
        </p:blipFill>
        <p:spPr>
          <a:solidFill>
            <a:schemeClr val="bg1">
              <a:lumMod val="85000"/>
            </a:schemeClr>
          </a:solidFill>
        </p:spPr>
      </p:pic>
      <p:pic>
        <p:nvPicPr>
          <p:cNvPr id="15" name="Picture Placeholder 14">
            <a:extLst>
              <a:ext uri="{FF2B5EF4-FFF2-40B4-BE49-F238E27FC236}">
                <a16:creationId xmlns:a16="http://schemas.microsoft.com/office/drawing/2014/main" id="{03DEEB4A-D2C4-4002-AD9D-3933F072C75C}"/>
              </a:ext>
            </a:extLst>
          </p:cNvPr>
          <p:cNvPicPr>
            <a:picLocks noGrp="1" noChangeAspect="1"/>
          </p:cNvPicPr>
          <p:nvPr>
            <p:ph type="pic" sz="quarter" idx="17"/>
          </p:nvPr>
        </p:nvPicPr>
        <p:blipFill>
          <a:blip r:embed="rId7" cstate="print">
            <a:extLst>
              <a:ext uri="{28A0092B-C50C-407E-A947-70E740481C1C}">
                <a14:useLocalDpi xmlns:a14="http://schemas.microsoft.com/office/drawing/2010/main" val="0"/>
              </a:ext>
            </a:extLst>
          </a:blip>
          <a:srcRect t="11610" b="11610"/>
          <a:stretch>
            <a:fillRect/>
          </a:stretch>
        </p:blipFill>
        <p:spPr>
          <a:solidFill>
            <a:schemeClr val="bg1">
              <a:lumMod val="85000"/>
            </a:schemeClr>
          </a:solidFill>
        </p:spPr>
      </p:pic>
      <p:pic>
        <p:nvPicPr>
          <p:cNvPr id="17" name="Picture Placeholder 16">
            <a:extLst>
              <a:ext uri="{FF2B5EF4-FFF2-40B4-BE49-F238E27FC236}">
                <a16:creationId xmlns:a16="http://schemas.microsoft.com/office/drawing/2014/main" id="{F3ACC74B-5A3F-45DC-B3B4-9C4D2F4D4622}"/>
              </a:ext>
            </a:extLst>
          </p:cNvPr>
          <p:cNvPicPr>
            <a:picLocks noGrp="1" noChangeAspect="1"/>
          </p:cNvPicPr>
          <p:nvPr>
            <p:ph type="pic" sz="quarter" idx="18"/>
          </p:nvPr>
        </p:nvPicPr>
        <p:blipFill>
          <a:blip r:embed="rId8" cstate="print">
            <a:extLst>
              <a:ext uri="{28A0092B-C50C-407E-A947-70E740481C1C}">
                <a14:useLocalDpi xmlns:a14="http://schemas.microsoft.com/office/drawing/2010/main" val="0"/>
              </a:ext>
            </a:extLst>
          </a:blip>
          <a:srcRect t="11640" b="11640"/>
          <a:stretch>
            <a:fillRect/>
          </a:stretch>
        </p:blipFill>
        <p:spPr>
          <a:solidFill>
            <a:schemeClr val="bg1">
              <a:lumMod val="85000"/>
            </a:schemeClr>
          </a:solidFill>
        </p:spPr>
      </p:pic>
      <p:pic>
        <p:nvPicPr>
          <p:cNvPr id="21" name="Picture Placeholder 20">
            <a:extLst>
              <a:ext uri="{FF2B5EF4-FFF2-40B4-BE49-F238E27FC236}">
                <a16:creationId xmlns:a16="http://schemas.microsoft.com/office/drawing/2014/main" id="{809C634C-CBD0-49C3-8E2D-2F6FD0A9DD35}"/>
              </a:ext>
            </a:extLst>
          </p:cNvPr>
          <p:cNvPicPr>
            <a:picLocks noGrp="1" noChangeAspect="1"/>
          </p:cNvPicPr>
          <p:nvPr>
            <p:ph type="pic" sz="quarter" idx="19"/>
          </p:nvPr>
        </p:nvPicPr>
        <p:blipFill>
          <a:blip r:embed="rId9" cstate="print">
            <a:extLst>
              <a:ext uri="{28A0092B-C50C-407E-A947-70E740481C1C}">
                <a14:useLocalDpi xmlns:a14="http://schemas.microsoft.com/office/drawing/2010/main" val="0"/>
              </a:ext>
            </a:extLst>
          </a:blip>
          <a:srcRect t="11640" b="11640"/>
          <a:stretch>
            <a:fillRect/>
          </a:stretch>
        </p:blipFill>
        <p:spPr>
          <a:solidFill>
            <a:schemeClr val="bg1">
              <a:lumMod val="85000"/>
            </a:schemeClr>
          </a:solidFill>
        </p:spPr>
      </p:pic>
      <p:sp>
        <p:nvSpPr>
          <p:cNvPr id="18" name="Rectangle 17"/>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HAT</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 WE DO</a:t>
            </a:r>
          </a:p>
        </p:txBody>
      </p:sp>
      <p:sp>
        <p:nvSpPr>
          <p:cNvPr id="19" name="Rectangle 18">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23" name="Rectangle 22"/>
          <p:cNvSpPr/>
          <p:nvPr/>
        </p:nvSpPr>
        <p:spPr>
          <a:xfrm>
            <a:off x="1493134" y="3425814"/>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24" name="TextBox 23"/>
          <p:cNvSpPr txBox="1"/>
          <p:nvPr/>
        </p:nvSpPr>
        <p:spPr>
          <a:xfrm flipH="1">
            <a:off x="2493756" y="3440329"/>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25" name="TextBox 24"/>
          <p:cNvSpPr txBox="1"/>
          <p:nvPr/>
        </p:nvSpPr>
        <p:spPr>
          <a:xfrm flipH="1">
            <a:off x="1886231" y="3618923"/>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26" name="Rectangle 25"/>
          <p:cNvSpPr/>
          <p:nvPr/>
        </p:nvSpPr>
        <p:spPr>
          <a:xfrm>
            <a:off x="1493134" y="5617471"/>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27" name="TextBox 26"/>
          <p:cNvSpPr txBox="1"/>
          <p:nvPr/>
        </p:nvSpPr>
        <p:spPr>
          <a:xfrm flipH="1">
            <a:off x="2493755" y="5631986"/>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28" name="TextBox 27"/>
          <p:cNvSpPr txBox="1"/>
          <p:nvPr/>
        </p:nvSpPr>
        <p:spPr>
          <a:xfrm flipH="1">
            <a:off x="1886231" y="5810580"/>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29" name="Rectangle 28"/>
          <p:cNvSpPr/>
          <p:nvPr/>
        </p:nvSpPr>
        <p:spPr>
          <a:xfrm>
            <a:off x="4656047" y="3425814"/>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30" name="TextBox 29"/>
          <p:cNvSpPr txBox="1"/>
          <p:nvPr/>
        </p:nvSpPr>
        <p:spPr>
          <a:xfrm flipH="1">
            <a:off x="5049144" y="3618923"/>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31" name="Rectangle 30"/>
          <p:cNvSpPr/>
          <p:nvPr/>
        </p:nvSpPr>
        <p:spPr>
          <a:xfrm>
            <a:off x="4656047" y="5617471"/>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32" name="TextBox 31"/>
          <p:cNvSpPr txBox="1"/>
          <p:nvPr/>
        </p:nvSpPr>
        <p:spPr>
          <a:xfrm flipH="1">
            <a:off x="5656668" y="5631986"/>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33" name="TextBox 32"/>
          <p:cNvSpPr txBox="1"/>
          <p:nvPr/>
        </p:nvSpPr>
        <p:spPr>
          <a:xfrm flipH="1">
            <a:off x="5049144" y="5810580"/>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34" name="Rectangle 33"/>
          <p:cNvSpPr/>
          <p:nvPr/>
        </p:nvSpPr>
        <p:spPr>
          <a:xfrm>
            <a:off x="7818542" y="3425814"/>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35" name="TextBox 34"/>
          <p:cNvSpPr txBox="1"/>
          <p:nvPr/>
        </p:nvSpPr>
        <p:spPr>
          <a:xfrm flipH="1">
            <a:off x="8819163" y="3440329"/>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36" name="TextBox 35"/>
          <p:cNvSpPr txBox="1"/>
          <p:nvPr/>
        </p:nvSpPr>
        <p:spPr>
          <a:xfrm flipH="1">
            <a:off x="8211639" y="3618923"/>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37" name="Rectangle 36"/>
          <p:cNvSpPr/>
          <p:nvPr/>
        </p:nvSpPr>
        <p:spPr>
          <a:xfrm>
            <a:off x="7818542" y="5617471"/>
            <a:ext cx="2908934" cy="519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latin typeface="Montserrat Light" panose="00000400000000000000" pitchFamily="2" charset="0"/>
            </a:endParaRPr>
          </a:p>
        </p:txBody>
      </p:sp>
      <p:sp>
        <p:nvSpPr>
          <p:cNvPr id="38" name="TextBox 37"/>
          <p:cNvSpPr txBox="1"/>
          <p:nvPr/>
        </p:nvSpPr>
        <p:spPr>
          <a:xfrm flipH="1">
            <a:off x="8819163" y="5631986"/>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39" name="TextBox 38"/>
          <p:cNvSpPr txBox="1"/>
          <p:nvPr/>
        </p:nvSpPr>
        <p:spPr>
          <a:xfrm flipH="1">
            <a:off x="8211639" y="5810580"/>
            <a:ext cx="2239686" cy="261610"/>
          </a:xfrm>
          <a:prstGeom prst="rect">
            <a:avLst/>
          </a:prstGeom>
          <a:noFill/>
        </p:spPr>
        <p:txBody>
          <a:bodyPr wrap="square" rtlCol="0">
            <a:spAutoFit/>
          </a:bodyPr>
          <a:lstStyle/>
          <a:p>
            <a:pPr algn="ctr"/>
            <a:r>
              <a:rPr lang="pt-BR" sz="1100">
                <a:solidFill>
                  <a:schemeClr val="tx1">
                    <a:lumMod val="75000"/>
                    <a:lumOff val="25000"/>
                  </a:schemeClr>
                </a:solidFill>
                <a:latin typeface="Montserrat Light" panose="00000400000000000000" pitchFamily="2" charset="0"/>
                <a:cs typeface="Lato Light"/>
              </a:rPr>
              <a:t>Lorem ipsum dolor</a:t>
            </a:r>
            <a:endParaRPr lang="en-US" sz="1100" dirty="0">
              <a:solidFill>
                <a:schemeClr val="tx1">
                  <a:lumMod val="75000"/>
                  <a:lumOff val="25000"/>
                </a:schemeClr>
              </a:solidFill>
              <a:latin typeface="Montserrat Light" panose="00000400000000000000" pitchFamily="2" charset="0"/>
              <a:cs typeface="Lato Light"/>
            </a:endParaRPr>
          </a:p>
        </p:txBody>
      </p:sp>
      <p:sp>
        <p:nvSpPr>
          <p:cNvPr id="40" name="TextBox 39"/>
          <p:cNvSpPr txBox="1"/>
          <p:nvPr/>
        </p:nvSpPr>
        <p:spPr>
          <a:xfrm flipH="1">
            <a:off x="5597986" y="3440329"/>
            <a:ext cx="1024640" cy="307777"/>
          </a:xfrm>
          <a:prstGeom prst="rect">
            <a:avLst/>
          </a:prstGeom>
          <a:noFill/>
        </p:spPr>
        <p:txBody>
          <a:bodyPr wrap="none" rtlCol="0">
            <a:spAutoFit/>
          </a:bodyPr>
          <a:lstStyle/>
          <a:p>
            <a:pPr algn="ctr"/>
            <a:r>
              <a:rPr lang="en-US" sz="1400" dirty="0">
                <a:solidFill>
                  <a:schemeClr val="tx1">
                    <a:lumMod val="75000"/>
                    <a:lumOff val="25000"/>
                  </a:schemeClr>
                </a:solidFill>
                <a:latin typeface="Montserrat Light" panose="00000400000000000000" pitchFamily="2" charset="0"/>
                <a:cs typeface="Lato Regular"/>
              </a:rPr>
              <a:t>PORFOIO</a:t>
            </a:r>
            <a:endParaRPr lang="id-ID" sz="1400" dirty="0">
              <a:solidFill>
                <a:schemeClr val="tx1">
                  <a:lumMod val="75000"/>
                  <a:lumOff val="25000"/>
                </a:schemeClr>
              </a:solidFill>
              <a:latin typeface="Montserrat Light" panose="00000400000000000000" pitchFamily="2" charset="0"/>
              <a:cs typeface="Lato Regular"/>
            </a:endParaRPr>
          </a:p>
        </p:txBody>
      </p:sp>
      <p:sp>
        <p:nvSpPr>
          <p:cNvPr id="3" name="Slide Number Placeholder 2"/>
          <p:cNvSpPr>
            <a:spLocks noGrp="1"/>
          </p:cNvSpPr>
          <p:nvPr>
            <p:ph type="sldNum" sz="quarter" idx="12"/>
          </p:nvPr>
        </p:nvSpPr>
        <p:spPr/>
        <p:txBody>
          <a:bodyPr/>
          <a:lstStyle/>
          <a:p>
            <a:fld id="{DE156FE7-4276-48C2-8D29-2DA35A3BAE26}" type="slidenum">
              <a:rPr lang="en-US" smtClean="0"/>
              <a:t>14</a:t>
            </a:fld>
            <a:endParaRPr lang="en-US"/>
          </a:p>
        </p:txBody>
      </p:sp>
    </p:spTree>
    <p:extLst>
      <p:ext uri="{BB962C8B-B14F-4D97-AF65-F5344CB8AC3E}">
        <p14:creationId xmlns:p14="http://schemas.microsoft.com/office/powerpoint/2010/main" val="1537346093"/>
      </p:ext>
    </p:extLst>
  </p:cSld>
  <p:clrMapOvr>
    <a:masterClrMapping/>
  </p:clrMapOvr>
  <p:transition spd="med">
    <p:pull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D85E5C87-2F22-4822-9B8D-33B7975B9602}"/>
              </a:ext>
            </a:extLst>
          </p:cNvPr>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t="27603" b="27603"/>
          <a:stretch>
            <a:fillRect/>
          </a:stretch>
        </p:blipFill>
        <p:spPr>
          <a:solidFill>
            <a:schemeClr val="bg1">
              <a:lumMod val="85000"/>
            </a:schemeClr>
          </a:solidFill>
        </p:spPr>
      </p:pic>
      <p:cxnSp>
        <p:nvCxnSpPr>
          <p:cNvPr id="4" name="Straight Connector 3"/>
          <p:cNvCxnSpPr/>
          <p:nvPr/>
        </p:nvCxnSpPr>
        <p:spPr>
          <a:xfrm>
            <a:off x="561975" y="3530600"/>
            <a:ext cx="4860925" cy="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6273907" y="4796445"/>
            <a:ext cx="3862269"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rPr>
              <a:t>LOREM IPSUM </a:t>
            </a:r>
            <a:r>
              <a:rPr lang="en-US" sz="1600"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rPr>
              <a:t>DOLOR SIT AMET</a:t>
            </a:r>
          </a:p>
        </p:txBody>
      </p:sp>
      <p:sp>
        <p:nvSpPr>
          <p:cNvPr id="7" name="Rectangle 6"/>
          <p:cNvSpPr/>
          <p:nvPr/>
        </p:nvSpPr>
        <p:spPr>
          <a:xfrm>
            <a:off x="6266617" y="5134999"/>
            <a:ext cx="4998283" cy="646331"/>
          </a:xfrm>
          <a:prstGeom prst="rect">
            <a:avLst/>
          </a:prstGeom>
        </p:spPr>
        <p:txBody>
          <a:bodyPr wrap="square">
            <a:spAutoFit/>
          </a:bodyPr>
          <a:lstStyle/>
          <a:p>
            <a:pPr algn="just">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p>
        </p:txBody>
      </p:sp>
      <p:sp>
        <p:nvSpPr>
          <p:cNvPr id="8" name="Rectangle 7"/>
          <p:cNvSpPr/>
          <p:nvPr/>
        </p:nvSpPr>
        <p:spPr>
          <a:xfrm>
            <a:off x="7196749" y="1275859"/>
            <a:ext cx="3862269" cy="338554"/>
          </a:xfrm>
          <a:prstGeom prst="rect">
            <a:avLst/>
          </a:prstGeom>
        </p:spPr>
        <p:txBody>
          <a:bodyPr wrap="square">
            <a:spAutoFit/>
          </a:bodyPr>
          <a:lstStyle/>
          <a:p>
            <a:pPr algn="r">
              <a:buClr>
                <a:srgbClr val="E24848"/>
              </a:buClr>
              <a:defRPr/>
            </a:pPr>
            <a:r>
              <a:rPr lang="en-US" sz="1600" b="1"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rPr>
              <a:t>LOREM IPSUM </a:t>
            </a:r>
            <a:r>
              <a:rPr lang="en-US" sz="1600"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rPr>
              <a:t>DOLOR SIT AMET</a:t>
            </a:r>
          </a:p>
        </p:txBody>
      </p:sp>
      <p:sp>
        <p:nvSpPr>
          <p:cNvPr id="9" name="Rectangle 8"/>
          <p:cNvSpPr/>
          <p:nvPr/>
        </p:nvSpPr>
        <p:spPr>
          <a:xfrm>
            <a:off x="6060735" y="1614413"/>
            <a:ext cx="4998283" cy="646331"/>
          </a:xfrm>
          <a:prstGeom prst="rect">
            <a:avLst/>
          </a:prstGeom>
        </p:spPr>
        <p:txBody>
          <a:bodyPr wrap="square">
            <a:spAutoFit/>
          </a:bodyPr>
          <a:lstStyle/>
          <a:p>
            <a:pPr algn="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p>
        </p:txBody>
      </p:sp>
      <p:sp>
        <p:nvSpPr>
          <p:cNvPr id="10" name="Rectangle 9"/>
          <p:cNvSpPr/>
          <p:nvPr/>
        </p:nvSpPr>
        <p:spPr>
          <a:xfrm>
            <a:off x="654691" y="3763281"/>
            <a:ext cx="916737" cy="400110"/>
          </a:xfrm>
          <a:prstGeom prst="rect">
            <a:avLst/>
          </a:prstGeom>
        </p:spPr>
        <p:txBody>
          <a:bodyPr wrap="square">
            <a:spAutoFit/>
          </a:bodyPr>
          <a:lstStyle/>
          <a:p>
            <a:pPr>
              <a:buClr>
                <a:srgbClr val="E24848"/>
              </a:buClr>
              <a:defRPr/>
            </a:pPr>
            <a:r>
              <a:rPr lang="en-US" sz="2000" b="1"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rPr>
              <a:t>2019</a:t>
            </a:r>
            <a:endParaRPr lang="en-US" sz="2000" noProof="1">
              <a:solidFill>
                <a:schemeClr val="tx1">
                  <a:lumMod val="75000"/>
                  <a:lumOff val="25000"/>
                </a:schemeClr>
              </a:solidFill>
              <a:latin typeface="Montserrat" panose="00000500000000000000" pitchFamily="2" charset="0"/>
              <a:ea typeface="Open Sans" panose="020B0606030504020204" pitchFamily="34" charset="0"/>
              <a:cs typeface="Open Sans" panose="020B0606030504020204" pitchFamily="34" charset="0"/>
            </a:endParaRPr>
          </a:p>
        </p:txBody>
      </p:sp>
      <p:sp>
        <p:nvSpPr>
          <p:cNvPr id="11" name="Rectangle 10"/>
          <p:cNvSpPr/>
          <p:nvPr/>
        </p:nvSpPr>
        <p:spPr>
          <a:xfrm>
            <a:off x="654691" y="4163391"/>
            <a:ext cx="2298208" cy="646331"/>
          </a:xfrm>
          <a:prstGeom prst="rect">
            <a:avLst/>
          </a:prstGeom>
        </p:spPr>
        <p:txBody>
          <a:bodyPr wrap="square">
            <a:spAutoFit/>
          </a:bodyPr>
          <a:lstStyle/>
          <a:p>
            <a:pPr algn="just">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 volutpat dui at fermentum. </a:t>
            </a:r>
          </a:p>
        </p:txBody>
      </p:sp>
      <p:sp>
        <p:nvSpPr>
          <p:cNvPr id="17" name="Freeform 135"/>
          <p:cNvSpPr>
            <a:spLocks noEditPoints="1"/>
          </p:cNvSpPr>
          <p:nvPr/>
        </p:nvSpPr>
        <p:spPr bwMode="auto">
          <a:xfrm>
            <a:off x="654691" y="2551422"/>
            <a:ext cx="843279" cy="801464"/>
          </a:xfrm>
          <a:custGeom>
            <a:avLst/>
            <a:gdLst>
              <a:gd name="T0" fmla="*/ 355 w 967"/>
              <a:gd name="T1" fmla="*/ 780 h 917"/>
              <a:gd name="T2" fmla="*/ 379 w 967"/>
              <a:gd name="T3" fmla="*/ 799 h 917"/>
              <a:gd name="T4" fmla="*/ 388 w 967"/>
              <a:gd name="T5" fmla="*/ 828 h 917"/>
              <a:gd name="T6" fmla="*/ 379 w 967"/>
              <a:gd name="T7" fmla="*/ 858 h 917"/>
              <a:gd name="T8" fmla="*/ 355 w 967"/>
              <a:gd name="T9" fmla="*/ 878 h 917"/>
              <a:gd name="T10" fmla="*/ 324 w 967"/>
              <a:gd name="T11" fmla="*/ 880 h 917"/>
              <a:gd name="T12" fmla="*/ 297 w 967"/>
              <a:gd name="T13" fmla="*/ 866 h 917"/>
              <a:gd name="T14" fmla="*/ 283 w 967"/>
              <a:gd name="T15" fmla="*/ 839 h 917"/>
              <a:gd name="T16" fmla="*/ 286 w 967"/>
              <a:gd name="T17" fmla="*/ 808 h 917"/>
              <a:gd name="T18" fmla="*/ 306 w 967"/>
              <a:gd name="T19" fmla="*/ 785 h 917"/>
              <a:gd name="T20" fmla="*/ 335 w 967"/>
              <a:gd name="T21" fmla="*/ 775 h 917"/>
              <a:gd name="T22" fmla="*/ 743 w 967"/>
              <a:gd name="T23" fmla="*/ 780 h 917"/>
              <a:gd name="T24" fmla="*/ 767 w 967"/>
              <a:gd name="T25" fmla="*/ 799 h 917"/>
              <a:gd name="T26" fmla="*/ 775 w 967"/>
              <a:gd name="T27" fmla="*/ 828 h 917"/>
              <a:gd name="T28" fmla="*/ 767 w 967"/>
              <a:gd name="T29" fmla="*/ 858 h 917"/>
              <a:gd name="T30" fmla="*/ 743 w 967"/>
              <a:gd name="T31" fmla="*/ 878 h 917"/>
              <a:gd name="T32" fmla="*/ 712 w 967"/>
              <a:gd name="T33" fmla="*/ 880 h 917"/>
              <a:gd name="T34" fmla="*/ 686 w 967"/>
              <a:gd name="T35" fmla="*/ 866 h 917"/>
              <a:gd name="T36" fmla="*/ 671 w 967"/>
              <a:gd name="T37" fmla="*/ 839 h 917"/>
              <a:gd name="T38" fmla="*/ 674 w 967"/>
              <a:gd name="T39" fmla="*/ 808 h 917"/>
              <a:gd name="T40" fmla="*/ 693 w 967"/>
              <a:gd name="T41" fmla="*/ 785 h 917"/>
              <a:gd name="T42" fmla="*/ 723 w 967"/>
              <a:gd name="T43" fmla="*/ 775 h 917"/>
              <a:gd name="T44" fmla="*/ 166 w 967"/>
              <a:gd name="T45" fmla="*/ 0 h 917"/>
              <a:gd name="T46" fmla="*/ 138 w 967"/>
              <a:gd name="T47" fmla="*/ 35 h 917"/>
              <a:gd name="T48" fmla="*/ 297 w 967"/>
              <a:gd name="T49" fmla="*/ 749 h 917"/>
              <a:gd name="T50" fmla="*/ 280 w 967"/>
              <a:gd name="T51" fmla="*/ 760 h 917"/>
              <a:gd name="T52" fmla="*/ 265 w 967"/>
              <a:gd name="T53" fmla="*/ 775 h 917"/>
              <a:gd name="T54" fmla="*/ 254 w 967"/>
              <a:gd name="T55" fmla="*/ 794 h 917"/>
              <a:gd name="T56" fmla="*/ 248 w 967"/>
              <a:gd name="T57" fmla="*/ 814 h 917"/>
              <a:gd name="T58" fmla="*/ 247 w 967"/>
              <a:gd name="T59" fmla="*/ 838 h 917"/>
              <a:gd name="T60" fmla="*/ 254 w 967"/>
              <a:gd name="T61" fmla="*/ 863 h 917"/>
              <a:gd name="T62" fmla="*/ 267 w 967"/>
              <a:gd name="T63" fmla="*/ 884 h 917"/>
              <a:gd name="T64" fmla="*/ 285 w 967"/>
              <a:gd name="T65" fmla="*/ 902 h 917"/>
              <a:gd name="T66" fmla="*/ 309 w 967"/>
              <a:gd name="T67" fmla="*/ 912 h 917"/>
              <a:gd name="T68" fmla="*/ 335 w 967"/>
              <a:gd name="T69" fmla="*/ 917 h 917"/>
              <a:gd name="T70" fmla="*/ 361 w 967"/>
              <a:gd name="T71" fmla="*/ 912 h 917"/>
              <a:gd name="T72" fmla="*/ 384 w 967"/>
              <a:gd name="T73" fmla="*/ 902 h 917"/>
              <a:gd name="T74" fmla="*/ 403 w 967"/>
              <a:gd name="T75" fmla="*/ 884 h 917"/>
              <a:gd name="T76" fmla="*/ 416 w 967"/>
              <a:gd name="T77" fmla="*/ 863 h 917"/>
              <a:gd name="T78" fmla="*/ 422 w 967"/>
              <a:gd name="T79" fmla="*/ 838 h 917"/>
              <a:gd name="T80" fmla="*/ 422 w 967"/>
              <a:gd name="T81" fmla="*/ 814 h 917"/>
              <a:gd name="T82" fmla="*/ 413 w 967"/>
              <a:gd name="T83" fmla="*/ 787 h 917"/>
              <a:gd name="T84" fmla="*/ 645 w 967"/>
              <a:gd name="T85" fmla="*/ 787 h 917"/>
              <a:gd name="T86" fmla="*/ 636 w 967"/>
              <a:gd name="T87" fmla="*/ 814 h 917"/>
              <a:gd name="T88" fmla="*/ 635 w 967"/>
              <a:gd name="T89" fmla="*/ 838 h 917"/>
              <a:gd name="T90" fmla="*/ 642 w 967"/>
              <a:gd name="T91" fmla="*/ 863 h 917"/>
              <a:gd name="T92" fmla="*/ 655 w 967"/>
              <a:gd name="T93" fmla="*/ 884 h 917"/>
              <a:gd name="T94" fmla="*/ 674 w 967"/>
              <a:gd name="T95" fmla="*/ 902 h 917"/>
              <a:gd name="T96" fmla="*/ 697 w 967"/>
              <a:gd name="T97" fmla="*/ 912 h 917"/>
              <a:gd name="T98" fmla="*/ 723 w 967"/>
              <a:gd name="T99" fmla="*/ 917 h 917"/>
              <a:gd name="T100" fmla="*/ 750 w 967"/>
              <a:gd name="T101" fmla="*/ 912 h 917"/>
              <a:gd name="T102" fmla="*/ 772 w 967"/>
              <a:gd name="T103" fmla="*/ 902 h 917"/>
              <a:gd name="T104" fmla="*/ 791 w 967"/>
              <a:gd name="T105" fmla="*/ 884 h 917"/>
              <a:gd name="T106" fmla="*/ 805 w 967"/>
              <a:gd name="T107" fmla="*/ 863 h 917"/>
              <a:gd name="T108" fmla="*/ 811 w 967"/>
              <a:gd name="T109" fmla="*/ 838 h 917"/>
              <a:gd name="T110" fmla="*/ 809 w 967"/>
              <a:gd name="T111" fmla="*/ 811 h 917"/>
              <a:gd name="T112" fmla="*/ 800 w 967"/>
              <a:gd name="T113" fmla="*/ 787 h 917"/>
              <a:gd name="T114" fmla="*/ 785 w 967"/>
              <a:gd name="T115" fmla="*/ 767 h 917"/>
              <a:gd name="T116" fmla="*/ 765 w 967"/>
              <a:gd name="T117" fmla="*/ 751 h 917"/>
              <a:gd name="T118" fmla="*/ 741 w 967"/>
              <a:gd name="T119" fmla="*/ 742 h 917"/>
              <a:gd name="T120" fmla="*/ 346 w 967"/>
              <a:gd name="T121" fmla="*/ 741 h 917"/>
              <a:gd name="T122" fmla="*/ 967 w 967"/>
              <a:gd name="T123" fmla="*/ 247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7" h="917">
                <a:moveTo>
                  <a:pt x="335" y="775"/>
                </a:moveTo>
                <a:lnTo>
                  <a:pt x="346" y="776"/>
                </a:lnTo>
                <a:lnTo>
                  <a:pt x="355" y="780"/>
                </a:lnTo>
                <a:lnTo>
                  <a:pt x="364" y="785"/>
                </a:lnTo>
                <a:lnTo>
                  <a:pt x="373" y="791"/>
                </a:lnTo>
                <a:lnTo>
                  <a:pt x="379" y="799"/>
                </a:lnTo>
                <a:lnTo>
                  <a:pt x="383" y="808"/>
                </a:lnTo>
                <a:lnTo>
                  <a:pt x="387" y="818"/>
                </a:lnTo>
                <a:lnTo>
                  <a:pt x="388" y="828"/>
                </a:lnTo>
                <a:lnTo>
                  <a:pt x="387" y="839"/>
                </a:lnTo>
                <a:lnTo>
                  <a:pt x="383" y="850"/>
                </a:lnTo>
                <a:lnTo>
                  <a:pt x="379" y="858"/>
                </a:lnTo>
                <a:lnTo>
                  <a:pt x="373" y="866"/>
                </a:lnTo>
                <a:lnTo>
                  <a:pt x="364" y="872"/>
                </a:lnTo>
                <a:lnTo>
                  <a:pt x="355" y="878"/>
                </a:lnTo>
                <a:lnTo>
                  <a:pt x="346" y="880"/>
                </a:lnTo>
                <a:lnTo>
                  <a:pt x="335" y="881"/>
                </a:lnTo>
                <a:lnTo>
                  <a:pt x="324" y="880"/>
                </a:lnTo>
                <a:lnTo>
                  <a:pt x="314" y="878"/>
                </a:lnTo>
                <a:lnTo>
                  <a:pt x="306" y="872"/>
                </a:lnTo>
                <a:lnTo>
                  <a:pt x="297" y="866"/>
                </a:lnTo>
                <a:lnTo>
                  <a:pt x="291" y="858"/>
                </a:lnTo>
                <a:lnTo>
                  <a:pt x="286" y="850"/>
                </a:lnTo>
                <a:lnTo>
                  <a:pt x="283" y="839"/>
                </a:lnTo>
                <a:lnTo>
                  <a:pt x="282" y="828"/>
                </a:lnTo>
                <a:lnTo>
                  <a:pt x="283" y="818"/>
                </a:lnTo>
                <a:lnTo>
                  <a:pt x="286" y="808"/>
                </a:lnTo>
                <a:lnTo>
                  <a:pt x="291" y="799"/>
                </a:lnTo>
                <a:lnTo>
                  <a:pt x="297" y="791"/>
                </a:lnTo>
                <a:lnTo>
                  <a:pt x="306" y="785"/>
                </a:lnTo>
                <a:lnTo>
                  <a:pt x="314" y="780"/>
                </a:lnTo>
                <a:lnTo>
                  <a:pt x="324" y="776"/>
                </a:lnTo>
                <a:lnTo>
                  <a:pt x="335" y="775"/>
                </a:lnTo>
                <a:close/>
                <a:moveTo>
                  <a:pt x="723" y="775"/>
                </a:moveTo>
                <a:lnTo>
                  <a:pt x="733" y="776"/>
                </a:lnTo>
                <a:lnTo>
                  <a:pt x="743" y="780"/>
                </a:lnTo>
                <a:lnTo>
                  <a:pt x="753" y="785"/>
                </a:lnTo>
                <a:lnTo>
                  <a:pt x="760" y="791"/>
                </a:lnTo>
                <a:lnTo>
                  <a:pt x="767" y="799"/>
                </a:lnTo>
                <a:lnTo>
                  <a:pt x="771" y="808"/>
                </a:lnTo>
                <a:lnTo>
                  <a:pt x="774" y="818"/>
                </a:lnTo>
                <a:lnTo>
                  <a:pt x="775" y="828"/>
                </a:lnTo>
                <a:lnTo>
                  <a:pt x="774" y="839"/>
                </a:lnTo>
                <a:lnTo>
                  <a:pt x="771" y="850"/>
                </a:lnTo>
                <a:lnTo>
                  <a:pt x="767" y="858"/>
                </a:lnTo>
                <a:lnTo>
                  <a:pt x="760" y="866"/>
                </a:lnTo>
                <a:lnTo>
                  <a:pt x="753" y="872"/>
                </a:lnTo>
                <a:lnTo>
                  <a:pt x="743" y="878"/>
                </a:lnTo>
                <a:lnTo>
                  <a:pt x="733" y="880"/>
                </a:lnTo>
                <a:lnTo>
                  <a:pt x="723" y="881"/>
                </a:lnTo>
                <a:lnTo>
                  <a:pt x="712" y="880"/>
                </a:lnTo>
                <a:lnTo>
                  <a:pt x="702" y="878"/>
                </a:lnTo>
                <a:lnTo>
                  <a:pt x="693" y="872"/>
                </a:lnTo>
                <a:lnTo>
                  <a:pt x="686" y="866"/>
                </a:lnTo>
                <a:lnTo>
                  <a:pt x="679" y="858"/>
                </a:lnTo>
                <a:lnTo>
                  <a:pt x="674" y="850"/>
                </a:lnTo>
                <a:lnTo>
                  <a:pt x="671" y="839"/>
                </a:lnTo>
                <a:lnTo>
                  <a:pt x="670" y="828"/>
                </a:lnTo>
                <a:lnTo>
                  <a:pt x="671" y="818"/>
                </a:lnTo>
                <a:lnTo>
                  <a:pt x="674" y="808"/>
                </a:lnTo>
                <a:lnTo>
                  <a:pt x="679" y="799"/>
                </a:lnTo>
                <a:lnTo>
                  <a:pt x="686" y="791"/>
                </a:lnTo>
                <a:lnTo>
                  <a:pt x="693" y="785"/>
                </a:lnTo>
                <a:lnTo>
                  <a:pt x="702" y="780"/>
                </a:lnTo>
                <a:lnTo>
                  <a:pt x="712" y="776"/>
                </a:lnTo>
                <a:lnTo>
                  <a:pt x="723" y="775"/>
                </a:lnTo>
                <a:close/>
                <a:moveTo>
                  <a:pt x="967" y="247"/>
                </a:moveTo>
                <a:lnTo>
                  <a:pt x="226" y="247"/>
                </a:lnTo>
                <a:lnTo>
                  <a:pt x="166" y="0"/>
                </a:lnTo>
                <a:lnTo>
                  <a:pt x="0" y="0"/>
                </a:lnTo>
                <a:lnTo>
                  <a:pt x="0" y="35"/>
                </a:lnTo>
                <a:lnTo>
                  <a:pt x="138" y="35"/>
                </a:lnTo>
                <a:lnTo>
                  <a:pt x="310" y="745"/>
                </a:lnTo>
                <a:lnTo>
                  <a:pt x="303" y="747"/>
                </a:lnTo>
                <a:lnTo>
                  <a:pt x="297" y="749"/>
                </a:lnTo>
                <a:lnTo>
                  <a:pt x="291" y="753"/>
                </a:lnTo>
                <a:lnTo>
                  <a:pt x="285" y="757"/>
                </a:lnTo>
                <a:lnTo>
                  <a:pt x="280" y="760"/>
                </a:lnTo>
                <a:lnTo>
                  <a:pt x="274" y="765"/>
                </a:lnTo>
                <a:lnTo>
                  <a:pt x="269" y="770"/>
                </a:lnTo>
                <a:lnTo>
                  <a:pt x="265" y="775"/>
                </a:lnTo>
                <a:lnTo>
                  <a:pt x="260" y="782"/>
                </a:lnTo>
                <a:lnTo>
                  <a:pt x="257" y="787"/>
                </a:lnTo>
                <a:lnTo>
                  <a:pt x="254" y="794"/>
                </a:lnTo>
                <a:lnTo>
                  <a:pt x="252" y="800"/>
                </a:lnTo>
                <a:lnTo>
                  <a:pt x="249" y="807"/>
                </a:lnTo>
                <a:lnTo>
                  <a:pt x="248" y="814"/>
                </a:lnTo>
                <a:lnTo>
                  <a:pt x="247" y="822"/>
                </a:lnTo>
                <a:lnTo>
                  <a:pt x="246" y="828"/>
                </a:lnTo>
                <a:lnTo>
                  <a:pt x="247" y="838"/>
                </a:lnTo>
                <a:lnTo>
                  <a:pt x="248" y="846"/>
                </a:lnTo>
                <a:lnTo>
                  <a:pt x="251" y="855"/>
                </a:lnTo>
                <a:lnTo>
                  <a:pt x="254" y="863"/>
                </a:lnTo>
                <a:lnTo>
                  <a:pt x="257" y="870"/>
                </a:lnTo>
                <a:lnTo>
                  <a:pt x="261" y="878"/>
                </a:lnTo>
                <a:lnTo>
                  <a:pt x="267" y="884"/>
                </a:lnTo>
                <a:lnTo>
                  <a:pt x="272" y="891"/>
                </a:lnTo>
                <a:lnTo>
                  <a:pt x="279" y="896"/>
                </a:lnTo>
                <a:lnTo>
                  <a:pt x="285" y="902"/>
                </a:lnTo>
                <a:lnTo>
                  <a:pt x="293" y="906"/>
                </a:lnTo>
                <a:lnTo>
                  <a:pt x="300" y="910"/>
                </a:lnTo>
                <a:lnTo>
                  <a:pt x="309" y="912"/>
                </a:lnTo>
                <a:lnTo>
                  <a:pt x="318" y="915"/>
                </a:lnTo>
                <a:lnTo>
                  <a:pt x="326" y="917"/>
                </a:lnTo>
                <a:lnTo>
                  <a:pt x="335" y="917"/>
                </a:lnTo>
                <a:lnTo>
                  <a:pt x="343" y="917"/>
                </a:lnTo>
                <a:lnTo>
                  <a:pt x="353" y="915"/>
                </a:lnTo>
                <a:lnTo>
                  <a:pt x="361" y="912"/>
                </a:lnTo>
                <a:lnTo>
                  <a:pt x="369" y="910"/>
                </a:lnTo>
                <a:lnTo>
                  <a:pt x="377" y="906"/>
                </a:lnTo>
                <a:lnTo>
                  <a:pt x="384" y="902"/>
                </a:lnTo>
                <a:lnTo>
                  <a:pt x="391" y="896"/>
                </a:lnTo>
                <a:lnTo>
                  <a:pt x="397" y="891"/>
                </a:lnTo>
                <a:lnTo>
                  <a:pt x="403" y="884"/>
                </a:lnTo>
                <a:lnTo>
                  <a:pt x="408" y="878"/>
                </a:lnTo>
                <a:lnTo>
                  <a:pt x="413" y="870"/>
                </a:lnTo>
                <a:lnTo>
                  <a:pt x="416" y="863"/>
                </a:lnTo>
                <a:lnTo>
                  <a:pt x="419" y="855"/>
                </a:lnTo>
                <a:lnTo>
                  <a:pt x="421" y="846"/>
                </a:lnTo>
                <a:lnTo>
                  <a:pt x="422" y="838"/>
                </a:lnTo>
                <a:lnTo>
                  <a:pt x="423" y="828"/>
                </a:lnTo>
                <a:lnTo>
                  <a:pt x="422" y="822"/>
                </a:lnTo>
                <a:lnTo>
                  <a:pt x="422" y="814"/>
                </a:lnTo>
                <a:lnTo>
                  <a:pt x="420" y="807"/>
                </a:lnTo>
                <a:lnTo>
                  <a:pt x="418" y="800"/>
                </a:lnTo>
                <a:lnTo>
                  <a:pt x="413" y="787"/>
                </a:lnTo>
                <a:lnTo>
                  <a:pt x="405" y="775"/>
                </a:lnTo>
                <a:lnTo>
                  <a:pt x="652" y="775"/>
                </a:lnTo>
                <a:lnTo>
                  <a:pt x="645" y="787"/>
                </a:lnTo>
                <a:lnTo>
                  <a:pt x="639" y="800"/>
                </a:lnTo>
                <a:lnTo>
                  <a:pt x="637" y="807"/>
                </a:lnTo>
                <a:lnTo>
                  <a:pt x="636" y="814"/>
                </a:lnTo>
                <a:lnTo>
                  <a:pt x="635" y="822"/>
                </a:lnTo>
                <a:lnTo>
                  <a:pt x="635" y="828"/>
                </a:lnTo>
                <a:lnTo>
                  <a:pt x="635" y="838"/>
                </a:lnTo>
                <a:lnTo>
                  <a:pt x="636" y="846"/>
                </a:lnTo>
                <a:lnTo>
                  <a:pt x="638" y="855"/>
                </a:lnTo>
                <a:lnTo>
                  <a:pt x="642" y="863"/>
                </a:lnTo>
                <a:lnTo>
                  <a:pt x="646" y="870"/>
                </a:lnTo>
                <a:lnTo>
                  <a:pt x="650" y="878"/>
                </a:lnTo>
                <a:lnTo>
                  <a:pt x="655" y="884"/>
                </a:lnTo>
                <a:lnTo>
                  <a:pt x="661" y="891"/>
                </a:lnTo>
                <a:lnTo>
                  <a:pt x="666" y="896"/>
                </a:lnTo>
                <a:lnTo>
                  <a:pt x="674" y="902"/>
                </a:lnTo>
                <a:lnTo>
                  <a:pt x="680" y="906"/>
                </a:lnTo>
                <a:lnTo>
                  <a:pt x="688" y="910"/>
                </a:lnTo>
                <a:lnTo>
                  <a:pt x="697" y="912"/>
                </a:lnTo>
                <a:lnTo>
                  <a:pt x="705" y="915"/>
                </a:lnTo>
                <a:lnTo>
                  <a:pt x="714" y="917"/>
                </a:lnTo>
                <a:lnTo>
                  <a:pt x="723" y="917"/>
                </a:lnTo>
                <a:lnTo>
                  <a:pt x="732" y="917"/>
                </a:lnTo>
                <a:lnTo>
                  <a:pt x="741" y="915"/>
                </a:lnTo>
                <a:lnTo>
                  <a:pt x="750" y="912"/>
                </a:lnTo>
                <a:lnTo>
                  <a:pt x="757" y="910"/>
                </a:lnTo>
                <a:lnTo>
                  <a:pt x="765" y="906"/>
                </a:lnTo>
                <a:lnTo>
                  <a:pt x="772" y="902"/>
                </a:lnTo>
                <a:lnTo>
                  <a:pt x="779" y="896"/>
                </a:lnTo>
                <a:lnTo>
                  <a:pt x="785" y="891"/>
                </a:lnTo>
                <a:lnTo>
                  <a:pt x="791" y="884"/>
                </a:lnTo>
                <a:lnTo>
                  <a:pt x="796" y="878"/>
                </a:lnTo>
                <a:lnTo>
                  <a:pt x="800" y="870"/>
                </a:lnTo>
                <a:lnTo>
                  <a:pt x="805" y="863"/>
                </a:lnTo>
                <a:lnTo>
                  <a:pt x="807" y="855"/>
                </a:lnTo>
                <a:lnTo>
                  <a:pt x="809" y="846"/>
                </a:lnTo>
                <a:lnTo>
                  <a:pt x="811" y="838"/>
                </a:lnTo>
                <a:lnTo>
                  <a:pt x="811" y="828"/>
                </a:lnTo>
                <a:lnTo>
                  <a:pt x="811" y="819"/>
                </a:lnTo>
                <a:lnTo>
                  <a:pt x="809" y="811"/>
                </a:lnTo>
                <a:lnTo>
                  <a:pt x="807" y="802"/>
                </a:lnTo>
                <a:lnTo>
                  <a:pt x="805" y="795"/>
                </a:lnTo>
                <a:lnTo>
                  <a:pt x="800" y="787"/>
                </a:lnTo>
                <a:lnTo>
                  <a:pt x="796" y="780"/>
                </a:lnTo>
                <a:lnTo>
                  <a:pt x="791" y="773"/>
                </a:lnTo>
                <a:lnTo>
                  <a:pt x="785" y="767"/>
                </a:lnTo>
                <a:lnTo>
                  <a:pt x="779" y="760"/>
                </a:lnTo>
                <a:lnTo>
                  <a:pt x="772" y="756"/>
                </a:lnTo>
                <a:lnTo>
                  <a:pt x="765" y="751"/>
                </a:lnTo>
                <a:lnTo>
                  <a:pt x="757" y="747"/>
                </a:lnTo>
                <a:lnTo>
                  <a:pt x="750" y="744"/>
                </a:lnTo>
                <a:lnTo>
                  <a:pt x="741" y="742"/>
                </a:lnTo>
                <a:lnTo>
                  <a:pt x="732" y="741"/>
                </a:lnTo>
                <a:lnTo>
                  <a:pt x="723" y="741"/>
                </a:lnTo>
                <a:lnTo>
                  <a:pt x="346" y="741"/>
                </a:lnTo>
                <a:lnTo>
                  <a:pt x="328" y="669"/>
                </a:lnTo>
                <a:lnTo>
                  <a:pt x="824" y="669"/>
                </a:lnTo>
                <a:lnTo>
                  <a:pt x="967" y="24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HAT</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 WE DO</a:t>
            </a:r>
          </a:p>
        </p:txBody>
      </p:sp>
      <p:sp>
        <p:nvSpPr>
          <p:cNvPr id="19" name="Rectangle 18">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3" name="Slide Number Placeholder 2"/>
          <p:cNvSpPr>
            <a:spLocks noGrp="1"/>
          </p:cNvSpPr>
          <p:nvPr>
            <p:ph type="sldNum" sz="quarter" idx="12"/>
          </p:nvPr>
        </p:nvSpPr>
        <p:spPr/>
        <p:txBody>
          <a:bodyPr/>
          <a:lstStyle/>
          <a:p>
            <a:fld id="{DE156FE7-4276-48C2-8D29-2DA35A3BAE26}" type="slidenum">
              <a:rPr lang="en-US" smtClean="0"/>
              <a:t>15</a:t>
            </a:fld>
            <a:endParaRPr lang="en-US"/>
          </a:p>
        </p:txBody>
      </p:sp>
    </p:spTree>
    <p:extLst>
      <p:ext uri="{BB962C8B-B14F-4D97-AF65-F5344CB8AC3E}">
        <p14:creationId xmlns:p14="http://schemas.microsoft.com/office/powerpoint/2010/main" val="3640706750"/>
      </p:ext>
    </p:extLst>
  </p:cSld>
  <p:clrMapOvr>
    <a:masterClrMapping/>
  </p:clrMapOvr>
  <p:transition spd="med">
    <p:pull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TIMELINE</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 LAYOUT</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4" name="Freeform 5"/>
          <p:cNvSpPr>
            <a:spLocks/>
          </p:cNvSpPr>
          <p:nvPr/>
        </p:nvSpPr>
        <p:spPr bwMode="auto">
          <a:xfrm>
            <a:off x="1101726" y="3643554"/>
            <a:ext cx="1752600" cy="503238"/>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 name="Freeform 6"/>
          <p:cNvSpPr>
            <a:spLocks/>
          </p:cNvSpPr>
          <p:nvPr/>
        </p:nvSpPr>
        <p:spPr bwMode="auto">
          <a:xfrm>
            <a:off x="2752726" y="3643554"/>
            <a:ext cx="1754188" cy="503238"/>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p:cNvSpPr>
            <a:spLocks/>
          </p:cNvSpPr>
          <p:nvPr/>
        </p:nvSpPr>
        <p:spPr bwMode="auto">
          <a:xfrm>
            <a:off x="4405313" y="3643554"/>
            <a:ext cx="1752600" cy="503238"/>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p:cNvSpPr>
          <p:nvPr/>
        </p:nvSpPr>
        <p:spPr bwMode="auto">
          <a:xfrm>
            <a:off x="6056313" y="3643554"/>
            <a:ext cx="1752600" cy="503238"/>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p:cNvSpPr>
          <p:nvPr/>
        </p:nvSpPr>
        <p:spPr bwMode="auto">
          <a:xfrm>
            <a:off x="7708901" y="3643554"/>
            <a:ext cx="1752600" cy="503238"/>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p:nvSpPr>
        <p:spPr bwMode="auto">
          <a:xfrm>
            <a:off x="9371013" y="3643554"/>
            <a:ext cx="1730375" cy="503238"/>
          </a:xfrm>
          <a:custGeom>
            <a:avLst/>
            <a:gdLst>
              <a:gd name="T0" fmla="*/ 70 w 461"/>
              <a:gd name="T1" fmla="*/ 123 h 131"/>
              <a:gd name="T2" fmla="*/ 7 w 461"/>
              <a:gd name="T3" fmla="*/ 27 h 131"/>
              <a:gd name="T4" fmla="*/ 22 w 461"/>
              <a:gd name="T5" fmla="*/ 0 h 131"/>
              <a:gd name="T6" fmla="*/ 376 w 461"/>
              <a:gd name="T7" fmla="*/ 0 h 131"/>
              <a:gd name="T8" fmla="*/ 391 w 461"/>
              <a:gd name="T9" fmla="*/ 8 h 131"/>
              <a:gd name="T10" fmla="*/ 453 w 461"/>
              <a:gd name="T11" fmla="*/ 104 h 131"/>
              <a:gd name="T12" fmla="*/ 439 w 461"/>
              <a:gd name="T13" fmla="*/ 131 h 131"/>
              <a:gd name="T14" fmla="*/ 85 w 461"/>
              <a:gd name="T15" fmla="*/ 131 h 131"/>
              <a:gd name="T16" fmla="*/ 70 w 461"/>
              <a:gd name="T17" fmla="*/ 12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131">
                <a:moveTo>
                  <a:pt x="70" y="123"/>
                </a:moveTo>
                <a:cubicBezTo>
                  <a:pt x="7" y="27"/>
                  <a:pt x="7" y="27"/>
                  <a:pt x="7" y="27"/>
                </a:cubicBezTo>
                <a:cubicBezTo>
                  <a:pt x="0" y="16"/>
                  <a:pt x="8" y="0"/>
                  <a:pt x="22" y="0"/>
                </a:cubicBezTo>
                <a:cubicBezTo>
                  <a:pt x="376" y="0"/>
                  <a:pt x="376" y="0"/>
                  <a:pt x="376" y="0"/>
                </a:cubicBezTo>
                <a:cubicBezTo>
                  <a:pt x="382" y="0"/>
                  <a:pt x="387" y="3"/>
                  <a:pt x="391" y="8"/>
                </a:cubicBezTo>
                <a:cubicBezTo>
                  <a:pt x="453" y="104"/>
                  <a:pt x="453" y="104"/>
                  <a:pt x="453" y="104"/>
                </a:cubicBezTo>
                <a:cubicBezTo>
                  <a:pt x="461" y="116"/>
                  <a:pt x="453" y="131"/>
                  <a:pt x="439" y="131"/>
                </a:cubicBezTo>
                <a:cubicBezTo>
                  <a:pt x="85" y="131"/>
                  <a:pt x="85" y="131"/>
                  <a:pt x="85" y="131"/>
                </a:cubicBezTo>
                <a:cubicBezTo>
                  <a:pt x="79" y="131"/>
                  <a:pt x="73" y="128"/>
                  <a:pt x="70" y="12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0" name="Straight Connector 9"/>
          <p:cNvCxnSpPr/>
          <p:nvPr/>
        </p:nvCxnSpPr>
        <p:spPr>
          <a:xfrm flipV="1">
            <a:off x="1978025" y="2715819"/>
            <a:ext cx="0" cy="784860"/>
          </a:xfrm>
          <a:prstGeom prst="line">
            <a:avLst/>
          </a:prstGeom>
          <a:ln w="28575">
            <a:solidFill>
              <a:schemeClr val="tx2">
                <a:lumMod val="60000"/>
                <a:lumOff val="40000"/>
              </a:schemeClr>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3653952" y="4285539"/>
            <a:ext cx="0" cy="784860"/>
          </a:xfrm>
          <a:prstGeom prst="line">
            <a:avLst/>
          </a:prstGeom>
          <a:ln w="28575">
            <a:solidFill>
              <a:schemeClr val="tx2">
                <a:lumMod val="60000"/>
                <a:lumOff val="4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5281613" y="2636765"/>
            <a:ext cx="0" cy="784860"/>
          </a:xfrm>
          <a:prstGeom prst="line">
            <a:avLst/>
          </a:prstGeom>
          <a:ln w="28575">
            <a:solidFill>
              <a:schemeClr val="tx2">
                <a:lumMod val="60000"/>
                <a:lumOff val="40000"/>
              </a:schemeClr>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6964156" y="4285539"/>
            <a:ext cx="0" cy="784860"/>
          </a:xfrm>
          <a:prstGeom prst="line">
            <a:avLst/>
          </a:prstGeom>
          <a:ln w="28575">
            <a:solidFill>
              <a:schemeClr val="tx2">
                <a:lumMod val="60000"/>
                <a:lumOff val="4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8583720" y="2636765"/>
            <a:ext cx="0" cy="784860"/>
          </a:xfrm>
          <a:prstGeom prst="line">
            <a:avLst/>
          </a:prstGeom>
          <a:ln w="28575">
            <a:solidFill>
              <a:schemeClr val="tx2">
                <a:lumMod val="60000"/>
                <a:lumOff val="40000"/>
              </a:schemeClr>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0236200" y="4285539"/>
            <a:ext cx="0" cy="784860"/>
          </a:xfrm>
          <a:prstGeom prst="line">
            <a:avLst/>
          </a:prstGeom>
          <a:ln w="28575">
            <a:solidFill>
              <a:schemeClr val="tx2">
                <a:lumMod val="60000"/>
                <a:lumOff val="40000"/>
              </a:schemeClr>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16" name="Freeform 32"/>
          <p:cNvSpPr>
            <a:spLocks noEditPoints="1"/>
          </p:cNvSpPr>
          <p:nvPr/>
        </p:nvSpPr>
        <p:spPr bwMode="auto">
          <a:xfrm>
            <a:off x="3357924" y="2865172"/>
            <a:ext cx="543792" cy="444645"/>
          </a:xfrm>
          <a:custGeom>
            <a:avLst/>
            <a:gdLst/>
            <a:ahLst/>
            <a:cxnLst>
              <a:cxn ang="0">
                <a:pos x="254" y="0"/>
              </a:cxn>
              <a:cxn ang="0">
                <a:pos x="239" y="2"/>
              </a:cxn>
              <a:cxn ang="0">
                <a:pos x="210" y="15"/>
              </a:cxn>
              <a:cxn ang="0">
                <a:pos x="74" y="149"/>
              </a:cxn>
              <a:cxn ang="0">
                <a:pos x="69" y="154"/>
              </a:cxn>
              <a:cxn ang="0">
                <a:pos x="65" y="165"/>
              </a:cxn>
              <a:cxn ang="0">
                <a:pos x="65" y="178"/>
              </a:cxn>
              <a:cxn ang="0">
                <a:pos x="69" y="189"/>
              </a:cxn>
              <a:cxn ang="0">
                <a:pos x="167" y="288"/>
              </a:cxn>
              <a:cxn ang="0">
                <a:pos x="172" y="292"/>
              </a:cxn>
              <a:cxn ang="0">
                <a:pos x="183" y="297"/>
              </a:cxn>
              <a:cxn ang="0">
                <a:pos x="196" y="297"/>
              </a:cxn>
              <a:cxn ang="0">
                <a:pos x="208" y="292"/>
              </a:cxn>
              <a:cxn ang="0">
                <a:pos x="339" y="162"/>
              </a:cxn>
              <a:cxn ang="0">
                <a:pos x="348" y="151"/>
              </a:cxn>
              <a:cxn ang="0">
                <a:pos x="359" y="122"/>
              </a:cxn>
              <a:cxn ang="0">
                <a:pos x="361" y="33"/>
              </a:cxn>
              <a:cxn ang="0">
                <a:pos x="361" y="26"/>
              </a:cxn>
              <a:cxn ang="0">
                <a:pos x="355" y="15"/>
              </a:cxn>
              <a:cxn ang="0">
                <a:pos x="346" y="6"/>
              </a:cxn>
              <a:cxn ang="0">
                <a:pos x="335" y="2"/>
              </a:cxn>
              <a:cxn ang="0">
                <a:pos x="330" y="0"/>
              </a:cxn>
              <a:cxn ang="0">
                <a:pos x="286" y="107"/>
              </a:cxn>
              <a:cxn ang="0">
                <a:pos x="274" y="105"/>
              </a:cxn>
              <a:cxn ang="0">
                <a:pos x="263" y="98"/>
              </a:cxn>
              <a:cxn ang="0">
                <a:pos x="257" y="87"/>
              </a:cxn>
              <a:cxn ang="0">
                <a:pos x="254" y="74"/>
              </a:cxn>
              <a:cxn ang="0">
                <a:pos x="256" y="69"/>
              </a:cxn>
              <a:cxn ang="0">
                <a:pos x="259" y="58"/>
              </a:cxn>
              <a:cxn ang="0">
                <a:pos x="268" y="49"/>
              </a:cxn>
              <a:cxn ang="0">
                <a:pos x="279" y="44"/>
              </a:cxn>
              <a:cxn ang="0">
                <a:pos x="286" y="44"/>
              </a:cxn>
              <a:cxn ang="0">
                <a:pos x="299" y="45"/>
              </a:cxn>
              <a:cxn ang="0">
                <a:pos x="308" y="53"/>
              </a:cxn>
              <a:cxn ang="0">
                <a:pos x="315" y="64"/>
              </a:cxn>
              <a:cxn ang="0">
                <a:pos x="319" y="74"/>
              </a:cxn>
              <a:cxn ang="0">
                <a:pos x="317" y="82"/>
              </a:cxn>
              <a:cxn ang="0">
                <a:pos x="314" y="93"/>
              </a:cxn>
              <a:cxn ang="0">
                <a:pos x="304" y="102"/>
              </a:cxn>
              <a:cxn ang="0">
                <a:pos x="292" y="107"/>
              </a:cxn>
              <a:cxn ang="0">
                <a:pos x="286" y="107"/>
              </a:cxn>
              <a:cxn ang="0">
                <a:pos x="141" y="294"/>
              </a:cxn>
              <a:cxn ang="0">
                <a:pos x="130" y="297"/>
              </a:cxn>
              <a:cxn ang="0">
                <a:pos x="112" y="294"/>
              </a:cxn>
              <a:cxn ang="0">
                <a:pos x="9" y="194"/>
              </a:cxn>
              <a:cxn ang="0">
                <a:pos x="5" y="189"/>
              </a:cxn>
              <a:cxn ang="0">
                <a:pos x="0" y="178"/>
              </a:cxn>
              <a:cxn ang="0">
                <a:pos x="0" y="165"/>
              </a:cxn>
              <a:cxn ang="0">
                <a:pos x="5" y="154"/>
              </a:cxn>
              <a:cxn ang="0">
                <a:pos x="136" y="24"/>
              </a:cxn>
              <a:cxn ang="0">
                <a:pos x="147" y="15"/>
              </a:cxn>
              <a:cxn ang="0">
                <a:pos x="176" y="2"/>
              </a:cxn>
              <a:cxn ang="0">
                <a:pos x="27" y="163"/>
              </a:cxn>
              <a:cxn ang="0">
                <a:pos x="23" y="167"/>
              </a:cxn>
              <a:cxn ang="0">
                <a:pos x="23" y="176"/>
              </a:cxn>
              <a:cxn ang="0">
                <a:pos x="27" y="180"/>
              </a:cxn>
            </a:cxnLst>
            <a:rect l="0" t="0" r="r" b="b"/>
            <a:pathLst>
              <a:path w="361" h="297">
                <a:moveTo>
                  <a:pt x="330" y="0"/>
                </a:moveTo>
                <a:lnTo>
                  <a:pt x="254" y="0"/>
                </a:lnTo>
                <a:lnTo>
                  <a:pt x="254" y="0"/>
                </a:lnTo>
                <a:lnTo>
                  <a:pt x="239" y="2"/>
                </a:lnTo>
                <a:lnTo>
                  <a:pt x="225" y="7"/>
                </a:lnTo>
                <a:lnTo>
                  <a:pt x="210" y="15"/>
                </a:lnTo>
                <a:lnTo>
                  <a:pt x="199" y="24"/>
                </a:lnTo>
                <a:lnTo>
                  <a:pt x="74" y="149"/>
                </a:lnTo>
                <a:lnTo>
                  <a:pt x="74" y="149"/>
                </a:lnTo>
                <a:lnTo>
                  <a:pt x="69" y="154"/>
                </a:lnTo>
                <a:lnTo>
                  <a:pt x="67" y="160"/>
                </a:lnTo>
                <a:lnTo>
                  <a:pt x="65" y="165"/>
                </a:lnTo>
                <a:lnTo>
                  <a:pt x="63" y="172"/>
                </a:lnTo>
                <a:lnTo>
                  <a:pt x="65" y="178"/>
                </a:lnTo>
                <a:lnTo>
                  <a:pt x="67" y="183"/>
                </a:lnTo>
                <a:lnTo>
                  <a:pt x="69" y="189"/>
                </a:lnTo>
                <a:lnTo>
                  <a:pt x="74" y="194"/>
                </a:lnTo>
                <a:lnTo>
                  <a:pt x="167" y="288"/>
                </a:lnTo>
                <a:lnTo>
                  <a:pt x="167" y="288"/>
                </a:lnTo>
                <a:lnTo>
                  <a:pt x="172" y="292"/>
                </a:lnTo>
                <a:lnTo>
                  <a:pt x="178" y="296"/>
                </a:lnTo>
                <a:lnTo>
                  <a:pt x="183" y="297"/>
                </a:lnTo>
                <a:lnTo>
                  <a:pt x="190" y="297"/>
                </a:lnTo>
                <a:lnTo>
                  <a:pt x="196" y="297"/>
                </a:lnTo>
                <a:lnTo>
                  <a:pt x="201" y="296"/>
                </a:lnTo>
                <a:lnTo>
                  <a:pt x="208" y="292"/>
                </a:lnTo>
                <a:lnTo>
                  <a:pt x="212" y="288"/>
                </a:lnTo>
                <a:lnTo>
                  <a:pt x="339" y="162"/>
                </a:lnTo>
                <a:lnTo>
                  <a:pt x="339" y="162"/>
                </a:lnTo>
                <a:lnTo>
                  <a:pt x="348" y="151"/>
                </a:lnTo>
                <a:lnTo>
                  <a:pt x="355" y="136"/>
                </a:lnTo>
                <a:lnTo>
                  <a:pt x="359" y="122"/>
                </a:lnTo>
                <a:lnTo>
                  <a:pt x="361" y="107"/>
                </a:lnTo>
                <a:lnTo>
                  <a:pt x="361" y="33"/>
                </a:lnTo>
                <a:lnTo>
                  <a:pt x="361" y="33"/>
                </a:lnTo>
                <a:lnTo>
                  <a:pt x="361" y="26"/>
                </a:lnTo>
                <a:lnTo>
                  <a:pt x="359" y="20"/>
                </a:lnTo>
                <a:lnTo>
                  <a:pt x="355" y="15"/>
                </a:lnTo>
                <a:lnTo>
                  <a:pt x="352" y="9"/>
                </a:lnTo>
                <a:lnTo>
                  <a:pt x="346" y="6"/>
                </a:lnTo>
                <a:lnTo>
                  <a:pt x="341" y="4"/>
                </a:lnTo>
                <a:lnTo>
                  <a:pt x="335" y="2"/>
                </a:lnTo>
                <a:lnTo>
                  <a:pt x="330" y="0"/>
                </a:lnTo>
                <a:lnTo>
                  <a:pt x="330" y="0"/>
                </a:lnTo>
                <a:close/>
                <a:moveTo>
                  <a:pt x="286" y="107"/>
                </a:moveTo>
                <a:lnTo>
                  <a:pt x="286" y="107"/>
                </a:lnTo>
                <a:lnTo>
                  <a:pt x="279" y="107"/>
                </a:lnTo>
                <a:lnTo>
                  <a:pt x="274" y="105"/>
                </a:lnTo>
                <a:lnTo>
                  <a:pt x="268" y="102"/>
                </a:lnTo>
                <a:lnTo>
                  <a:pt x="263" y="98"/>
                </a:lnTo>
                <a:lnTo>
                  <a:pt x="259" y="93"/>
                </a:lnTo>
                <a:lnTo>
                  <a:pt x="257" y="87"/>
                </a:lnTo>
                <a:lnTo>
                  <a:pt x="256" y="82"/>
                </a:lnTo>
                <a:lnTo>
                  <a:pt x="254" y="74"/>
                </a:lnTo>
                <a:lnTo>
                  <a:pt x="254" y="74"/>
                </a:lnTo>
                <a:lnTo>
                  <a:pt x="256" y="69"/>
                </a:lnTo>
                <a:lnTo>
                  <a:pt x="257" y="64"/>
                </a:lnTo>
                <a:lnTo>
                  <a:pt x="259" y="58"/>
                </a:lnTo>
                <a:lnTo>
                  <a:pt x="263" y="53"/>
                </a:lnTo>
                <a:lnTo>
                  <a:pt x="268" y="49"/>
                </a:lnTo>
                <a:lnTo>
                  <a:pt x="274" y="45"/>
                </a:lnTo>
                <a:lnTo>
                  <a:pt x="279" y="44"/>
                </a:lnTo>
                <a:lnTo>
                  <a:pt x="286" y="44"/>
                </a:lnTo>
                <a:lnTo>
                  <a:pt x="286" y="44"/>
                </a:lnTo>
                <a:lnTo>
                  <a:pt x="292" y="44"/>
                </a:lnTo>
                <a:lnTo>
                  <a:pt x="299" y="45"/>
                </a:lnTo>
                <a:lnTo>
                  <a:pt x="304" y="49"/>
                </a:lnTo>
                <a:lnTo>
                  <a:pt x="308" y="53"/>
                </a:lnTo>
                <a:lnTo>
                  <a:pt x="314" y="58"/>
                </a:lnTo>
                <a:lnTo>
                  <a:pt x="315" y="64"/>
                </a:lnTo>
                <a:lnTo>
                  <a:pt x="317" y="69"/>
                </a:lnTo>
                <a:lnTo>
                  <a:pt x="319" y="74"/>
                </a:lnTo>
                <a:lnTo>
                  <a:pt x="319" y="74"/>
                </a:lnTo>
                <a:lnTo>
                  <a:pt x="317" y="82"/>
                </a:lnTo>
                <a:lnTo>
                  <a:pt x="315" y="87"/>
                </a:lnTo>
                <a:lnTo>
                  <a:pt x="314" y="93"/>
                </a:lnTo>
                <a:lnTo>
                  <a:pt x="308" y="98"/>
                </a:lnTo>
                <a:lnTo>
                  <a:pt x="304" y="102"/>
                </a:lnTo>
                <a:lnTo>
                  <a:pt x="299" y="105"/>
                </a:lnTo>
                <a:lnTo>
                  <a:pt x="292" y="107"/>
                </a:lnTo>
                <a:lnTo>
                  <a:pt x="286" y="107"/>
                </a:lnTo>
                <a:lnTo>
                  <a:pt x="286" y="107"/>
                </a:lnTo>
                <a:close/>
                <a:moveTo>
                  <a:pt x="27" y="180"/>
                </a:moveTo>
                <a:lnTo>
                  <a:pt x="141" y="294"/>
                </a:lnTo>
                <a:lnTo>
                  <a:pt x="141" y="294"/>
                </a:lnTo>
                <a:lnTo>
                  <a:pt x="130" y="297"/>
                </a:lnTo>
                <a:lnTo>
                  <a:pt x="121" y="297"/>
                </a:lnTo>
                <a:lnTo>
                  <a:pt x="112" y="294"/>
                </a:lnTo>
                <a:lnTo>
                  <a:pt x="103" y="288"/>
                </a:lnTo>
                <a:lnTo>
                  <a:pt x="9" y="194"/>
                </a:lnTo>
                <a:lnTo>
                  <a:pt x="9" y="194"/>
                </a:lnTo>
                <a:lnTo>
                  <a:pt x="5" y="189"/>
                </a:lnTo>
                <a:lnTo>
                  <a:pt x="2" y="183"/>
                </a:lnTo>
                <a:lnTo>
                  <a:pt x="0" y="178"/>
                </a:lnTo>
                <a:lnTo>
                  <a:pt x="0" y="172"/>
                </a:lnTo>
                <a:lnTo>
                  <a:pt x="0" y="165"/>
                </a:lnTo>
                <a:lnTo>
                  <a:pt x="2" y="160"/>
                </a:lnTo>
                <a:lnTo>
                  <a:pt x="5" y="154"/>
                </a:lnTo>
                <a:lnTo>
                  <a:pt x="9" y="149"/>
                </a:lnTo>
                <a:lnTo>
                  <a:pt x="136" y="24"/>
                </a:lnTo>
                <a:lnTo>
                  <a:pt x="136" y="24"/>
                </a:lnTo>
                <a:lnTo>
                  <a:pt x="147" y="15"/>
                </a:lnTo>
                <a:lnTo>
                  <a:pt x="161" y="7"/>
                </a:lnTo>
                <a:lnTo>
                  <a:pt x="176" y="2"/>
                </a:lnTo>
                <a:lnTo>
                  <a:pt x="190" y="0"/>
                </a:lnTo>
                <a:lnTo>
                  <a:pt x="27" y="163"/>
                </a:lnTo>
                <a:lnTo>
                  <a:pt x="27" y="163"/>
                </a:lnTo>
                <a:lnTo>
                  <a:pt x="23" y="167"/>
                </a:lnTo>
                <a:lnTo>
                  <a:pt x="23" y="172"/>
                </a:lnTo>
                <a:lnTo>
                  <a:pt x="23" y="176"/>
                </a:lnTo>
                <a:lnTo>
                  <a:pt x="27" y="180"/>
                </a:lnTo>
                <a:lnTo>
                  <a:pt x="27" y="180"/>
                </a:lnTo>
                <a:close/>
              </a:path>
            </a:pathLst>
          </a:custGeom>
          <a:solidFill>
            <a:schemeClr val="tx1">
              <a:lumMod val="50000"/>
              <a:lumOff val="50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nvGrpSpPr>
          <p:cNvPr id="17" name="Group 77"/>
          <p:cNvGrpSpPr/>
          <p:nvPr/>
        </p:nvGrpSpPr>
        <p:grpSpPr>
          <a:xfrm>
            <a:off x="6669731" y="2891251"/>
            <a:ext cx="525763" cy="402584"/>
            <a:chOff x="5552261" y="1554043"/>
            <a:chExt cx="363359" cy="278229"/>
          </a:xfrm>
          <a:solidFill>
            <a:schemeClr val="tx1">
              <a:lumMod val="50000"/>
              <a:lumOff val="50000"/>
            </a:schemeClr>
          </a:solidFill>
        </p:grpSpPr>
        <p:sp>
          <p:nvSpPr>
            <p:cNvPr id="18" name="Freeform 96"/>
            <p:cNvSpPr>
              <a:spLocks/>
            </p:cNvSpPr>
            <p:nvPr/>
          </p:nvSpPr>
          <p:spPr bwMode="auto">
            <a:xfrm>
              <a:off x="5552261" y="1715997"/>
              <a:ext cx="363359" cy="116275"/>
            </a:xfrm>
            <a:custGeom>
              <a:avLst/>
              <a:gdLst/>
              <a:ahLst/>
              <a:cxnLst>
                <a:cxn ang="0">
                  <a:pos x="211" y="31"/>
                </a:cxn>
                <a:cxn ang="0">
                  <a:pos x="140" y="31"/>
                </a:cxn>
                <a:cxn ang="0">
                  <a:pos x="140" y="0"/>
                </a:cxn>
                <a:cxn ang="0">
                  <a:pos x="0" y="0"/>
                </a:cxn>
                <a:cxn ang="0">
                  <a:pos x="0" y="96"/>
                </a:cxn>
                <a:cxn ang="0">
                  <a:pos x="0" y="96"/>
                </a:cxn>
                <a:cxn ang="0">
                  <a:pos x="2" y="102"/>
                </a:cxn>
                <a:cxn ang="0">
                  <a:pos x="4" y="107"/>
                </a:cxn>
                <a:cxn ang="0">
                  <a:pos x="9" y="111"/>
                </a:cxn>
                <a:cxn ang="0">
                  <a:pos x="17" y="112"/>
                </a:cxn>
                <a:cxn ang="0">
                  <a:pos x="334" y="112"/>
                </a:cxn>
                <a:cxn ang="0">
                  <a:pos x="334" y="112"/>
                </a:cxn>
                <a:cxn ang="0">
                  <a:pos x="341" y="111"/>
                </a:cxn>
                <a:cxn ang="0">
                  <a:pos x="347" y="107"/>
                </a:cxn>
                <a:cxn ang="0">
                  <a:pos x="350" y="102"/>
                </a:cxn>
                <a:cxn ang="0">
                  <a:pos x="350" y="96"/>
                </a:cxn>
                <a:cxn ang="0">
                  <a:pos x="350" y="0"/>
                </a:cxn>
                <a:cxn ang="0">
                  <a:pos x="211" y="0"/>
                </a:cxn>
                <a:cxn ang="0">
                  <a:pos x="211" y="31"/>
                </a:cxn>
              </a:cxnLst>
              <a:rect l="0" t="0" r="r" b="b"/>
              <a:pathLst>
                <a:path w="350" h="112">
                  <a:moveTo>
                    <a:pt x="211" y="31"/>
                  </a:moveTo>
                  <a:lnTo>
                    <a:pt x="140" y="31"/>
                  </a:lnTo>
                  <a:lnTo>
                    <a:pt x="140" y="0"/>
                  </a:lnTo>
                  <a:lnTo>
                    <a:pt x="0" y="0"/>
                  </a:lnTo>
                  <a:lnTo>
                    <a:pt x="0" y="96"/>
                  </a:lnTo>
                  <a:lnTo>
                    <a:pt x="0" y="96"/>
                  </a:lnTo>
                  <a:lnTo>
                    <a:pt x="2" y="102"/>
                  </a:lnTo>
                  <a:lnTo>
                    <a:pt x="4" y="107"/>
                  </a:lnTo>
                  <a:lnTo>
                    <a:pt x="9" y="111"/>
                  </a:lnTo>
                  <a:lnTo>
                    <a:pt x="17" y="112"/>
                  </a:lnTo>
                  <a:lnTo>
                    <a:pt x="334" y="112"/>
                  </a:lnTo>
                  <a:lnTo>
                    <a:pt x="334" y="112"/>
                  </a:lnTo>
                  <a:lnTo>
                    <a:pt x="341" y="111"/>
                  </a:lnTo>
                  <a:lnTo>
                    <a:pt x="347" y="107"/>
                  </a:lnTo>
                  <a:lnTo>
                    <a:pt x="350" y="102"/>
                  </a:lnTo>
                  <a:lnTo>
                    <a:pt x="350" y="96"/>
                  </a:lnTo>
                  <a:lnTo>
                    <a:pt x="350" y="0"/>
                  </a:lnTo>
                  <a:lnTo>
                    <a:pt x="211" y="0"/>
                  </a:lnTo>
                  <a:lnTo>
                    <a:pt x="211"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 name="Freeform 97"/>
            <p:cNvSpPr>
              <a:spLocks noEditPoints="1"/>
            </p:cNvSpPr>
            <p:nvPr/>
          </p:nvSpPr>
          <p:spPr bwMode="auto">
            <a:xfrm>
              <a:off x="5552261" y="1554043"/>
              <a:ext cx="363359" cy="137038"/>
            </a:xfrm>
            <a:custGeom>
              <a:avLst/>
              <a:gdLst/>
              <a:ahLst/>
              <a:cxnLst>
                <a:cxn ang="0">
                  <a:pos x="334" y="42"/>
                </a:cxn>
                <a:cxn ang="0">
                  <a:pos x="225" y="42"/>
                </a:cxn>
                <a:cxn ang="0">
                  <a:pos x="225" y="42"/>
                </a:cxn>
                <a:cxn ang="0">
                  <a:pos x="225" y="5"/>
                </a:cxn>
                <a:cxn ang="0">
                  <a:pos x="225" y="5"/>
                </a:cxn>
                <a:cxn ang="0">
                  <a:pos x="225" y="2"/>
                </a:cxn>
                <a:cxn ang="0">
                  <a:pos x="223" y="0"/>
                </a:cxn>
                <a:cxn ang="0">
                  <a:pos x="222" y="0"/>
                </a:cxn>
                <a:cxn ang="0">
                  <a:pos x="120" y="0"/>
                </a:cxn>
                <a:cxn ang="0">
                  <a:pos x="120" y="0"/>
                </a:cxn>
                <a:cxn ang="0">
                  <a:pos x="118" y="2"/>
                </a:cxn>
                <a:cxn ang="0">
                  <a:pos x="116" y="4"/>
                </a:cxn>
                <a:cxn ang="0">
                  <a:pos x="115" y="5"/>
                </a:cxn>
                <a:cxn ang="0">
                  <a:pos x="115" y="5"/>
                </a:cxn>
                <a:cxn ang="0">
                  <a:pos x="115" y="42"/>
                </a:cxn>
                <a:cxn ang="0">
                  <a:pos x="17" y="42"/>
                </a:cxn>
                <a:cxn ang="0">
                  <a:pos x="17" y="42"/>
                </a:cxn>
                <a:cxn ang="0">
                  <a:pos x="9" y="42"/>
                </a:cxn>
                <a:cxn ang="0">
                  <a:pos x="4" y="45"/>
                </a:cxn>
                <a:cxn ang="0">
                  <a:pos x="2" y="51"/>
                </a:cxn>
                <a:cxn ang="0">
                  <a:pos x="0" y="58"/>
                </a:cxn>
                <a:cxn ang="0">
                  <a:pos x="0" y="130"/>
                </a:cxn>
                <a:cxn ang="0">
                  <a:pos x="350" y="130"/>
                </a:cxn>
                <a:cxn ang="0">
                  <a:pos x="350" y="58"/>
                </a:cxn>
                <a:cxn ang="0">
                  <a:pos x="350" y="58"/>
                </a:cxn>
                <a:cxn ang="0">
                  <a:pos x="350" y="51"/>
                </a:cxn>
                <a:cxn ang="0">
                  <a:pos x="347" y="45"/>
                </a:cxn>
                <a:cxn ang="0">
                  <a:pos x="341" y="42"/>
                </a:cxn>
                <a:cxn ang="0">
                  <a:pos x="334" y="42"/>
                </a:cxn>
                <a:cxn ang="0">
                  <a:pos x="334" y="42"/>
                </a:cxn>
                <a:cxn ang="0">
                  <a:pos x="133" y="42"/>
                </a:cxn>
                <a:cxn ang="0">
                  <a:pos x="133" y="13"/>
                </a:cxn>
                <a:cxn ang="0">
                  <a:pos x="209" y="13"/>
                </a:cxn>
                <a:cxn ang="0">
                  <a:pos x="209" y="42"/>
                </a:cxn>
                <a:cxn ang="0">
                  <a:pos x="133" y="42"/>
                </a:cxn>
              </a:cxnLst>
              <a:rect l="0" t="0" r="r" b="b"/>
              <a:pathLst>
                <a:path w="350" h="130">
                  <a:moveTo>
                    <a:pt x="334" y="42"/>
                  </a:moveTo>
                  <a:lnTo>
                    <a:pt x="225" y="42"/>
                  </a:lnTo>
                  <a:lnTo>
                    <a:pt x="225" y="42"/>
                  </a:lnTo>
                  <a:lnTo>
                    <a:pt x="225" y="5"/>
                  </a:lnTo>
                  <a:lnTo>
                    <a:pt x="225" y="5"/>
                  </a:lnTo>
                  <a:lnTo>
                    <a:pt x="225" y="2"/>
                  </a:lnTo>
                  <a:lnTo>
                    <a:pt x="223" y="0"/>
                  </a:lnTo>
                  <a:lnTo>
                    <a:pt x="222" y="0"/>
                  </a:lnTo>
                  <a:lnTo>
                    <a:pt x="120" y="0"/>
                  </a:lnTo>
                  <a:lnTo>
                    <a:pt x="120" y="0"/>
                  </a:lnTo>
                  <a:lnTo>
                    <a:pt x="118" y="2"/>
                  </a:lnTo>
                  <a:lnTo>
                    <a:pt x="116" y="4"/>
                  </a:lnTo>
                  <a:lnTo>
                    <a:pt x="115" y="5"/>
                  </a:lnTo>
                  <a:lnTo>
                    <a:pt x="115" y="5"/>
                  </a:lnTo>
                  <a:lnTo>
                    <a:pt x="115" y="42"/>
                  </a:lnTo>
                  <a:lnTo>
                    <a:pt x="17" y="42"/>
                  </a:lnTo>
                  <a:lnTo>
                    <a:pt x="17" y="42"/>
                  </a:lnTo>
                  <a:lnTo>
                    <a:pt x="9" y="42"/>
                  </a:lnTo>
                  <a:lnTo>
                    <a:pt x="4" y="45"/>
                  </a:lnTo>
                  <a:lnTo>
                    <a:pt x="2" y="51"/>
                  </a:lnTo>
                  <a:lnTo>
                    <a:pt x="0" y="58"/>
                  </a:lnTo>
                  <a:lnTo>
                    <a:pt x="0" y="130"/>
                  </a:lnTo>
                  <a:lnTo>
                    <a:pt x="350" y="130"/>
                  </a:lnTo>
                  <a:lnTo>
                    <a:pt x="350" y="58"/>
                  </a:lnTo>
                  <a:lnTo>
                    <a:pt x="350" y="58"/>
                  </a:lnTo>
                  <a:lnTo>
                    <a:pt x="350" y="51"/>
                  </a:lnTo>
                  <a:lnTo>
                    <a:pt x="347" y="45"/>
                  </a:lnTo>
                  <a:lnTo>
                    <a:pt x="341" y="42"/>
                  </a:lnTo>
                  <a:lnTo>
                    <a:pt x="334" y="42"/>
                  </a:lnTo>
                  <a:lnTo>
                    <a:pt x="334" y="42"/>
                  </a:lnTo>
                  <a:close/>
                  <a:moveTo>
                    <a:pt x="133" y="42"/>
                  </a:moveTo>
                  <a:lnTo>
                    <a:pt x="133" y="13"/>
                  </a:lnTo>
                  <a:lnTo>
                    <a:pt x="209" y="13"/>
                  </a:lnTo>
                  <a:lnTo>
                    <a:pt x="209" y="42"/>
                  </a:lnTo>
                  <a:lnTo>
                    <a:pt x="133" y="4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 name="Rectangle 98"/>
            <p:cNvSpPr>
              <a:spLocks noChangeArrowheads="1"/>
            </p:cNvSpPr>
            <p:nvPr/>
          </p:nvSpPr>
          <p:spPr bwMode="auto">
            <a:xfrm>
              <a:off x="5710062" y="1715997"/>
              <a:ext cx="45679" cy="18688"/>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21" name="Freeform 104"/>
          <p:cNvSpPr>
            <a:spLocks noEditPoints="1"/>
          </p:cNvSpPr>
          <p:nvPr/>
        </p:nvSpPr>
        <p:spPr bwMode="auto">
          <a:xfrm>
            <a:off x="5050255" y="4417457"/>
            <a:ext cx="465677" cy="453661"/>
          </a:xfrm>
          <a:custGeom>
            <a:avLst/>
            <a:gdLst/>
            <a:ahLst/>
            <a:cxnLst>
              <a:cxn ang="0">
                <a:pos x="243" y="45"/>
              </a:cxn>
              <a:cxn ang="0">
                <a:pos x="243" y="20"/>
              </a:cxn>
              <a:cxn ang="0">
                <a:pos x="238" y="6"/>
              </a:cxn>
              <a:cxn ang="0">
                <a:pos x="221" y="0"/>
              </a:cxn>
              <a:cxn ang="0">
                <a:pos x="214" y="2"/>
              </a:cxn>
              <a:cxn ang="0">
                <a:pos x="203" y="13"/>
              </a:cxn>
              <a:cxn ang="0">
                <a:pos x="202" y="45"/>
              </a:cxn>
              <a:cxn ang="0">
                <a:pos x="109" y="20"/>
              </a:cxn>
              <a:cxn ang="0">
                <a:pos x="107" y="13"/>
              </a:cxn>
              <a:cxn ang="0">
                <a:pos x="96" y="2"/>
              </a:cxn>
              <a:cxn ang="0">
                <a:pos x="87" y="0"/>
              </a:cxn>
              <a:cxn ang="0">
                <a:pos x="73" y="6"/>
              </a:cxn>
              <a:cxn ang="0">
                <a:pos x="67" y="20"/>
              </a:cxn>
              <a:cxn ang="0">
                <a:pos x="17" y="45"/>
              </a:cxn>
              <a:cxn ang="0">
                <a:pos x="9" y="47"/>
              </a:cxn>
              <a:cxn ang="0">
                <a:pos x="2" y="54"/>
              </a:cxn>
              <a:cxn ang="0">
                <a:pos x="0" y="287"/>
              </a:cxn>
              <a:cxn ang="0">
                <a:pos x="2" y="292"/>
              </a:cxn>
              <a:cxn ang="0">
                <a:pos x="9" y="301"/>
              </a:cxn>
              <a:cxn ang="0">
                <a:pos x="294" y="301"/>
              </a:cxn>
              <a:cxn ang="0">
                <a:pos x="301" y="301"/>
              </a:cxn>
              <a:cxn ang="0">
                <a:pos x="308" y="292"/>
              </a:cxn>
              <a:cxn ang="0">
                <a:pos x="310" y="62"/>
              </a:cxn>
              <a:cxn ang="0">
                <a:pos x="308" y="54"/>
              </a:cxn>
              <a:cxn ang="0">
                <a:pos x="301" y="47"/>
              </a:cxn>
              <a:cxn ang="0">
                <a:pos x="294" y="45"/>
              </a:cxn>
              <a:cxn ang="0">
                <a:pos x="145" y="156"/>
              </a:cxn>
              <a:cxn ang="0">
                <a:pos x="96" y="114"/>
              </a:cxn>
              <a:cxn ang="0">
                <a:pos x="165" y="114"/>
              </a:cxn>
              <a:cxn ang="0">
                <a:pos x="214" y="156"/>
              </a:cxn>
              <a:cxn ang="0">
                <a:pos x="165" y="114"/>
              </a:cxn>
              <a:cxn ang="0">
                <a:pos x="75" y="156"/>
              </a:cxn>
              <a:cxn ang="0">
                <a:pos x="31" y="114"/>
              </a:cxn>
              <a:cxn ang="0">
                <a:pos x="75" y="178"/>
              </a:cxn>
              <a:cxn ang="0">
                <a:pos x="31" y="209"/>
              </a:cxn>
              <a:cxn ang="0">
                <a:pos x="75" y="178"/>
              </a:cxn>
              <a:cxn ang="0">
                <a:pos x="145" y="178"/>
              </a:cxn>
              <a:cxn ang="0">
                <a:pos x="96" y="209"/>
              </a:cxn>
              <a:cxn ang="0">
                <a:pos x="145" y="229"/>
              </a:cxn>
              <a:cxn ang="0">
                <a:pos x="96" y="270"/>
              </a:cxn>
              <a:cxn ang="0">
                <a:pos x="145" y="229"/>
              </a:cxn>
              <a:cxn ang="0">
                <a:pos x="214" y="229"/>
              </a:cxn>
              <a:cxn ang="0">
                <a:pos x="165" y="270"/>
              </a:cxn>
              <a:cxn ang="0">
                <a:pos x="165" y="209"/>
              </a:cxn>
              <a:cxn ang="0">
                <a:pos x="214" y="178"/>
              </a:cxn>
              <a:cxn ang="0">
                <a:pos x="165" y="209"/>
              </a:cxn>
              <a:cxn ang="0">
                <a:pos x="279" y="178"/>
              </a:cxn>
              <a:cxn ang="0">
                <a:pos x="236" y="209"/>
              </a:cxn>
              <a:cxn ang="0">
                <a:pos x="236" y="156"/>
              </a:cxn>
              <a:cxn ang="0">
                <a:pos x="279" y="114"/>
              </a:cxn>
              <a:cxn ang="0">
                <a:pos x="236" y="156"/>
              </a:cxn>
              <a:cxn ang="0">
                <a:pos x="75" y="229"/>
              </a:cxn>
              <a:cxn ang="0">
                <a:pos x="31" y="270"/>
              </a:cxn>
              <a:cxn ang="0">
                <a:pos x="236" y="270"/>
              </a:cxn>
              <a:cxn ang="0">
                <a:pos x="279" y="229"/>
              </a:cxn>
              <a:cxn ang="0">
                <a:pos x="236" y="270"/>
              </a:cxn>
            </a:cxnLst>
            <a:rect l="0" t="0" r="r" b="b"/>
            <a:pathLst>
              <a:path w="310" h="301">
                <a:moveTo>
                  <a:pt x="294" y="45"/>
                </a:moveTo>
                <a:lnTo>
                  <a:pt x="243" y="45"/>
                </a:lnTo>
                <a:lnTo>
                  <a:pt x="243" y="20"/>
                </a:lnTo>
                <a:lnTo>
                  <a:pt x="243" y="20"/>
                </a:lnTo>
                <a:lnTo>
                  <a:pt x="241" y="13"/>
                </a:lnTo>
                <a:lnTo>
                  <a:pt x="238" y="6"/>
                </a:lnTo>
                <a:lnTo>
                  <a:pt x="231" y="2"/>
                </a:lnTo>
                <a:lnTo>
                  <a:pt x="221" y="0"/>
                </a:lnTo>
                <a:lnTo>
                  <a:pt x="221" y="0"/>
                </a:lnTo>
                <a:lnTo>
                  <a:pt x="214" y="2"/>
                </a:lnTo>
                <a:lnTo>
                  <a:pt x="207" y="6"/>
                </a:lnTo>
                <a:lnTo>
                  <a:pt x="203" y="13"/>
                </a:lnTo>
                <a:lnTo>
                  <a:pt x="202" y="20"/>
                </a:lnTo>
                <a:lnTo>
                  <a:pt x="202" y="45"/>
                </a:lnTo>
                <a:lnTo>
                  <a:pt x="109" y="45"/>
                </a:lnTo>
                <a:lnTo>
                  <a:pt x="109" y="20"/>
                </a:lnTo>
                <a:lnTo>
                  <a:pt x="109" y="20"/>
                </a:lnTo>
                <a:lnTo>
                  <a:pt x="107" y="13"/>
                </a:lnTo>
                <a:lnTo>
                  <a:pt x="102" y="6"/>
                </a:lnTo>
                <a:lnTo>
                  <a:pt x="96" y="2"/>
                </a:lnTo>
                <a:lnTo>
                  <a:pt x="87" y="0"/>
                </a:lnTo>
                <a:lnTo>
                  <a:pt x="87" y="0"/>
                </a:lnTo>
                <a:lnTo>
                  <a:pt x="80" y="2"/>
                </a:lnTo>
                <a:lnTo>
                  <a:pt x="73" y="6"/>
                </a:lnTo>
                <a:lnTo>
                  <a:pt x="69" y="13"/>
                </a:lnTo>
                <a:lnTo>
                  <a:pt x="67" y="20"/>
                </a:lnTo>
                <a:lnTo>
                  <a:pt x="67" y="45"/>
                </a:lnTo>
                <a:lnTo>
                  <a:pt x="17" y="45"/>
                </a:lnTo>
                <a:lnTo>
                  <a:pt x="17" y="45"/>
                </a:lnTo>
                <a:lnTo>
                  <a:pt x="9" y="47"/>
                </a:lnTo>
                <a:lnTo>
                  <a:pt x="4" y="51"/>
                </a:lnTo>
                <a:lnTo>
                  <a:pt x="2" y="54"/>
                </a:lnTo>
                <a:lnTo>
                  <a:pt x="0" y="62"/>
                </a:lnTo>
                <a:lnTo>
                  <a:pt x="0" y="287"/>
                </a:lnTo>
                <a:lnTo>
                  <a:pt x="0" y="287"/>
                </a:lnTo>
                <a:lnTo>
                  <a:pt x="2" y="292"/>
                </a:lnTo>
                <a:lnTo>
                  <a:pt x="4" y="297"/>
                </a:lnTo>
                <a:lnTo>
                  <a:pt x="9" y="301"/>
                </a:lnTo>
                <a:lnTo>
                  <a:pt x="17" y="301"/>
                </a:lnTo>
                <a:lnTo>
                  <a:pt x="294" y="301"/>
                </a:lnTo>
                <a:lnTo>
                  <a:pt x="294" y="301"/>
                </a:lnTo>
                <a:lnTo>
                  <a:pt x="301" y="301"/>
                </a:lnTo>
                <a:lnTo>
                  <a:pt x="305" y="297"/>
                </a:lnTo>
                <a:lnTo>
                  <a:pt x="308" y="292"/>
                </a:lnTo>
                <a:lnTo>
                  <a:pt x="310" y="287"/>
                </a:lnTo>
                <a:lnTo>
                  <a:pt x="310" y="62"/>
                </a:lnTo>
                <a:lnTo>
                  <a:pt x="310" y="62"/>
                </a:lnTo>
                <a:lnTo>
                  <a:pt x="308" y="54"/>
                </a:lnTo>
                <a:lnTo>
                  <a:pt x="305" y="51"/>
                </a:lnTo>
                <a:lnTo>
                  <a:pt x="301" y="47"/>
                </a:lnTo>
                <a:lnTo>
                  <a:pt x="294" y="45"/>
                </a:lnTo>
                <a:lnTo>
                  <a:pt x="294" y="45"/>
                </a:lnTo>
                <a:close/>
                <a:moveTo>
                  <a:pt x="145" y="114"/>
                </a:moveTo>
                <a:lnTo>
                  <a:pt x="145" y="156"/>
                </a:lnTo>
                <a:lnTo>
                  <a:pt x="96" y="156"/>
                </a:lnTo>
                <a:lnTo>
                  <a:pt x="96" y="114"/>
                </a:lnTo>
                <a:lnTo>
                  <a:pt x="145" y="114"/>
                </a:lnTo>
                <a:close/>
                <a:moveTo>
                  <a:pt x="165" y="114"/>
                </a:moveTo>
                <a:lnTo>
                  <a:pt x="214" y="114"/>
                </a:lnTo>
                <a:lnTo>
                  <a:pt x="214" y="156"/>
                </a:lnTo>
                <a:lnTo>
                  <a:pt x="165" y="156"/>
                </a:lnTo>
                <a:lnTo>
                  <a:pt x="165" y="114"/>
                </a:lnTo>
                <a:close/>
                <a:moveTo>
                  <a:pt x="75" y="114"/>
                </a:moveTo>
                <a:lnTo>
                  <a:pt x="75" y="156"/>
                </a:lnTo>
                <a:lnTo>
                  <a:pt x="31" y="156"/>
                </a:lnTo>
                <a:lnTo>
                  <a:pt x="31" y="114"/>
                </a:lnTo>
                <a:lnTo>
                  <a:pt x="75" y="114"/>
                </a:lnTo>
                <a:close/>
                <a:moveTo>
                  <a:pt x="75" y="178"/>
                </a:moveTo>
                <a:lnTo>
                  <a:pt x="75" y="209"/>
                </a:lnTo>
                <a:lnTo>
                  <a:pt x="31" y="209"/>
                </a:lnTo>
                <a:lnTo>
                  <a:pt x="31" y="178"/>
                </a:lnTo>
                <a:lnTo>
                  <a:pt x="75" y="178"/>
                </a:lnTo>
                <a:close/>
                <a:moveTo>
                  <a:pt x="96" y="178"/>
                </a:moveTo>
                <a:lnTo>
                  <a:pt x="145" y="178"/>
                </a:lnTo>
                <a:lnTo>
                  <a:pt x="145" y="209"/>
                </a:lnTo>
                <a:lnTo>
                  <a:pt x="96" y="209"/>
                </a:lnTo>
                <a:lnTo>
                  <a:pt x="96" y="178"/>
                </a:lnTo>
                <a:close/>
                <a:moveTo>
                  <a:pt x="145" y="229"/>
                </a:moveTo>
                <a:lnTo>
                  <a:pt x="145" y="270"/>
                </a:lnTo>
                <a:lnTo>
                  <a:pt x="96" y="270"/>
                </a:lnTo>
                <a:lnTo>
                  <a:pt x="96" y="229"/>
                </a:lnTo>
                <a:lnTo>
                  <a:pt x="145" y="229"/>
                </a:lnTo>
                <a:close/>
                <a:moveTo>
                  <a:pt x="165" y="229"/>
                </a:moveTo>
                <a:lnTo>
                  <a:pt x="214" y="229"/>
                </a:lnTo>
                <a:lnTo>
                  <a:pt x="214" y="270"/>
                </a:lnTo>
                <a:lnTo>
                  <a:pt x="165" y="270"/>
                </a:lnTo>
                <a:lnTo>
                  <a:pt x="165" y="229"/>
                </a:lnTo>
                <a:close/>
                <a:moveTo>
                  <a:pt x="165" y="209"/>
                </a:moveTo>
                <a:lnTo>
                  <a:pt x="165" y="178"/>
                </a:lnTo>
                <a:lnTo>
                  <a:pt x="214" y="178"/>
                </a:lnTo>
                <a:lnTo>
                  <a:pt x="214" y="209"/>
                </a:lnTo>
                <a:lnTo>
                  <a:pt x="165" y="209"/>
                </a:lnTo>
                <a:close/>
                <a:moveTo>
                  <a:pt x="236" y="178"/>
                </a:moveTo>
                <a:lnTo>
                  <a:pt x="279" y="178"/>
                </a:lnTo>
                <a:lnTo>
                  <a:pt x="279" y="209"/>
                </a:lnTo>
                <a:lnTo>
                  <a:pt x="236" y="209"/>
                </a:lnTo>
                <a:lnTo>
                  <a:pt x="236" y="178"/>
                </a:lnTo>
                <a:close/>
                <a:moveTo>
                  <a:pt x="236" y="156"/>
                </a:moveTo>
                <a:lnTo>
                  <a:pt x="236" y="114"/>
                </a:lnTo>
                <a:lnTo>
                  <a:pt x="279" y="114"/>
                </a:lnTo>
                <a:lnTo>
                  <a:pt x="279" y="156"/>
                </a:lnTo>
                <a:lnTo>
                  <a:pt x="236" y="156"/>
                </a:lnTo>
                <a:close/>
                <a:moveTo>
                  <a:pt x="31" y="229"/>
                </a:moveTo>
                <a:lnTo>
                  <a:pt x="75" y="229"/>
                </a:lnTo>
                <a:lnTo>
                  <a:pt x="75" y="270"/>
                </a:lnTo>
                <a:lnTo>
                  <a:pt x="31" y="270"/>
                </a:lnTo>
                <a:lnTo>
                  <a:pt x="31" y="229"/>
                </a:lnTo>
                <a:close/>
                <a:moveTo>
                  <a:pt x="236" y="270"/>
                </a:moveTo>
                <a:lnTo>
                  <a:pt x="236" y="229"/>
                </a:lnTo>
                <a:lnTo>
                  <a:pt x="279" y="229"/>
                </a:lnTo>
                <a:lnTo>
                  <a:pt x="279" y="270"/>
                </a:lnTo>
                <a:lnTo>
                  <a:pt x="236" y="270"/>
                </a:lnTo>
                <a:close/>
              </a:path>
            </a:pathLst>
          </a:custGeom>
          <a:solidFill>
            <a:schemeClr val="tx1">
              <a:lumMod val="50000"/>
              <a:lumOff val="50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 name="Freeform 111"/>
          <p:cNvSpPr>
            <a:spLocks noEditPoints="1"/>
          </p:cNvSpPr>
          <p:nvPr/>
        </p:nvSpPr>
        <p:spPr bwMode="auto">
          <a:xfrm>
            <a:off x="1767720" y="4417457"/>
            <a:ext cx="420611" cy="423619"/>
          </a:xfrm>
          <a:custGeom>
            <a:avLst/>
            <a:gdLst/>
            <a:ahLst/>
            <a:cxnLst>
              <a:cxn ang="0">
                <a:pos x="36" y="38"/>
              </a:cxn>
              <a:cxn ang="0">
                <a:pos x="5" y="38"/>
              </a:cxn>
              <a:cxn ang="0">
                <a:pos x="0" y="45"/>
              </a:cxn>
              <a:cxn ang="0">
                <a:pos x="0" y="69"/>
              </a:cxn>
              <a:cxn ang="0">
                <a:pos x="9" y="74"/>
              </a:cxn>
              <a:cxn ang="0">
                <a:pos x="9" y="94"/>
              </a:cxn>
              <a:cxn ang="0">
                <a:pos x="1" y="96"/>
              </a:cxn>
              <a:cxn ang="0">
                <a:pos x="0" y="121"/>
              </a:cxn>
              <a:cxn ang="0">
                <a:pos x="1" y="128"/>
              </a:cxn>
              <a:cxn ang="0">
                <a:pos x="36" y="130"/>
              </a:cxn>
              <a:cxn ang="0">
                <a:pos x="9" y="150"/>
              </a:cxn>
              <a:cxn ang="0">
                <a:pos x="0" y="156"/>
              </a:cxn>
              <a:cxn ang="0">
                <a:pos x="0" y="177"/>
              </a:cxn>
              <a:cxn ang="0">
                <a:pos x="5" y="186"/>
              </a:cxn>
              <a:cxn ang="0">
                <a:pos x="36" y="206"/>
              </a:cxn>
              <a:cxn ang="0">
                <a:pos x="5" y="206"/>
              </a:cxn>
              <a:cxn ang="0">
                <a:pos x="0" y="215"/>
              </a:cxn>
              <a:cxn ang="0">
                <a:pos x="0" y="237"/>
              </a:cxn>
              <a:cxn ang="0">
                <a:pos x="9" y="243"/>
              </a:cxn>
              <a:cxn ang="0">
                <a:pos x="262" y="281"/>
              </a:cxn>
              <a:cxn ang="0">
                <a:pos x="275" y="275"/>
              </a:cxn>
              <a:cxn ang="0">
                <a:pos x="281" y="18"/>
              </a:cxn>
              <a:cxn ang="0">
                <a:pos x="275" y="5"/>
              </a:cxn>
              <a:cxn ang="0">
                <a:pos x="262" y="0"/>
              </a:cxn>
              <a:cxn ang="0">
                <a:pos x="56" y="243"/>
              </a:cxn>
              <a:cxn ang="0">
                <a:pos x="69" y="243"/>
              </a:cxn>
              <a:cxn ang="0">
                <a:pos x="74" y="234"/>
              </a:cxn>
              <a:cxn ang="0">
                <a:pos x="74" y="212"/>
              </a:cxn>
              <a:cxn ang="0">
                <a:pos x="65" y="206"/>
              </a:cxn>
              <a:cxn ang="0">
                <a:pos x="65" y="186"/>
              </a:cxn>
              <a:cxn ang="0">
                <a:pos x="72" y="185"/>
              </a:cxn>
              <a:cxn ang="0">
                <a:pos x="74" y="159"/>
              </a:cxn>
              <a:cxn ang="0">
                <a:pos x="72" y="152"/>
              </a:cxn>
              <a:cxn ang="0">
                <a:pos x="56" y="150"/>
              </a:cxn>
              <a:cxn ang="0">
                <a:pos x="65" y="130"/>
              </a:cxn>
              <a:cxn ang="0">
                <a:pos x="74" y="125"/>
              </a:cxn>
              <a:cxn ang="0">
                <a:pos x="74" y="103"/>
              </a:cxn>
              <a:cxn ang="0">
                <a:pos x="69" y="94"/>
              </a:cxn>
              <a:cxn ang="0">
                <a:pos x="56" y="74"/>
              </a:cxn>
              <a:cxn ang="0">
                <a:pos x="69" y="74"/>
              </a:cxn>
              <a:cxn ang="0">
                <a:pos x="74" y="65"/>
              </a:cxn>
              <a:cxn ang="0">
                <a:pos x="74" y="41"/>
              </a:cxn>
              <a:cxn ang="0">
                <a:pos x="65" y="38"/>
              </a:cxn>
              <a:cxn ang="0">
                <a:pos x="92" y="18"/>
              </a:cxn>
            </a:cxnLst>
            <a:rect l="0" t="0" r="r" b="b"/>
            <a:pathLst>
              <a:path w="281" h="281">
                <a:moveTo>
                  <a:pt x="262" y="0"/>
                </a:moveTo>
                <a:lnTo>
                  <a:pt x="36" y="0"/>
                </a:lnTo>
                <a:lnTo>
                  <a:pt x="36" y="38"/>
                </a:lnTo>
                <a:lnTo>
                  <a:pt x="9" y="38"/>
                </a:lnTo>
                <a:lnTo>
                  <a:pt x="9" y="38"/>
                </a:lnTo>
                <a:lnTo>
                  <a:pt x="5" y="38"/>
                </a:lnTo>
                <a:lnTo>
                  <a:pt x="1" y="40"/>
                </a:lnTo>
                <a:lnTo>
                  <a:pt x="0" y="41"/>
                </a:lnTo>
                <a:lnTo>
                  <a:pt x="0" y="45"/>
                </a:lnTo>
                <a:lnTo>
                  <a:pt x="0" y="65"/>
                </a:lnTo>
                <a:lnTo>
                  <a:pt x="0" y="65"/>
                </a:lnTo>
                <a:lnTo>
                  <a:pt x="0" y="69"/>
                </a:lnTo>
                <a:lnTo>
                  <a:pt x="1" y="72"/>
                </a:lnTo>
                <a:lnTo>
                  <a:pt x="5" y="74"/>
                </a:lnTo>
                <a:lnTo>
                  <a:pt x="9" y="74"/>
                </a:lnTo>
                <a:lnTo>
                  <a:pt x="36" y="74"/>
                </a:lnTo>
                <a:lnTo>
                  <a:pt x="36" y="94"/>
                </a:lnTo>
                <a:lnTo>
                  <a:pt x="9" y="94"/>
                </a:lnTo>
                <a:lnTo>
                  <a:pt x="9" y="94"/>
                </a:lnTo>
                <a:lnTo>
                  <a:pt x="5" y="94"/>
                </a:lnTo>
                <a:lnTo>
                  <a:pt x="1" y="96"/>
                </a:lnTo>
                <a:lnTo>
                  <a:pt x="0" y="99"/>
                </a:lnTo>
                <a:lnTo>
                  <a:pt x="0" y="103"/>
                </a:lnTo>
                <a:lnTo>
                  <a:pt x="0" y="121"/>
                </a:lnTo>
                <a:lnTo>
                  <a:pt x="0" y="121"/>
                </a:lnTo>
                <a:lnTo>
                  <a:pt x="0" y="125"/>
                </a:lnTo>
                <a:lnTo>
                  <a:pt x="1" y="128"/>
                </a:lnTo>
                <a:lnTo>
                  <a:pt x="5" y="130"/>
                </a:lnTo>
                <a:lnTo>
                  <a:pt x="9" y="130"/>
                </a:lnTo>
                <a:lnTo>
                  <a:pt x="36" y="130"/>
                </a:lnTo>
                <a:lnTo>
                  <a:pt x="36" y="150"/>
                </a:lnTo>
                <a:lnTo>
                  <a:pt x="9" y="150"/>
                </a:lnTo>
                <a:lnTo>
                  <a:pt x="9" y="150"/>
                </a:lnTo>
                <a:lnTo>
                  <a:pt x="5" y="150"/>
                </a:lnTo>
                <a:lnTo>
                  <a:pt x="1" y="152"/>
                </a:lnTo>
                <a:lnTo>
                  <a:pt x="0" y="156"/>
                </a:lnTo>
                <a:lnTo>
                  <a:pt x="0" y="159"/>
                </a:lnTo>
                <a:lnTo>
                  <a:pt x="0" y="177"/>
                </a:lnTo>
                <a:lnTo>
                  <a:pt x="0" y="177"/>
                </a:lnTo>
                <a:lnTo>
                  <a:pt x="0" y="181"/>
                </a:lnTo>
                <a:lnTo>
                  <a:pt x="1" y="185"/>
                </a:lnTo>
                <a:lnTo>
                  <a:pt x="5" y="186"/>
                </a:lnTo>
                <a:lnTo>
                  <a:pt x="9" y="186"/>
                </a:lnTo>
                <a:lnTo>
                  <a:pt x="36" y="186"/>
                </a:lnTo>
                <a:lnTo>
                  <a:pt x="36" y="206"/>
                </a:lnTo>
                <a:lnTo>
                  <a:pt x="9" y="206"/>
                </a:lnTo>
                <a:lnTo>
                  <a:pt x="9" y="206"/>
                </a:lnTo>
                <a:lnTo>
                  <a:pt x="5" y="206"/>
                </a:lnTo>
                <a:lnTo>
                  <a:pt x="1" y="208"/>
                </a:lnTo>
                <a:lnTo>
                  <a:pt x="0" y="212"/>
                </a:lnTo>
                <a:lnTo>
                  <a:pt x="0" y="215"/>
                </a:lnTo>
                <a:lnTo>
                  <a:pt x="0" y="234"/>
                </a:lnTo>
                <a:lnTo>
                  <a:pt x="0" y="234"/>
                </a:lnTo>
                <a:lnTo>
                  <a:pt x="0" y="237"/>
                </a:lnTo>
                <a:lnTo>
                  <a:pt x="1" y="241"/>
                </a:lnTo>
                <a:lnTo>
                  <a:pt x="5" y="243"/>
                </a:lnTo>
                <a:lnTo>
                  <a:pt x="9" y="243"/>
                </a:lnTo>
                <a:lnTo>
                  <a:pt x="36" y="243"/>
                </a:lnTo>
                <a:lnTo>
                  <a:pt x="36" y="281"/>
                </a:lnTo>
                <a:lnTo>
                  <a:pt x="262" y="281"/>
                </a:lnTo>
                <a:lnTo>
                  <a:pt x="262" y="281"/>
                </a:lnTo>
                <a:lnTo>
                  <a:pt x="270" y="279"/>
                </a:lnTo>
                <a:lnTo>
                  <a:pt x="275" y="275"/>
                </a:lnTo>
                <a:lnTo>
                  <a:pt x="279" y="270"/>
                </a:lnTo>
                <a:lnTo>
                  <a:pt x="281" y="261"/>
                </a:lnTo>
                <a:lnTo>
                  <a:pt x="281" y="18"/>
                </a:lnTo>
                <a:lnTo>
                  <a:pt x="281" y="18"/>
                </a:lnTo>
                <a:lnTo>
                  <a:pt x="279" y="11"/>
                </a:lnTo>
                <a:lnTo>
                  <a:pt x="275" y="5"/>
                </a:lnTo>
                <a:lnTo>
                  <a:pt x="270" y="1"/>
                </a:lnTo>
                <a:lnTo>
                  <a:pt x="262" y="0"/>
                </a:lnTo>
                <a:lnTo>
                  <a:pt x="262" y="0"/>
                </a:lnTo>
                <a:close/>
                <a:moveTo>
                  <a:pt x="92" y="263"/>
                </a:moveTo>
                <a:lnTo>
                  <a:pt x="56" y="263"/>
                </a:lnTo>
                <a:lnTo>
                  <a:pt x="56" y="243"/>
                </a:lnTo>
                <a:lnTo>
                  <a:pt x="65" y="243"/>
                </a:lnTo>
                <a:lnTo>
                  <a:pt x="65" y="243"/>
                </a:lnTo>
                <a:lnTo>
                  <a:pt x="69" y="243"/>
                </a:lnTo>
                <a:lnTo>
                  <a:pt x="72" y="241"/>
                </a:lnTo>
                <a:lnTo>
                  <a:pt x="74" y="237"/>
                </a:lnTo>
                <a:lnTo>
                  <a:pt x="74" y="234"/>
                </a:lnTo>
                <a:lnTo>
                  <a:pt x="74" y="215"/>
                </a:lnTo>
                <a:lnTo>
                  <a:pt x="74" y="215"/>
                </a:lnTo>
                <a:lnTo>
                  <a:pt x="74" y="212"/>
                </a:lnTo>
                <a:lnTo>
                  <a:pt x="72" y="208"/>
                </a:lnTo>
                <a:lnTo>
                  <a:pt x="69" y="206"/>
                </a:lnTo>
                <a:lnTo>
                  <a:pt x="65" y="206"/>
                </a:lnTo>
                <a:lnTo>
                  <a:pt x="56" y="206"/>
                </a:lnTo>
                <a:lnTo>
                  <a:pt x="56" y="186"/>
                </a:lnTo>
                <a:lnTo>
                  <a:pt x="65" y="186"/>
                </a:lnTo>
                <a:lnTo>
                  <a:pt x="65" y="186"/>
                </a:lnTo>
                <a:lnTo>
                  <a:pt x="69" y="186"/>
                </a:lnTo>
                <a:lnTo>
                  <a:pt x="72" y="185"/>
                </a:lnTo>
                <a:lnTo>
                  <a:pt x="74" y="181"/>
                </a:lnTo>
                <a:lnTo>
                  <a:pt x="74" y="177"/>
                </a:lnTo>
                <a:lnTo>
                  <a:pt x="74" y="159"/>
                </a:lnTo>
                <a:lnTo>
                  <a:pt x="74" y="159"/>
                </a:lnTo>
                <a:lnTo>
                  <a:pt x="74" y="156"/>
                </a:lnTo>
                <a:lnTo>
                  <a:pt x="72" y="152"/>
                </a:lnTo>
                <a:lnTo>
                  <a:pt x="69" y="150"/>
                </a:lnTo>
                <a:lnTo>
                  <a:pt x="65" y="150"/>
                </a:lnTo>
                <a:lnTo>
                  <a:pt x="56" y="150"/>
                </a:lnTo>
                <a:lnTo>
                  <a:pt x="56" y="130"/>
                </a:lnTo>
                <a:lnTo>
                  <a:pt x="65" y="130"/>
                </a:lnTo>
                <a:lnTo>
                  <a:pt x="65" y="130"/>
                </a:lnTo>
                <a:lnTo>
                  <a:pt x="69" y="130"/>
                </a:lnTo>
                <a:lnTo>
                  <a:pt x="72" y="128"/>
                </a:lnTo>
                <a:lnTo>
                  <a:pt x="74" y="125"/>
                </a:lnTo>
                <a:lnTo>
                  <a:pt x="74" y="121"/>
                </a:lnTo>
                <a:lnTo>
                  <a:pt x="74" y="103"/>
                </a:lnTo>
                <a:lnTo>
                  <a:pt x="74" y="103"/>
                </a:lnTo>
                <a:lnTo>
                  <a:pt x="74" y="99"/>
                </a:lnTo>
                <a:lnTo>
                  <a:pt x="72" y="96"/>
                </a:lnTo>
                <a:lnTo>
                  <a:pt x="69" y="94"/>
                </a:lnTo>
                <a:lnTo>
                  <a:pt x="65" y="94"/>
                </a:lnTo>
                <a:lnTo>
                  <a:pt x="56" y="94"/>
                </a:lnTo>
                <a:lnTo>
                  <a:pt x="56" y="74"/>
                </a:lnTo>
                <a:lnTo>
                  <a:pt x="65" y="74"/>
                </a:lnTo>
                <a:lnTo>
                  <a:pt x="65" y="74"/>
                </a:lnTo>
                <a:lnTo>
                  <a:pt x="69" y="74"/>
                </a:lnTo>
                <a:lnTo>
                  <a:pt x="72" y="72"/>
                </a:lnTo>
                <a:lnTo>
                  <a:pt x="74" y="69"/>
                </a:lnTo>
                <a:lnTo>
                  <a:pt x="74" y="65"/>
                </a:lnTo>
                <a:lnTo>
                  <a:pt x="74" y="45"/>
                </a:lnTo>
                <a:lnTo>
                  <a:pt x="74" y="45"/>
                </a:lnTo>
                <a:lnTo>
                  <a:pt x="74" y="41"/>
                </a:lnTo>
                <a:lnTo>
                  <a:pt x="72" y="40"/>
                </a:lnTo>
                <a:lnTo>
                  <a:pt x="69" y="38"/>
                </a:lnTo>
                <a:lnTo>
                  <a:pt x="65" y="38"/>
                </a:lnTo>
                <a:lnTo>
                  <a:pt x="56" y="38"/>
                </a:lnTo>
                <a:lnTo>
                  <a:pt x="56" y="18"/>
                </a:lnTo>
                <a:lnTo>
                  <a:pt x="92" y="18"/>
                </a:lnTo>
                <a:lnTo>
                  <a:pt x="92" y="263"/>
                </a:lnTo>
                <a:close/>
              </a:path>
            </a:pathLst>
          </a:custGeom>
          <a:solidFill>
            <a:schemeClr val="tx1">
              <a:lumMod val="50000"/>
              <a:lumOff val="50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 name="Freeform 22"/>
          <p:cNvSpPr>
            <a:spLocks noEditPoints="1"/>
          </p:cNvSpPr>
          <p:nvPr/>
        </p:nvSpPr>
        <p:spPr bwMode="auto">
          <a:xfrm>
            <a:off x="9989116" y="2834888"/>
            <a:ext cx="494168" cy="505211"/>
          </a:xfrm>
          <a:custGeom>
            <a:avLst/>
            <a:gdLst>
              <a:gd name="T0" fmla="*/ 203 w 360"/>
              <a:gd name="T1" fmla="*/ 271 h 368"/>
              <a:gd name="T2" fmla="*/ 261 w 360"/>
              <a:gd name="T3" fmla="*/ 202 h 368"/>
              <a:gd name="T4" fmla="*/ 360 w 360"/>
              <a:gd name="T5" fmla="*/ 51 h 368"/>
              <a:gd name="T6" fmla="*/ 346 w 360"/>
              <a:gd name="T7" fmla="*/ 37 h 368"/>
              <a:gd name="T8" fmla="*/ 277 w 360"/>
              <a:gd name="T9" fmla="*/ 37 h 368"/>
              <a:gd name="T10" fmla="*/ 180 w 360"/>
              <a:gd name="T11" fmla="*/ 0 h 368"/>
              <a:gd name="T12" fmla="*/ 83 w 360"/>
              <a:gd name="T13" fmla="*/ 37 h 368"/>
              <a:gd name="T14" fmla="*/ 14 w 360"/>
              <a:gd name="T15" fmla="*/ 37 h 368"/>
              <a:gd name="T16" fmla="*/ 0 w 360"/>
              <a:gd name="T17" fmla="*/ 51 h 368"/>
              <a:gd name="T18" fmla="*/ 98 w 360"/>
              <a:gd name="T19" fmla="*/ 202 h 368"/>
              <a:gd name="T20" fmla="*/ 156 w 360"/>
              <a:gd name="T21" fmla="*/ 271 h 368"/>
              <a:gd name="T22" fmla="*/ 156 w 360"/>
              <a:gd name="T23" fmla="*/ 297 h 368"/>
              <a:gd name="T24" fmla="*/ 91 w 360"/>
              <a:gd name="T25" fmla="*/ 332 h 368"/>
              <a:gd name="T26" fmla="*/ 180 w 360"/>
              <a:gd name="T27" fmla="*/ 368 h 368"/>
              <a:gd name="T28" fmla="*/ 269 w 360"/>
              <a:gd name="T29" fmla="*/ 332 h 368"/>
              <a:gd name="T30" fmla="*/ 203 w 360"/>
              <a:gd name="T31" fmla="*/ 297 h 368"/>
              <a:gd name="T32" fmla="*/ 203 w 360"/>
              <a:gd name="T33" fmla="*/ 271 h 368"/>
              <a:gd name="T34" fmla="*/ 259 w 360"/>
              <a:gd name="T35" fmla="*/ 170 h 368"/>
              <a:gd name="T36" fmla="*/ 281 w 360"/>
              <a:gd name="T37" fmla="*/ 65 h 368"/>
              <a:gd name="T38" fmla="*/ 331 w 360"/>
              <a:gd name="T39" fmla="*/ 65 h 368"/>
              <a:gd name="T40" fmla="*/ 259 w 360"/>
              <a:gd name="T41" fmla="*/ 170 h 368"/>
              <a:gd name="T42" fmla="*/ 180 w 360"/>
              <a:gd name="T43" fmla="*/ 24 h 368"/>
              <a:gd name="T44" fmla="*/ 256 w 360"/>
              <a:gd name="T45" fmla="*/ 55 h 368"/>
              <a:gd name="T46" fmla="*/ 180 w 360"/>
              <a:gd name="T47" fmla="*/ 86 h 368"/>
              <a:gd name="T48" fmla="*/ 104 w 360"/>
              <a:gd name="T49" fmla="*/ 55 h 368"/>
              <a:gd name="T50" fmla="*/ 180 w 360"/>
              <a:gd name="T51" fmla="*/ 24 h 368"/>
              <a:gd name="T52" fmla="*/ 29 w 360"/>
              <a:gd name="T53" fmla="*/ 65 h 368"/>
              <a:gd name="T54" fmla="*/ 79 w 360"/>
              <a:gd name="T55" fmla="*/ 65 h 368"/>
              <a:gd name="T56" fmla="*/ 101 w 360"/>
              <a:gd name="T57" fmla="*/ 170 h 368"/>
              <a:gd name="T58" fmla="*/ 29 w 360"/>
              <a:gd name="T59" fmla="*/ 6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0" h="368">
                <a:moveTo>
                  <a:pt x="203" y="271"/>
                </a:moveTo>
                <a:cubicBezTo>
                  <a:pt x="203" y="242"/>
                  <a:pt x="225" y="226"/>
                  <a:pt x="261" y="202"/>
                </a:cubicBezTo>
                <a:cubicBezTo>
                  <a:pt x="305" y="173"/>
                  <a:pt x="360" y="137"/>
                  <a:pt x="360" y="51"/>
                </a:cubicBezTo>
                <a:cubicBezTo>
                  <a:pt x="360" y="43"/>
                  <a:pt x="353" y="37"/>
                  <a:pt x="346" y="37"/>
                </a:cubicBezTo>
                <a:cubicBezTo>
                  <a:pt x="277" y="37"/>
                  <a:pt x="277" y="37"/>
                  <a:pt x="277" y="37"/>
                </a:cubicBezTo>
                <a:cubicBezTo>
                  <a:pt x="267" y="19"/>
                  <a:pt x="238" y="0"/>
                  <a:pt x="180" y="0"/>
                </a:cubicBezTo>
                <a:cubicBezTo>
                  <a:pt x="121" y="0"/>
                  <a:pt x="92" y="19"/>
                  <a:pt x="83" y="37"/>
                </a:cubicBezTo>
                <a:cubicBezTo>
                  <a:pt x="14" y="37"/>
                  <a:pt x="14" y="37"/>
                  <a:pt x="14" y="37"/>
                </a:cubicBezTo>
                <a:cubicBezTo>
                  <a:pt x="6" y="37"/>
                  <a:pt x="0" y="43"/>
                  <a:pt x="0" y="51"/>
                </a:cubicBezTo>
                <a:cubicBezTo>
                  <a:pt x="0" y="137"/>
                  <a:pt x="54" y="173"/>
                  <a:pt x="98" y="202"/>
                </a:cubicBezTo>
                <a:cubicBezTo>
                  <a:pt x="134" y="226"/>
                  <a:pt x="156" y="242"/>
                  <a:pt x="156" y="271"/>
                </a:cubicBezTo>
                <a:cubicBezTo>
                  <a:pt x="156" y="297"/>
                  <a:pt x="156" y="297"/>
                  <a:pt x="156" y="297"/>
                </a:cubicBezTo>
                <a:cubicBezTo>
                  <a:pt x="118" y="301"/>
                  <a:pt x="91" y="315"/>
                  <a:pt x="91" y="332"/>
                </a:cubicBezTo>
                <a:cubicBezTo>
                  <a:pt x="91" y="352"/>
                  <a:pt x="131" y="368"/>
                  <a:pt x="180" y="368"/>
                </a:cubicBezTo>
                <a:cubicBezTo>
                  <a:pt x="229" y="368"/>
                  <a:pt x="269" y="352"/>
                  <a:pt x="269" y="332"/>
                </a:cubicBezTo>
                <a:cubicBezTo>
                  <a:pt x="269" y="315"/>
                  <a:pt x="241" y="301"/>
                  <a:pt x="203" y="297"/>
                </a:cubicBezTo>
                <a:lnTo>
                  <a:pt x="203" y="271"/>
                </a:lnTo>
                <a:close/>
                <a:moveTo>
                  <a:pt x="259" y="170"/>
                </a:moveTo>
                <a:cubicBezTo>
                  <a:pt x="270" y="146"/>
                  <a:pt x="279" y="113"/>
                  <a:pt x="281" y="65"/>
                </a:cubicBezTo>
                <a:cubicBezTo>
                  <a:pt x="331" y="65"/>
                  <a:pt x="331" y="65"/>
                  <a:pt x="331" y="65"/>
                </a:cubicBezTo>
                <a:cubicBezTo>
                  <a:pt x="326" y="119"/>
                  <a:pt x="294" y="146"/>
                  <a:pt x="259" y="170"/>
                </a:cubicBezTo>
                <a:close/>
                <a:moveTo>
                  <a:pt x="180" y="24"/>
                </a:moveTo>
                <a:cubicBezTo>
                  <a:pt x="234" y="24"/>
                  <a:pt x="256" y="47"/>
                  <a:pt x="256" y="55"/>
                </a:cubicBezTo>
                <a:cubicBezTo>
                  <a:pt x="256" y="63"/>
                  <a:pt x="234" y="86"/>
                  <a:pt x="180" y="86"/>
                </a:cubicBezTo>
                <a:cubicBezTo>
                  <a:pt x="125" y="86"/>
                  <a:pt x="104" y="63"/>
                  <a:pt x="104" y="55"/>
                </a:cubicBezTo>
                <a:cubicBezTo>
                  <a:pt x="104" y="47"/>
                  <a:pt x="125" y="24"/>
                  <a:pt x="180" y="24"/>
                </a:cubicBezTo>
                <a:close/>
                <a:moveTo>
                  <a:pt x="29" y="65"/>
                </a:moveTo>
                <a:cubicBezTo>
                  <a:pt x="79" y="65"/>
                  <a:pt x="79" y="65"/>
                  <a:pt x="79" y="65"/>
                </a:cubicBezTo>
                <a:cubicBezTo>
                  <a:pt x="80" y="113"/>
                  <a:pt x="89" y="146"/>
                  <a:pt x="101" y="170"/>
                </a:cubicBezTo>
                <a:cubicBezTo>
                  <a:pt x="66" y="146"/>
                  <a:pt x="33" y="119"/>
                  <a:pt x="29" y="65"/>
                </a:cubicBezTo>
                <a:close/>
              </a:path>
            </a:pathLst>
          </a:custGeom>
          <a:solidFill>
            <a:schemeClr val="tx1">
              <a:lumMod val="50000"/>
              <a:lumOff val="50000"/>
            </a:schemeClr>
          </a:solidFill>
          <a:ln>
            <a:noFill/>
          </a:ln>
        </p:spPr>
        <p:txBody>
          <a:bodyPr vert="horz" wrap="square" lIns="121920" tIns="60960" rIns="121920" bIns="60960" numCol="1" anchor="t" anchorCtr="0" compatLnSpc="1">
            <a:prstTxWarp prst="textNoShape">
              <a:avLst/>
            </a:prstTxWarp>
          </a:bodyPr>
          <a:lstStyle/>
          <a:p>
            <a:endParaRPr lang="en-US" sz="2400" dirty="0"/>
          </a:p>
        </p:txBody>
      </p:sp>
      <p:grpSp>
        <p:nvGrpSpPr>
          <p:cNvPr id="24" name="Group 23"/>
          <p:cNvGrpSpPr/>
          <p:nvPr/>
        </p:nvGrpSpPr>
        <p:grpSpPr>
          <a:xfrm>
            <a:off x="8312359" y="4437077"/>
            <a:ext cx="550924" cy="434041"/>
            <a:chOff x="1058564" y="1781841"/>
            <a:chExt cx="649993" cy="512092"/>
          </a:xfrm>
          <a:solidFill>
            <a:schemeClr val="tx1">
              <a:lumMod val="50000"/>
              <a:lumOff val="50000"/>
            </a:schemeClr>
          </a:solidFill>
        </p:grpSpPr>
        <p:sp>
          <p:nvSpPr>
            <p:cNvPr id="25" name="Freeform 31"/>
            <p:cNvSpPr>
              <a:spLocks/>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8" name="Freeform 32"/>
            <p:cNvSpPr>
              <a:spLocks/>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
        <p:nvSpPr>
          <p:cNvPr id="29" name="TextBox 28"/>
          <p:cNvSpPr txBox="1"/>
          <p:nvPr/>
        </p:nvSpPr>
        <p:spPr>
          <a:xfrm>
            <a:off x="838396" y="1914692"/>
            <a:ext cx="2316493" cy="600164"/>
          </a:xfrm>
          <a:prstGeom prst="rect">
            <a:avLst/>
          </a:prstGeom>
          <a:noFill/>
        </p:spPr>
        <p:txBody>
          <a:bodyPr wrap="square" rtlCol="0">
            <a:spAutoFit/>
          </a:bodyPr>
          <a:lstStyle/>
          <a:p>
            <a:r>
              <a:rPr lang="en-US" sz="1100" dirty="0">
                <a:solidFill>
                  <a:schemeClr val="tx1">
                    <a:lumMod val="75000"/>
                    <a:lumOff val="25000"/>
                  </a:schemeClr>
                </a:solidFill>
                <a:latin typeface="+mj-lt"/>
              </a:rPr>
              <a:t>Lorem ipsum dolor sit </a:t>
            </a:r>
            <a:r>
              <a:rPr lang="en-US" sz="1100" dirty="0" err="1">
                <a:solidFill>
                  <a:schemeClr val="tx1">
                    <a:lumMod val="75000"/>
                    <a:lumOff val="25000"/>
                  </a:schemeClr>
                </a:solidFill>
                <a:latin typeface="+mj-lt"/>
              </a:rPr>
              <a:t>amet</a:t>
            </a:r>
            <a:r>
              <a:rPr lang="en-US" sz="1100" dirty="0">
                <a:solidFill>
                  <a:schemeClr val="tx1">
                    <a:lumMod val="75000"/>
                    <a:lumOff val="25000"/>
                  </a:schemeClr>
                </a:solidFill>
                <a:latin typeface="+mj-lt"/>
              </a:rPr>
              <a:t>, ta </a:t>
            </a:r>
            <a:r>
              <a:rPr lang="en-US" sz="1100" dirty="0" err="1">
                <a:solidFill>
                  <a:schemeClr val="tx1">
                    <a:lumMod val="75000"/>
                    <a:lumOff val="25000"/>
                  </a:schemeClr>
                </a:solidFill>
                <a:latin typeface="+mj-lt"/>
              </a:rPr>
              <a:t>consecte</a:t>
            </a:r>
            <a:r>
              <a:rPr lang="en-US" sz="1100" dirty="0">
                <a:solidFill>
                  <a:schemeClr val="tx1">
                    <a:lumMod val="75000"/>
                    <a:lumOff val="25000"/>
                  </a:schemeClr>
                </a:solidFill>
                <a:latin typeface="+mj-lt"/>
              </a:rPr>
              <a:t> tur </a:t>
            </a:r>
            <a:r>
              <a:rPr lang="en-US" sz="1100" dirty="0" err="1">
                <a:solidFill>
                  <a:schemeClr val="tx1">
                    <a:lumMod val="75000"/>
                    <a:lumOff val="25000"/>
                  </a:schemeClr>
                </a:solidFill>
                <a:latin typeface="+mj-lt"/>
              </a:rPr>
              <a:t>adipiscingae</a:t>
            </a:r>
            <a:r>
              <a:rPr lang="en-US" sz="1100" dirty="0">
                <a:solidFill>
                  <a:schemeClr val="tx1">
                    <a:lumMod val="75000"/>
                    <a:lumOff val="25000"/>
                  </a:schemeClr>
                </a:solidFill>
                <a:latin typeface="+mj-lt"/>
              </a:rPr>
              <a:t> </a:t>
            </a:r>
            <a:r>
              <a:rPr lang="en-US" sz="1100" dirty="0" err="1">
                <a:solidFill>
                  <a:schemeClr val="tx1">
                    <a:lumMod val="75000"/>
                    <a:lumOff val="25000"/>
                  </a:schemeClr>
                </a:solidFill>
                <a:latin typeface="+mj-lt"/>
              </a:rPr>
              <a:t>elit</a:t>
            </a:r>
            <a:r>
              <a:rPr lang="en-US" sz="1100" dirty="0">
                <a:solidFill>
                  <a:schemeClr val="tx1">
                    <a:lumMod val="75000"/>
                    <a:lumOff val="25000"/>
                  </a:schemeClr>
                </a:solidFill>
                <a:latin typeface="+mj-lt"/>
              </a:rPr>
              <a:t>. </a:t>
            </a:r>
            <a:r>
              <a:rPr lang="en-US" sz="1100" dirty="0" err="1">
                <a:solidFill>
                  <a:schemeClr val="tx1">
                    <a:lumMod val="75000"/>
                    <a:lumOff val="25000"/>
                  </a:schemeClr>
                </a:solidFill>
                <a:latin typeface="+mj-lt"/>
              </a:rPr>
              <a:t>Proin</a:t>
            </a:r>
            <a:r>
              <a:rPr lang="en-US" sz="1100" dirty="0">
                <a:solidFill>
                  <a:schemeClr val="tx1">
                    <a:lumMod val="75000"/>
                    <a:lumOff val="25000"/>
                  </a:schemeClr>
                </a:solidFill>
                <a:latin typeface="+mj-lt"/>
              </a:rPr>
              <a:t> </a:t>
            </a:r>
            <a:r>
              <a:rPr lang="en-US" sz="1100" dirty="0" err="1">
                <a:solidFill>
                  <a:schemeClr val="tx1">
                    <a:lumMod val="75000"/>
                    <a:lumOff val="25000"/>
                  </a:schemeClr>
                </a:solidFill>
                <a:latin typeface="+mj-lt"/>
              </a:rPr>
              <a:t>eleifend</a:t>
            </a:r>
            <a:r>
              <a:rPr lang="en-US" sz="1100" dirty="0">
                <a:solidFill>
                  <a:schemeClr val="tx1">
                    <a:lumMod val="75000"/>
                    <a:lumOff val="25000"/>
                  </a:schemeClr>
                </a:solidFill>
                <a:latin typeface="+mj-lt"/>
              </a:rPr>
              <a:t> </a:t>
            </a:r>
            <a:r>
              <a:rPr lang="en-US" sz="1100" dirty="0" err="1">
                <a:solidFill>
                  <a:schemeClr val="tx1">
                    <a:lumMod val="75000"/>
                    <a:lumOff val="25000"/>
                  </a:schemeClr>
                </a:solidFill>
                <a:latin typeface="+mj-lt"/>
              </a:rPr>
              <a:t>auctora</a:t>
            </a:r>
            <a:r>
              <a:rPr lang="en-US" sz="1100" dirty="0">
                <a:solidFill>
                  <a:schemeClr val="tx1">
                    <a:lumMod val="75000"/>
                    <a:lumOff val="25000"/>
                  </a:schemeClr>
                </a:solidFill>
                <a:latin typeface="+mj-lt"/>
              </a:rPr>
              <a:t>.</a:t>
            </a:r>
          </a:p>
        </p:txBody>
      </p:sp>
      <p:sp>
        <p:nvSpPr>
          <p:cNvPr id="30" name="TextBox 29"/>
          <p:cNvSpPr txBox="1"/>
          <p:nvPr/>
        </p:nvSpPr>
        <p:spPr>
          <a:xfrm>
            <a:off x="838396" y="1638236"/>
            <a:ext cx="896399"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1</a:t>
            </a:r>
          </a:p>
        </p:txBody>
      </p:sp>
      <p:sp>
        <p:nvSpPr>
          <p:cNvPr id="31" name="TextBox 30"/>
          <p:cNvSpPr txBox="1"/>
          <p:nvPr/>
        </p:nvSpPr>
        <p:spPr>
          <a:xfrm>
            <a:off x="2513631" y="5466367"/>
            <a:ext cx="2316493" cy="600164"/>
          </a:xfrm>
          <a:prstGeom prst="rect">
            <a:avLst/>
          </a:prstGeom>
          <a:noFill/>
        </p:spPr>
        <p:txBody>
          <a:bodyPr wrap="square" rtlCol="0">
            <a:spAutoFit/>
          </a:bodyPr>
          <a:lstStyle/>
          <a:p>
            <a:r>
              <a:rPr lang="en-US" sz="1100">
                <a:solidFill>
                  <a:schemeClr val="tx1">
                    <a:lumMod val="75000"/>
                    <a:lumOff val="25000"/>
                  </a:schemeClr>
                </a:solidFill>
                <a:latin typeface="+mj-lt"/>
              </a:rPr>
              <a:t>Lorem ipsum dolor sit amet, ta consecte tur adipiscingae elit. Proin eleifend auctora.</a:t>
            </a:r>
            <a:endParaRPr lang="en-US" sz="1100" dirty="0">
              <a:solidFill>
                <a:schemeClr val="tx1">
                  <a:lumMod val="75000"/>
                  <a:lumOff val="25000"/>
                </a:schemeClr>
              </a:solidFill>
              <a:latin typeface="+mj-lt"/>
            </a:endParaRPr>
          </a:p>
        </p:txBody>
      </p:sp>
      <p:sp>
        <p:nvSpPr>
          <p:cNvPr id="32" name="TextBox 31"/>
          <p:cNvSpPr txBox="1"/>
          <p:nvPr/>
        </p:nvSpPr>
        <p:spPr>
          <a:xfrm>
            <a:off x="2513435" y="5175397"/>
            <a:ext cx="926857"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2</a:t>
            </a:r>
          </a:p>
        </p:txBody>
      </p:sp>
      <p:sp>
        <p:nvSpPr>
          <p:cNvPr id="33" name="TextBox 32"/>
          <p:cNvSpPr txBox="1"/>
          <p:nvPr/>
        </p:nvSpPr>
        <p:spPr>
          <a:xfrm>
            <a:off x="4133335" y="1914692"/>
            <a:ext cx="2316493" cy="600164"/>
          </a:xfrm>
          <a:prstGeom prst="rect">
            <a:avLst/>
          </a:prstGeom>
          <a:noFill/>
        </p:spPr>
        <p:txBody>
          <a:bodyPr wrap="square" rtlCol="0">
            <a:spAutoFit/>
          </a:bodyPr>
          <a:lstStyle/>
          <a:p>
            <a:r>
              <a:rPr lang="en-US" sz="1100">
                <a:solidFill>
                  <a:schemeClr val="tx1">
                    <a:lumMod val="75000"/>
                    <a:lumOff val="25000"/>
                  </a:schemeClr>
                </a:solidFill>
                <a:latin typeface="+mj-lt"/>
              </a:rPr>
              <a:t>Lorem ipsum dolor sit amet, ta consecte tur adipiscingae elit. Proin eleifend auctora.</a:t>
            </a:r>
            <a:endParaRPr lang="en-US" sz="1100" dirty="0">
              <a:solidFill>
                <a:schemeClr val="tx1">
                  <a:lumMod val="75000"/>
                  <a:lumOff val="25000"/>
                </a:schemeClr>
              </a:solidFill>
              <a:latin typeface="+mj-lt"/>
            </a:endParaRPr>
          </a:p>
        </p:txBody>
      </p:sp>
      <p:sp>
        <p:nvSpPr>
          <p:cNvPr id="34" name="TextBox 33"/>
          <p:cNvSpPr txBox="1"/>
          <p:nvPr/>
        </p:nvSpPr>
        <p:spPr>
          <a:xfrm>
            <a:off x="4133335" y="1638236"/>
            <a:ext cx="926857"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3</a:t>
            </a:r>
          </a:p>
        </p:txBody>
      </p:sp>
      <p:sp>
        <p:nvSpPr>
          <p:cNvPr id="35" name="TextBox 34"/>
          <p:cNvSpPr txBox="1"/>
          <p:nvPr/>
        </p:nvSpPr>
        <p:spPr>
          <a:xfrm>
            <a:off x="7433722" y="1914692"/>
            <a:ext cx="2316493" cy="600164"/>
          </a:xfrm>
          <a:prstGeom prst="rect">
            <a:avLst/>
          </a:prstGeom>
          <a:noFill/>
        </p:spPr>
        <p:txBody>
          <a:bodyPr wrap="square" rtlCol="0">
            <a:spAutoFit/>
          </a:bodyPr>
          <a:lstStyle/>
          <a:p>
            <a:r>
              <a:rPr lang="en-US" sz="1100">
                <a:solidFill>
                  <a:schemeClr val="tx1">
                    <a:lumMod val="75000"/>
                    <a:lumOff val="25000"/>
                  </a:schemeClr>
                </a:solidFill>
                <a:latin typeface="+mj-lt"/>
              </a:rPr>
              <a:t>Lorem ipsum dolor sit amet, ta consecte tur adipiscingae elit. Proin eleifend auctora.</a:t>
            </a:r>
            <a:endParaRPr lang="en-US" sz="1100" dirty="0">
              <a:solidFill>
                <a:schemeClr val="tx1">
                  <a:lumMod val="75000"/>
                  <a:lumOff val="25000"/>
                </a:schemeClr>
              </a:solidFill>
              <a:latin typeface="+mj-lt"/>
            </a:endParaRPr>
          </a:p>
        </p:txBody>
      </p:sp>
      <p:sp>
        <p:nvSpPr>
          <p:cNvPr id="36" name="TextBox 35"/>
          <p:cNvSpPr txBox="1"/>
          <p:nvPr/>
        </p:nvSpPr>
        <p:spPr>
          <a:xfrm>
            <a:off x="7433526" y="1638236"/>
            <a:ext cx="930063"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5</a:t>
            </a:r>
          </a:p>
        </p:txBody>
      </p:sp>
      <p:sp>
        <p:nvSpPr>
          <p:cNvPr id="37" name="TextBox 36"/>
          <p:cNvSpPr txBox="1"/>
          <p:nvPr/>
        </p:nvSpPr>
        <p:spPr>
          <a:xfrm>
            <a:off x="5833845" y="5466367"/>
            <a:ext cx="2316493" cy="600164"/>
          </a:xfrm>
          <a:prstGeom prst="rect">
            <a:avLst/>
          </a:prstGeom>
          <a:noFill/>
        </p:spPr>
        <p:txBody>
          <a:bodyPr wrap="square" rtlCol="0">
            <a:spAutoFit/>
          </a:bodyPr>
          <a:lstStyle/>
          <a:p>
            <a:r>
              <a:rPr lang="en-US" sz="1100">
                <a:solidFill>
                  <a:schemeClr val="tx1">
                    <a:lumMod val="75000"/>
                    <a:lumOff val="25000"/>
                  </a:schemeClr>
                </a:solidFill>
                <a:latin typeface="+mj-lt"/>
              </a:rPr>
              <a:t>Lorem ipsum dolor sit amet, ta consecte tur adipiscingae elit. Proin eleifend auctora.</a:t>
            </a:r>
            <a:endParaRPr lang="en-US" sz="1100" dirty="0">
              <a:solidFill>
                <a:schemeClr val="tx1">
                  <a:lumMod val="75000"/>
                  <a:lumOff val="25000"/>
                </a:schemeClr>
              </a:solidFill>
              <a:latin typeface="+mj-lt"/>
            </a:endParaRPr>
          </a:p>
        </p:txBody>
      </p:sp>
      <p:sp>
        <p:nvSpPr>
          <p:cNvPr id="38" name="TextBox 37"/>
          <p:cNvSpPr txBox="1"/>
          <p:nvPr/>
        </p:nvSpPr>
        <p:spPr>
          <a:xfrm>
            <a:off x="5833649" y="5175397"/>
            <a:ext cx="926857"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4</a:t>
            </a:r>
          </a:p>
        </p:txBody>
      </p:sp>
      <p:sp>
        <p:nvSpPr>
          <p:cNvPr id="39" name="TextBox 38"/>
          <p:cNvSpPr txBox="1"/>
          <p:nvPr/>
        </p:nvSpPr>
        <p:spPr>
          <a:xfrm>
            <a:off x="9102645" y="5466367"/>
            <a:ext cx="2316493" cy="600164"/>
          </a:xfrm>
          <a:prstGeom prst="rect">
            <a:avLst/>
          </a:prstGeom>
          <a:noFill/>
        </p:spPr>
        <p:txBody>
          <a:bodyPr wrap="square" rtlCol="0">
            <a:spAutoFit/>
          </a:bodyPr>
          <a:lstStyle/>
          <a:p>
            <a:r>
              <a:rPr lang="en-US" sz="1100">
                <a:solidFill>
                  <a:schemeClr val="tx1">
                    <a:lumMod val="75000"/>
                    <a:lumOff val="25000"/>
                  </a:schemeClr>
                </a:solidFill>
                <a:latin typeface="+mj-lt"/>
              </a:rPr>
              <a:t>Lorem ipsum dolor sit amet, ta consecte tur adipiscingae elit. Proin eleifend auctora.</a:t>
            </a:r>
            <a:endParaRPr lang="en-US" sz="1100" dirty="0">
              <a:solidFill>
                <a:schemeClr val="tx1">
                  <a:lumMod val="75000"/>
                  <a:lumOff val="25000"/>
                </a:schemeClr>
              </a:solidFill>
              <a:latin typeface="+mj-lt"/>
            </a:endParaRPr>
          </a:p>
        </p:txBody>
      </p:sp>
      <p:sp>
        <p:nvSpPr>
          <p:cNvPr id="40" name="TextBox 39"/>
          <p:cNvSpPr txBox="1"/>
          <p:nvPr/>
        </p:nvSpPr>
        <p:spPr>
          <a:xfrm>
            <a:off x="9102449" y="5175397"/>
            <a:ext cx="930063" cy="276999"/>
          </a:xfrm>
          <a:prstGeom prst="rect">
            <a:avLst/>
          </a:prstGeom>
          <a:noFill/>
        </p:spPr>
        <p:txBody>
          <a:bodyPr wrap="none" rtlCol="0">
            <a:spAutoFit/>
          </a:bodyPr>
          <a:lstStyle/>
          <a:p>
            <a:r>
              <a:rPr lang="en-US" sz="1200" dirty="0">
                <a:solidFill>
                  <a:schemeClr val="tx1">
                    <a:lumMod val="75000"/>
                    <a:lumOff val="25000"/>
                  </a:schemeClr>
                </a:solidFill>
                <a:latin typeface="Montserrat" panose="00000500000000000000" pitchFamily="2" charset="0"/>
              </a:rPr>
              <a:t>OPTION 6</a:t>
            </a:r>
          </a:p>
        </p:txBody>
      </p:sp>
      <p:sp>
        <p:nvSpPr>
          <p:cNvPr id="41" name="TextBox 40"/>
          <p:cNvSpPr txBox="1"/>
          <p:nvPr/>
        </p:nvSpPr>
        <p:spPr>
          <a:xfrm>
            <a:off x="1666574" y="3723386"/>
            <a:ext cx="723275" cy="369332"/>
          </a:xfrm>
          <a:prstGeom prst="rect">
            <a:avLst/>
          </a:prstGeom>
          <a:noFill/>
        </p:spPr>
        <p:txBody>
          <a:bodyPr wrap="none" rtlCol="0">
            <a:spAutoFit/>
          </a:bodyPr>
          <a:lstStyle/>
          <a:p>
            <a:pPr algn="ctr"/>
            <a:r>
              <a:rPr lang="en-US">
                <a:solidFill>
                  <a:schemeClr val="bg1"/>
                </a:solidFill>
                <a:latin typeface="+mj-lt"/>
              </a:rPr>
              <a:t>2010</a:t>
            </a:r>
          </a:p>
        </p:txBody>
      </p:sp>
      <p:sp>
        <p:nvSpPr>
          <p:cNvPr id="42" name="TextBox 41"/>
          <p:cNvSpPr txBox="1"/>
          <p:nvPr/>
        </p:nvSpPr>
        <p:spPr>
          <a:xfrm>
            <a:off x="3268976" y="3723386"/>
            <a:ext cx="723275" cy="369332"/>
          </a:xfrm>
          <a:prstGeom prst="rect">
            <a:avLst/>
          </a:prstGeom>
          <a:noFill/>
        </p:spPr>
        <p:txBody>
          <a:bodyPr wrap="none" rtlCol="0">
            <a:spAutoFit/>
          </a:bodyPr>
          <a:lstStyle/>
          <a:p>
            <a:pPr algn="ctr"/>
            <a:r>
              <a:rPr lang="en-US">
                <a:solidFill>
                  <a:schemeClr val="bg1"/>
                </a:solidFill>
                <a:latin typeface="+mj-lt"/>
              </a:rPr>
              <a:t>2011</a:t>
            </a:r>
          </a:p>
        </p:txBody>
      </p:sp>
      <p:sp>
        <p:nvSpPr>
          <p:cNvPr id="43" name="TextBox 42"/>
          <p:cNvSpPr txBox="1"/>
          <p:nvPr/>
        </p:nvSpPr>
        <p:spPr>
          <a:xfrm>
            <a:off x="4925707" y="3723386"/>
            <a:ext cx="723275" cy="369332"/>
          </a:xfrm>
          <a:prstGeom prst="rect">
            <a:avLst/>
          </a:prstGeom>
          <a:noFill/>
        </p:spPr>
        <p:txBody>
          <a:bodyPr wrap="none" rtlCol="0">
            <a:spAutoFit/>
          </a:bodyPr>
          <a:lstStyle/>
          <a:p>
            <a:pPr algn="ctr"/>
            <a:r>
              <a:rPr lang="en-US">
                <a:solidFill>
                  <a:schemeClr val="bg1"/>
                </a:solidFill>
                <a:latin typeface="+mj-lt"/>
              </a:rPr>
              <a:t>2012</a:t>
            </a:r>
          </a:p>
        </p:txBody>
      </p:sp>
      <p:sp>
        <p:nvSpPr>
          <p:cNvPr id="44" name="TextBox 43"/>
          <p:cNvSpPr txBox="1"/>
          <p:nvPr/>
        </p:nvSpPr>
        <p:spPr>
          <a:xfrm>
            <a:off x="6597482" y="3723386"/>
            <a:ext cx="723275" cy="369332"/>
          </a:xfrm>
          <a:prstGeom prst="rect">
            <a:avLst/>
          </a:prstGeom>
          <a:noFill/>
        </p:spPr>
        <p:txBody>
          <a:bodyPr wrap="none" rtlCol="0">
            <a:spAutoFit/>
          </a:bodyPr>
          <a:lstStyle/>
          <a:p>
            <a:pPr algn="ctr"/>
            <a:r>
              <a:rPr lang="en-US">
                <a:solidFill>
                  <a:schemeClr val="bg1"/>
                </a:solidFill>
                <a:latin typeface="+mj-lt"/>
              </a:rPr>
              <a:t>2013</a:t>
            </a:r>
          </a:p>
        </p:txBody>
      </p:sp>
      <p:sp>
        <p:nvSpPr>
          <p:cNvPr id="45" name="TextBox 44"/>
          <p:cNvSpPr txBox="1"/>
          <p:nvPr/>
        </p:nvSpPr>
        <p:spPr>
          <a:xfrm>
            <a:off x="8228325" y="3723386"/>
            <a:ext cx="723275" cy="369332"/>
          </a:xfrm>
          <a:prstGeom prst="rect">
            <a:avLst/>
          </a:prstGeom>
          <a:noFill/>
        </p:spPr>
        <p:txBody>
          <a:bodyPr wrap="none" rtlCol="0">
            <a:spAutoFit/>
          </a:bodyPr>
          <a:lstStyle/>
          <a:p>
            <a:pPr algn="ctr"/>
            <a:r>
              <a:rPr lang="en-US">
                <a:solidFill>
                  <a:schemeClr val="bg1"/>
                </a:solidFill>
                <a:latin typeface="+mj-lt"/>
              </a:rPr>
              <a:t>2014</a:t>
            </a:r>
          </a:p>
        </p:txBody>
      </p:sp>
      <p:sp>
        <p:nvSpPr>
          <p:cNvPr id="46" name="TextBox 45"/>
          <p:cNvSpPr txBox="1"/>
          <p:nvPr/>
        </p:nvSpPr>
        <p:spPr>
          <a:xfrm>
            <a:off x="9874562" y="3723386"/>
            <a:ext cx="723275" cy="369332"/>
          </a:xfrm>
          <a:prstGeom prst="rect">
            <a:avLst/>
          </a:prstGeom>
          <a:noFill/>
        </p:spPr>
        <p:txBody>
          <a:bodyPr wrap="none" rtlCol="0">
            <a:spAutoFit/>
          </a:bodyPr>
          <a:lstStyle/>
          <a:p>
            <a:pPr algn="ctr"/>
            <a:r>
              <a:rPr lang="en-US">
                <a:solidFill>
                  <a:schemeClr val="bg1"/>
                </a:solidFill>
                <a:latin typeface="+mj-lt"/>
              </a:rPr>
              <a:t>2015</a:t>
            </a:r>
          </a:p>
        </p:txBody>
      </p:sp>
      <p:sp>
        <p:nvSpPr>
          <p:cNvPr id="2" name="Slide Number Placeholder 1"/>
          <p:cNvSpPr>
            <a:spLocks noGrp="1"/>
          </p:cNvSpPr>
          <p:nvPr>
            <p:ph type="sldNum" sz="quarter" idx="12"/>
          </p:nvPr>
        </p:nvSpPr>
        <p:spPr/>
        <p:txBody>
          <a:bodyPr/>
          <a:lstStyle/>
          <a:p>
            <a:fld id="{DE156FE7-4276-48C2-8D29-2DA35A3BAE26}" type="slidenum">
              <a:rPr lang="en-US" smtClean="0"/>
              <a:t>16</a:t>
            </a:fld>
            <a:endParaRPr lang="en-US"/>
          </a:p>
        </p:txBody>
      </p:sp>
    </p:spTree>
    <p:extLst>
      <p:ext uri="{BB962C8B-B14F-4D97-AF65-F5344CB8AC3E}">
        <p14:creationId xmlns:p14="http://schemas.microsoft.com/office/powerpoint/2010/main" val="2227360705"/>
      </p:ext>
    </p:extLst>
  </p:cSld>
  <p:clrMapOvr>
    <a:masterClrMapping/>
  </p:clrMapOvr>
  <p:transition spd="med">
    <p:pull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6" y="391662"/>
            <a:ext cx="8454501"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MARKETING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PLAN INFOGRAPHIC </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pSp>
        <p:nvGrpSpPr>
          <p:cNvPr id="2" name="Group 1"/>
          <p:cNvGrpSpPr/>
          <p:nvPr/>
        </p:nvGrpSpPr>
        <p:grpSpPr>
          <a:xfrm>
            <a:off x="948553" y="1918022"/>
            <a:ext cx="5578222" cy="3369272"/>
            <a:chOff x="6239294" y="2566880"/>
            <a:chExt cx="1590877" cy="960897"/>
          </a:xfrm>
        </p:grpSpPr>
        <p:sp>
          <p:nvSpPr>
            <p:cNvPr id="46" name="Freeform 572"/>
            <p:cNvSpPr>
              <a:spLocks/>
            </p:cNvSpPr>
            <p:nvPr/>
          </p:nvSpPr>
          <p:spPr bwMode="auto">
            <a:xfrm>
              <a:off x="6581204" y="3385022"/>
              <a:ext cx="754034" cy="137375"/>
            </a:xfrm>
            <a:custGeom>
              <a:avLst/>
              <a:gdLst>
                <a:gd name="T0" fmla="*/ 985 w 985"/>
                <a:gd name="T1" fmla="*/ 89 h 179"/>
                <a:gd name="T2" fmla="*/ 983 w 985"/>
                <a:gd name="T3" fmla="*/ 98 h 179"/>
                <a:gd name="T4" fmla="*/ 976 w 985"/>
                <a:gd name="T5" fmla="*/ 107 h 179"/>
                <a:gd name="T6" fmla="*/ 964 w 985"/>
                <a:gd name="T7" fmla="*/ 116 h 179"/>
                <a:gd name="T8" fmla="*/ 926 w 985"/>
                <a:gd name="T9" fmla="*/ 131 h 179"/>
                <a:gd name="T10" fmla="*/ 873 w 985"/>
                <a:gd name="T11" fmla="*/ 146 h 179"/>
                <a:gd name="T12" fmla="*/ 806 w 985"/>
                <a:gd name="T13" fmla="*/ 158 h 179"/>
                <a:gd name="T14" fmla="*/ 728 w 985"/>
                <a:gd name="T15" fmla="*/ 168 h 179"/>
                <a:gd name="T16" fmla="*/ 640 w 985"/>
                <a:gd name="T17" fmla="*/ 174 h 179"/>
                <a:gd name="T18" fmla="*/ 543 w 985"/>
                <a:gd name="T19" fmla="*/ 177 h 179"/>
                <a:gd name="T20" fmla="*/ 493 w 985"/>
                <a:gd name="T21" fmla="*/ 179 h 179"/>
                <a:gd name="T22" fmla="*/ 393 w 985"/>
                <a:gd name="T23" fmla="*/ 176 h 179"/>
                <a:gd name="T24" fmla="*/ 301 w 985"/>
                <a:gd name="T25" fmla="*/ 171 h 179"/>
                <a:gd name="T26" fmla="*/ 218 w 985"/>
                <a:gd name="T27" fmla="*/ 163 h 179"/>
                <a:gd name="T28" fmla="*/ 144 w 985"/>
                <a:gd name="T29" fmla="*/ 152 h 179"/>
                <a:gd name="T30" fmla="*/ 83 w 985"/>
                <a:gd name="T31" fmla="*/ 139 h 179"/>
                <a:gd name="T32" fmla="*/ 39 w 985"/>
                <a:gd name="T33" fmla="*/ 124 h 179"/>
                <a:gd name="T34" fmla="*/ 16 w 985"/>
                <a:gd name="T35" fmla="*/ 111 h 179"/>
                <a:gd name="T36" fmla="*/ 6 w 985"/>
                <a:gd name="T37" fmla="*/ 102 h 179"/>
                <a:gd name="T38" fmla="*/ 0 w 985"/>
                <a:gd name="T39" fmla="*/ 94 h 179"/>
                <a:gd name="T40" fmla="*/ 0 w 985"/>
                <a:gd name="T41" fmla="*/ 89 h 179"/>
                <a:gd name="T42" fmla="*/ 2 w 985"/>
                <a:gd name="T43" fmla="*/ 79 h 179"/>
                <a:gd name="T44" fmla="*/ 10 w 985"/>
                <a:gd name="T45" fmla="*/ 71 h 179"/>
                <a:gd name="T46" fmla="*/ 22 w 985"/>
                <a:gd name="T47" fmla="*/ 63 h 179"/>
                <a:gd name="T48" fmla="*/ 59 w 985"/>
                <a:gd name="T49" fmla="*/ 47 h 179"/>
                <a:gd name="T50" fmla="*/ 112 w 985"/>
                <a:gd name="T51" fmla="*/ 32 h 179"/>
                <a:gd name="T52" fmla="*/ 179 w 985"/>
                <a:gd name="T53" fmla="*/ 20 h 179"/>
                <a:gd name="T54" fmla="*/ 257 w 985"/>
                <a:gd name="T55" fmla="*/ 11 h 179"/>
                <a:gd name="T56" fmla="*/ 346 w 985"/>
                <a:gd name="T57" fmla="*/ 4 h 179"/>
                <a:gd name="T58" fmla="*/ 442 w 985"/>
                <a:gd name="T59" fmla="*/ 1 h 179"/>
                <a:gd name="T60" fmla="*/ 493 w 985"/>
                <a:gd name="T61" fmla="*/ 0 h 179"/>
                <a:gd name="T62" fmla="*/ 592 w 985"/>
                <a:gd name="T63" fmla="*/ 2 h 179"/>
                <a:gd name="T64" fmla="*/ 684 w 985"/>
                <a:gd name="T65" fmla="*/ 7 h 179"/>
                <a:gd name="T66" fmla="*/ 769 w 985"/>
                <a:gd name="T67" fmla="*/ 15 h 179"/>
                <a:gd name="T68" fmla="*/ 841 w 985"/>
                <a:gd name="T69" fmla="*/ 26 h 179"/>
                <a:gd name="T70" fmla="*/ 902 w 985"/>
                <a:gd name="T71" fmla="*/ 40 h 179"/>
                <a:gd name="T72" fmla="*/ 947 w 985"/>
                <a:gd name="T73" fmla="*/ 54 h 179"/>
                <a:gd name="T74" fmla="*/ 970 w 985"/>
                <a:gd name="T75" fmla="*/ 67 h 179"/>
                <a:gd name="T76" fmla="*/ 981 w 985"/>
                <a:gd name="T77" fmla="*/ 76 h 179"/>
                <a:gd name="T78" fmla="*/ 985 w 985"/>
                <a:gd name="T79" fmla="*/ 8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5" h="179">
                  <a:moveTo>
                    <a:pt x="985" y="89"/>
                  </a:moveTo>
                  <a:lnTo>
                    <a:pt x="985" y="89"/>
                  </a:lnTo>
                  <a:lnTo>
                    <a:pt x="985" y="94"/>
                  </a:lnTo>
                  <a:lnTo>
                    <a:pt x="983" y="98"/>
                  </a:lnTo>
                  <a:lnTo>
                    <a:pt x="981" y="102"/>
                  </a:lnTo>
                  <a:lnTo>
                    <a:pt x="976" y="107"/>
                  </a:lnTo>
                  <a:lnTo>
                    <a:pt x="970" y="111"/>
                  </a:lnTo>
                  <a:lnTo>
                    <a:pt x="964" y="116"/>
                  </a:lnTo>
                  <a:lnTo>
                    <a:pt x="947" y="124"/>
                  </a:lnTo>
                  <a:lnTo>
                    <a:pt x="926" y="131"/>
                  </a:lnTo>
                  <a:lnTo>
                    <a:pt x="902" y="139"/>
                  </a:lnTo>
                  <a:lnTo>
                    <a:pt x="873" y="146"/>
                  </a:lnTo>
                  <a:lnTo>
                    <a:pt x="841" y="152"/>
                  </a:lnTo>
                  <a:lnTo>
                    <a:pt x="806" y="158"/>
                  </a:lnTo>
                  <a:lnTo>
                    <a:pt x="769" y="163"/>
                  </a:lnTo>
                  <a:lnTo>
                    <a:pt x="728" y="168"/>
                  </a:lnTo>
                  <a:lnTo>
                    <a:pt x="684" y="171"/>
                  </a:lnTo>
                  <a:lnTo>
                    <a:pt x="640" y="174"/>
                  </a:lnTo>
                  <a:lnTo>
                    <a:pt x="592" y="176"/>
                  </a:lnTo>
                  <a:lnTo>
                    <a:pt x="543" y="177"/>
                  </a:lnTo>
                  <a:lnTo>
                    <a:pt x="493" y="179"/>
                  </a:lnTo>
                  <a:lnTo>
                    <a:pt x="493" y="179"/>
                  </a:lnTo>
                  <a:lnTo>
                    <a:pt x="442" y="177"/>
                  </a:lnTo>
                  <a:lnTo>
                    <a:pt x="393" y="176"/>
                  </a:lnTo>
                  <a:lnTo>
                    <a:pt x="346" y="174"/>
                  </a:lnTo>
                  <a:lnTo>
                    <a:pt x="301" y="171"/>
                  </a:lnTo>
                  <a:lnTo>
                    <a:pt x="257" y="168"/>
                  </a:lnTo>
                  <a:lnTo>
                    <a:pt x="218" y="163"/>
                  </a:lnTo>
                  <a:lnTo>
                    <a:pt x="179" y="158"/>
                  </a:lnTo>
                  <a:lnTo>
                    <a:pt x="144" y="152"/>
                  </a:lnTo>
                  <a:lnTo>
                    <a:pt x="112" y="146"/>
                  </a:lnTo>
                  <a:lnTo>
                    <a:pt x="83" y="139"/>
                  </a:lnTo>
                  <a:lnTo>
                    <a:pt x="59" y="131"/>
                  </a:lnTo>
                  <a:lnTo>
                    <a:pt x="39" y="124"/>
                  </a:lnTo>
                  <a:lnTo>
                    <a:pt x="22" y="116"/>
                  </a:lnTo>
                  <a:lnTo>
                    <a:pt x="16" y="111"/>
                  </a:lnTo>
                  <a:lnTo>
                    <a:pt x="10" y="107"/>
                  </a:lnTo>
                  <a:lnTo>
                    <a:pt x="6" y="102"/>
                  </a:lnTo>
                  <a:lnTo>
                    <a:pt x="2" y="98"/>
                  </a:lnTo>
                  <a:lnTo>
                    <a:pt x="0" y="94"/>
                  </a:lnTo>
                  <a:lnTo>
                    <a:pt x="0" y="89"/>
                  </a:lnTo>
                  <a:lnTo>
                    <a:pt x="0" y="89"/>
                  </a:lnTo>
                  <a:lnTo>
                    <a:pt x="0" y="84"/>
                  </a:lnTo>
                  <a:lnTo>
                    <a:pt x="2" y="79"/>
                  </a:lnTo>
                  <a:lnTo>
                    <a:pt x="6" y="76"/>
                  </a:lnTo>
                  <a:lnTo>
                    <a:pt x="10" y="71"/>
                  </a:lnTo>
                  <a:lnTo>
                    <a:pt x="16" y="67"/>
                  </a:lnTo>
                  <a:lnTo>
                    <a:pt x="22" y="63"/>
                  </a:lnTo>
                  <a:lnTo>
                    <a:pt x="39" y="54"/>
                  </a:lnTo>
                  <a:lnTo>
                    <a:pt x="59" y="47"/>
                  </a:lnTo>
                  <a:lnTo>
                    <a:pt x="83" y="40"/>
                  </a:lnTo>
                  <a:lnTo>
                    <a:pt x="112" y="32"/>
                  </a:lnTo>
                  <a:lnTo>
                    <a:pt x="144" y="26"/>
                  </a:lnTo>
                  <a:lnTo>
                    <a:pt x="179" y="20"/>
                  </a:lnTo>
                  <a:lnTo>
                    <a:pt x="218" y="15"/>
                  </a:lnTo>
                  <a:lnTo>
                    <a:pt x="257" y="11"/>
                  </a:lnTo>
                  <a:lnTo>
                    <a:pt x="301" y="7"/>
                  </a:lnTo>
                  <a:lnTo>
                    <a:pt x="346" y="4"/>
                  </a:lnTo>
                  <a:lnTo>
                    <a:pt x="393" y="2"/>
                  </a:lnTo>
                  <a:lnTo>
                    <a:pt x="442" y="1"/>
                  </a:lnTo>
                  <a:lnTo>
                    <a:pt x="493" y="0"/>
                  </a:lnTo>
                  <a:lnTo>
                    <a:pt x="493" y="0"/>
                  </a:lnTo>
                  <a:lnTo>
                    <a:pt x="543" y="1"/>
                  </a:lnTo>
                  <a:lnTo>
                    <a:pt x="592" y="2"/>
                  </a:lnTo>
                  <a:lnTo>
                    <a:pt x="640" y="4"/>
                  </a:lnTo>
                  <a:lnTo>
                    <a:pt x="684" y="7"/>
                  </a:lnTo>
                  <a:lnTo>
                    <a:pt x="728" y="11"/>
                  </a:lnTo>
                  <a:lnTo>
                    <a:pt x="769" y="15"/>
                  </a:lnTo>
                  <a:lnTo>
                    <a:pt x="806" y="20"/>
                  </a:lnTo>
                  <a:lnTo>
                    <a:pt x="841" y="26"/>
                  </a:lnTo>
                  <a:lnTo>
                    <a:pt x="873" y="32"/>
                  </a:lnTo>
                  <a:lnTo>
                    <a:pt x="902" y="40"/>
                  </a:lnTo>
                  <a:lnTo>
                    <a:pt x="926" y="47"/>
                  </a:lnTo>
                  <a:lnTo>
                    <a:pt x="947" y="54"/>
                  </a:lnTo>
                  <a:lnTo>
                    <a:pt x="964" y="63"/>
                  </a:lnTo>
                  <a:lnTo>
                    <a:pt x="970" y="67"/>
                  </a:lnTo>
                  <a:lnTo>
                    <a:pt x="976" y="71"/>
                  </a:lnTo>
                  <a:lnTo>
                    <a:pt x="981" y="76"/>
                  </a:lnTo>
                  <a:lnTo>
                    <a:pt x="983" y="79"/>
                  </a:lnTo>
                  <a:lnTo>
                    <a:pt x="985" y="84"/>
                  </a:lnTo>
                  <a:lnTo>
                    <a:pt x="985" y="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 name="Group 46"/>
            <p:cNvGrpSpPr/>
            <p:nvPr/>
          </p:nvGrpSpPr>
          <p:grpSpPr>
            <a:xfrm>
              <a:off x="6498780" y="2566880"/>
              <a:ext cx="1007414" cy="885303"/>
              <a:chOff x="6343534" y="1905000"/>
              <a:chExt cx="1022644" cy="898687"/>
            </a:xfrm>
            <a:effectLst>
              <a:reflection blurRad="6350" stA="52000" endA="300" endPos="35000" dir="5400000" sy="-100000" algn="bl" rotWithShape="0"/>
            </a:effectLst>
          </p:grpSpPr>
          <p:sp>
            <p:nvSpPr>
              <p:cNvPr id="48" name="Freeform 583"/>
              <p:cNvSpPr>
                <a:spLocks/>
              </p:cNvSpPr>
              <p:nvPr/>
            </p:nvSpPr>
            <p:spPr bwMode="auto">
              <a:xfrm>
                <a:off x="7164747" y="2341949"/>
                <a:ext cx="201431" cy="102265"/>
              </a:xfrm>
              <a:custGeom>
                <a:avLst/>
                <a:gdLst>
                  <a:gd name="T0" fmla="*/ 0 w 261"/>
                  <a:gd name="T1" fmla="*/ 97 h 129"/>
                  <a:gd name="T2" fmla="*/ 7 w 261"/>
                  <a:gd name="T3" fmla="*/ 79 h 129"/>
                  <a:gd name="T4" fmla="*/ 26 w 261"/>
                  <a:gd name="T5" fmla="*/ 61 h 129"/>
                  <a:gd name="T6" fmla="*/ 46 w 261"/>
                  <a:gd name="T7" fmla="*/ 48 h 129"/>
                  <a:gd name="T8" fmla="*/ 68 w 261"/>
                  <a:gd name="T9" fmla="*/ 38 h 129"/>
                  <a:gd name="T10" fmla="*/ 92 w 261"/>
                  <a:gd name="T11" fmla="*/ 29 h 129"/>
                  <a:gd name="T12" fmla="*/ 116 w 261"/>
                  <a:gd name="T13" fmla="*/ 24 h 129"/>
                  <a:gd name="T14" fmla="*/ 142 w 261"/>
                  <a:gd name="T15" fmla="*/ 22 h 129"/>
                  <a:gd name="T16" fmla="*/ 157 w 261"/>
                  <a:gd name="T17" fmla="*/ 24 h 129"/>
                  <a:gd name="T18" fmla="*/ 171 w 261"/>
                  <a:gd name="T19" fmla="*/ 28 h 129"/>
                  <a:gd name="T20" fmla="*/ 196 w 261"/>
                  <a:gd name="T21" fmla="*/ 41 h 129"/>
                  <a:gd name="T22" fmla="*/ 208 w 261"/>
                  <a:gd name="T23" fmla="*/ 52 h 129"/>
                  <a:gd name="T24" fmla="*/ 218 w 261"/>
                  <a:gd name="T25" fmla="*/ 68 h 129"/>
                  <a:gd name="T26" fmla="*/ 220 w 261"/>
                  <a:gd name="T27" fmla="*/ 86 h 129"/>
                  <a:gd name="T28" fmla="*/ 217 w 261"/>
                  <a:gd name="T29" fmla="*/ 98 h 129"/>
                  <a:gd name="T30" fmla="*/ 208 w 261"/>
                  <a:gd name="T31" fmla="*/ 111 h 129"/>
                  <a:gd name="T32" fmla="*/ 195 w 261"/>
                  <a:gd name="T33" fmla="*/ 122 h 129"/>
                  <a:gd name="T34" fmla="*/ 177 w 261"/>
                  <a:gd name="T35" fmla="*/ 128 h 129"/>
                  <a:gd name="T36" fmla="*/ 156 w 261"/>
                  <a:gd name="T37" fmla="*/ 129 h 129"/>
                  <a:gd name="T38" fmla="*/ 137 w 261"/>
                  <a:gd name="T39" fmla="*/ 120 h 129"/>
                  <a:gd name="T40" fmla="*/ 125 w 261"/>
                  <a:gd name="T41" fmla="*/ 104 h 129"/>
                  <a:gd name="T42" fmla="*/ 119 w 261"/>
                  <a:gd name="T43" fmla="*/ 88 h 129"/>
                  <a:gd name="T44" fmla="*/ 117 w 261"/>
                  <a:gd name="T45" fmla="*/ 64 h 129"/>
                  <a:gd name="T46" fmla="*/ 122 w 261"/>
                  <a:gd name="T47" fmla="*/ 48 h 129"/>
                  <a:gd name="T48" fmla="*/ 136 w 261"/>
                  <a:gd name="T49" fmla="*/ 28 h 129"/>
                  <a:gd name="T50" fmla="*/ 142 w 261"/>
                  <a:gd name="T51" fmla="*/ 22 h 129"/>
                  <a:gd name="T52" fmla="*/ 166 w 261"/>
                  <a:gd name="T53" fmla="*/ 7 h 129"/>
                  <a:gd name="T54" fmla="*/ 181 w 261"/>
                  <a:gd name="T55" fmla="*/ 2 h 129"/>
                  <a:gd name="T56" fmla="*/ 215 w 261"/>
                  <a:gd name="T57" fmla="*/ 0 h 129"/>
                  <a:gd name="T58" fmla="*/ 231 w 261"/>
                  <a:gd name="T59" fmla="*/ 2 h 129"/>
                  <a:gd name="T60" fmla="*/ 254 w 261"/>
                  <a:gd name="T61" fmla="*/ 11 h 129"/>
                  <a:gd name="T62" fmla="*/ 261 w 261"/>
                  <a:gd name="T63" fmla="*/ 15 h 129"/>
                  <a:gd name="T64" fmla="*/ 260 w 261"/>
                  <a:gd name="T65" fmla="*/ 17 h 129"/>
                  <a:gd name="T66" fmla="*/ 231 w 261"/>
                  <a:gd name="T67" fmla="*/ 11 h 129"/>
                  <a:gd name="T68" fmla="*/ 201 w 261"/>
                  <a:gd name="T69" fmla="*/ 13 h 129"/>
                  <a:gd name="T70" fmla="*/ 173 w 261"/>
                  <a:gd name="T71" fmla="*/ 23 h 129"/>
                  <a:gd name="T72" fmla="*/ 155 w 261"/>
                  <a:gd name="T73" fmla="*/ 35 h 129"/>
                  <a:gd name="T74" fmla="*/ 150 w 261"/>
                  <a:gd name="T75" fmla="*/ 41 h 129"/>
                  <a:gd name="T76" fmla="*/ 144 w 261"/>
                  <a:gd name="T77" fmla="*/ 50 h 129"/>
                  <a:gd name="T78" fmla="*/ 140 w 261"/>
                  <a:gd name="T79" fmla="*/ 61 h 129"/>
                  <a:gd name="T80" fmla="*/ 140 w 261"/>
                  <a:gd name="T81" fmla="*/ 82 h 129"/>
                  <a:gd name="T82" fmla="*/ 148 w 261"/>
                  <a:gd name="T83" fmla="*/ 97 h 129"/>
                  <a:gd name="T84" fmla="*/ 156 w 261"/>
                  <a:gd name="T85" fmla="*/ 104 h 129"/>
                  <a:gd name="T86" fmla="*/ 172 w 261"/>
                  <a:gd name="T87" fmla="*/ 105 h 129"/>
                  <a:gd name="T88" fmla="*/ 181 w 261"/>
                  <a:gd name="T89" fmla="*/ 102 h 129"/>
                  <a:gd name="T90" fmla="*/ 191 w 261"/>
                  <a:gd name="T91" fmla="*/ 94 h 129"/>
                  <a:gd name="T92" fmla="*/ 196 w 261"/>
                  <a:gd name="T93" fmla="*/ 86 h 129"/>
                  <a:gd name="T94" fmla="*/ 196 w 261"/>
                  <a:gd name="T95" fmla="*/ 76 h 129"/>
                  <a:gd name="T96" fmla="*/ 190 w 261"/>
                  <a:gd name="T97" fmla="*/ 67 h 129"/>
                  <a:gd name="T98" fmla="*/ 173 w 261"/>
                  <a:gd name="T99" fmla="*/ 52 h 129"/>
                  <a:gd name="T100" fmla="*/ 151 w 261"/>
                  <a:gd name="T101" fmla="*/ 44 h 129"/>
                  <a:gd name="T102" fmla="*/ 140 w 261"/>
                  <a:gd name="T103" fmla="*/ 42 h 129"/>
                  <a:gd name="T104" fmla="*/ 117 w 261"/>
                  <a:gd name="T105" fmla="*/ 42 h 129"/>
                  <a:gd name="T106" fmla="*/ 73 w 261"/>
                  <a:gd name="T107" fmla="*/ 51 h 129"/>
                  <a:gd name="T108" fmla="*/ 30 w 261"/>
                  <a:gd name="T109" fmla="*/ 69 h 129"/>
                  <a:gd name="T110" fmla="*/ 12 w 261"/>
                  <a:gd name="T111" fmla="*/ 83 h 129"/>
                  <a:gd name="T112" fmla="*/ 5 w 261"/>
                  <a:gd name="T113" fmla="*/ 92 h 129"/>
                  <a:gd name="T114" fmla="*/ 3 w 261"/>
                  <a:gd name="T115" fmla="*/ 103 h 129"/>
                  <a:gd name="T116" fmla="*/ 0 w 261"/>
                  <a:gd name="T117"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 h="129">
                    <a:moveTo>
                      <a:pt x="0" y="103"/>
                    </a:moveTo>
                    <a:lnTo>
                      <a:pt x="0" y="103"/>
                    </a:lnTo>
                    <a:lnTo>
                      <a:pt x="0" y="97"/>
                    </a:lnTo>
                    <a:lnTo>
                      <a:pt x="1" y="91"/>
                    </a:lnTo>
                    <a:lnTo>
                      <a:pt x="4" y="85"/>
                    </a:lnTo>
                    <a:lnTo>
                      <a:pt x="7" y="79"/>
                    </a:lnTo>
                    <a:lnTo>
                      <a:pt x="7" y="79"/>
                    </a:lnTo>
                    <a:lnTo>
                      <a:pt x="16" y="69"/>
                    </a:lnTo>
                    <a:lnTo>
                      <a:pt x="26" y="61"/>
                    </a:lnTo>
                    <a:lnTo>
                      <a:pt x="26" y="61"/>
                    </a:lnTo>
                    <a:lnTo>
                      <a:pt x="35" y="54"/>
                    </a:lnTo>
                    <a:lnTo>
                      <a:pt x="46" y="48"/>
                    </a:lnTo>
                    <a:lnTo>
                      <a:pt x="46" y="48"/>
                    </a:lnTo>
                    <a:lnTo>
                      <a:pt x="57" y="42"/>
                    </a:lnTo>
                    <a:lnTo>
                      <a:pt x="68" y="38"/>
                    </a:lnTo>
                    <a:lnTo>
                      <a:pt x="68" y="38"/>
                    </a:lnTo>
                    <a:lnTo>
                      <a:pt x="92" y="29"/>
                    </a:lnTo>
                    <a:lnTo>
                      <a:pt x="92" y="29"/>
                    </a:lnTo>
                    <a:lnTo>
                      <a:pt x="104" y="27"/>
                    </a:lnTo>
                    <a:lnTo>
                      <a:pt x="116" y="24"/>
                    </a:lnTo>
                    <a:lnTo>
                      <a:pt x="116" y="24"/>
                    </a:lnTo>
                    <a:lnTo>
                      <a:pt x="128" y="23"/>
                    </a:lnTo>
                    <a:lnTo>
                      <a:pt x="142" y="22"/>
                    </a:lnTo>
                    <a:lnTo>
                      <a:pt x="142" y="22"/>
                    </a:lnTo>
                    <a:lnTo>
                      <a:pt x="149" y="23"/>
                    </a:lnTo>
                    <a:lnTo>
                      <a:pt x="157" y="24"/>
                    </a:lnTo>
                    <a:lnTo>
                      <a:pt x="157" y="24"/>
                    </a:lnTo>
                    <a:lnTo>
                      <a:pt x="163" y="25"/>
                    </a:lnTo>
                    <a:lnTo>
                      <a:pt x="163" y="25"/>
                    </a:lnTo>
                    <a:lnTo>
                      <a:pt x="171" y="28"/>
                    </a:lnTo>
                    <a:lnTo>
                      <a:pt x="171" y="28"/>
                    </a:lnTo>
                    <a:lnTo>
                      <a:pt x="184" y="34"/>
                    </a:lnTo>
                    <a:lnTo>
                      <a:pt x="196" y="41"/>
                    </a:lnTo>
                    <a:lnTo>
                      <a:pt x="196" y="41"/>
                    </a:lnTo>
                    <a:lnTo>
                      <a:pt x="202" y="46"/>
                    </a:lnTo>
                    <a:lnTo>
                      <a:pt x="208" y="52"/>
                    </a:lnTo>
                    <a:lnTo>
                      <a:pt x="213" y="59"/>
                    </a:lnTo>
                    <a:lnTo>
                      <a:pt x="218" y="68"/>
                    </a:lnTo>
                    <a:lnTo>
                      <a:pt x="218" y="68"/>
                    </a:lnTo>
                    <a:lnTo>
                      <a:pt x="219" y="74"/>
                    </a:lnTo>
                    <a:lnTo>
                      <a:pt x="220" y="80"/>
                    </a:lnTo>
                    <a:lnTo>
                      <a:pt x="220" y="86"/>
                    </a:lnTo>
                    <a:lnTo>
                      <a:pt x="219" y="92"/>
                    </a:lnTo>
                    <a:lnTo>
                      <a:pt x="219" y="92"/>
                    </a:lnTo>
                    <a:lnTo>
                      <a:pt x="217" y="98"/>
                    </a:lnTo>
                    <a:lnTo>
                      <a:pt x="214" y="103"/>
                    </a:lnTo>
                    <a:lnTo>
                      <a:pt x="208" y="111"/>
                    </a:lnTo>
                    <a:lnTo>
                      <a:pt x="208" y="111"/>
                    </a:lnTo>
                    <a:lnTo>
                      <a:pt x="201" y="117"/>
                    </a:lnTo>
                    <a:lnTo>
                      <a:pt x="195" y="122"/>
                    </a:lnTo>
                    <a:lnTo>
                      <a:pt x="195" y="122"/>
                    </a:lnTo>
                    <a:lnTo>
                      <a:pt x="186" y="126"/>
                    </a:lnTo>
                    <a:lnTo>
                      <a:pt x="177" y="128"/>
                    </a:lnTo>
                    <a:lnTo>
                      <a:pt x="177" y="128"/>
                    </a:lnTo>
                    <a:lnTo>
                      <a:pt x="167" y="129"/>
                    </a:lnTo>
                    <a:lnTo>
                      <a:pt x="156" y="129"/>
                    </a:lnTo>
                    <a:lnTo>
                      <a:pt x="156" y="129"/>
                    </a:lnTo>
                    <a:lnTo>
                      <a:pt x="151" y="127"/>
                    </a:lnTo>
                    <a:lnTo>
                      <a:pt x="145" y="125"/>
                    </a:lnTo>
                    <a:lnTo>
                      <a:pt x="137" y="120"/>
                    </a:lnTo>
                    <a:lnTo>
                      <a:pt x="137" y="120"/>
                    </a:lnTo>
                    <a:lnTo>
                      <a:pt x="129" y="113"/>
                    </a:lnTo>
                    <a:lnTo>
                      <a:pt x="125" y="104"/>
                    </a:lnTo>
                    <a:lnTo>
                      <a:pt x="121" y="97"/>
                    </a:lnTo>
                    <a:lnTo>
                      <a:pt x="119" y="88"/>
                    </a:lnTo>
                    <a:lnTo>
                      <a:pt x="119" y="88"/>
                    </a:lnTo>
                    <a:lnTo>
                      <a:pt x="117" y="80"/>
                    </a:lnTo>
                    <a:lnTo>
                      <a:pt x="117" y="73"/>
                    </a:lnTo>
                    <a:lnTo>
                      <a:pt x="117" y="64"/>
                    </a:lnTo>
                    <a:lnTo>
                      <a:pt x="120" y="56"/>
                    </a:lnTo>
                    <a:lnTo>
                      <a:pt x="120" y="56"/>
                    </a:lnTo>
                    <a:lnTo>
                      <a:pt x="122" y="48"/>
                    </a:lnTo>
                    <a:lnTo>
                      <a:pt x="126" y="41"/>
                    </a:lnTo>
                    <a:lnTo>
                      <a:pt x="131" y="34"/>
                    </a:lnTo>
                    <a:lnTo>
                      <a:pt x="136" y="28"/>
                    </a:lnTo>
                    <a:lnTo>
                      <a:pt x="136" y="29"/>
                    </a:lnTo>
                    <a:lnTo>
                      <a:pt x="136" y="29"/>
                    </a:lnTo>
                    <a:lnTo>
                      <a:pt x="142" y="22"/>
                    </a:lnTo>
                    <a:lnTo>
                      <a:pt x="149" y="16"/>
                    </a:lnTo>
                    <a:lnTo>
                      <a:pt x="157" y="12"/>
                    </a:lnTo>
                    <a:lnTo>
                      <a:pt x="166" y="7"/>
                    </a:lnTo>
                    <a:lnTo>
                      <a:pt x="166" y="7"/>
                    </a:lnTo>
                    <a:lnTo>
                      <a:pt x="181" y="2"/>
                    </a:lnTo>
                    <a:lnTo>
                      <a:pt x="181" y="2"/>
                    </a:lnTo>
                    <a:lnTo>
                      <a:pt x="198" y="0"/>
                    </a:lnTo>
                    <a:lnTo>
                      <a:pt x="198" y="0"/>
                    </a:lnTo>
                    <a:lnTo>
                      <a:pt x="215" y="0"/>
                    </a:lnTo>
                    <a:lnTo>
                      <a:pt x="215" y="0"/>
                    </a:lnTo>
                    <a:lnTo>
                      <a:pt x="223" y="1"/>
                    </a:lnTo>
                    <a:lnTo>
                      <a:pt x="231" y="2"/>
                    </a:lnTo>
                    <a:lnTo>
                      <a:pt x="231" y="2"/>
                    </a:lnTo>
                    <a:lnTo>
                      <a:pt x="247" y="7"/>
                    </a:lnTo>
                    <a:lnTo>
                      <a:pt x="254" y="11"/>
                    </a:lnTo>
                    <a:lnTo>
                      <a:pt x="260" y="15"/>
                    </a:lnTo>
                    <a:lnTo>
                      <a:pt x="261" y="15"/>
                    </a:lnTo>
                    <a:lnTo>
                      <a:pt x="261" y="15"/>
                    </a:lnTo>
                    <a:lnTo>
                      <a:pt x="261" y="17"/>
                    </a:lnTo>
                    <a:lnTo>
                      <a:pt x="261" y="17"/>
                    </a:lnTo>
                    <a:lnTo>
                      <a:pt x="260" y="17"/>
                    </a:lnTo>
                    <a:lnTo>
                      <a:pt x="260" y="17"/>
                    </a:lnTo>
                    <a:lnTo>
                      <a:pt x="246" y="13"/>
                    </a:lnTo>
                    <a:lnTo>
                      <a:pt x="231" y="11"/>
                    </a:lnTo>
                    <a:lnTo>
                      <a:pt x="231" y="11"/>
                    </a:lnTo>
                    <a:lnTo>
                      <a:pt x="215" y="11"/>
                    </a:lnTo>
                    <a:lnTo>
                      <a:pt x="201" y="13"/>
                    </a:lnTo>
                    <a:lnTo>
                      <a:pt x="201" y="13"/>
                    </a:lnTo>
                    <a:lnTo>
                      <a:pt x="186" y="17"/>
                    </a:lnTo>
                    <a:lnTo>
                      <a:pt x="173" y="23"/>
                    </a:lnTo>
                    <a:lnTo>
                      <a:pt x="173" y="23"/>
                    </a:lnTo>
                    <a:lnTo>
                      <a:pt x="161" y="30"/>
                    </a:lnTo>
                    <a:lnTo>
                      <a:pt x="155" y="35"/>
                    </a:lnTo>
                    <a:lnTo>
                      <a:pt x="150" y="41"/>
                    </a:lnTo>
                    <a:lnTo>
                      <a:pt x="150" y="41"/>
                    </a:lnTo>
                    <a:lnTo>
                      <a:pt x="150" y="41"/>
                    </a:lnTo>
                    <a:lnTo>
                      <a:pt x="150" y="41"/>
                    </a:lnTo>
                    <a:lnTo>
                      <a:pt x="146" y="45"/>
                    </a:lnTo>
                    <a:lnTo>
                      <a:pt x="144" y="50"/>
                    </a:lnTo>
                    <a:lnTo>
                      <a:pt x="142" y="54"/>
                    </a:lnTo>
                    <a:lnTo>
                      <a:pt x="140" y="61"/>
                    </a:lnTo>
                    <a:lnTo>
                      <a:pt x="140" y="61"/>
                    </a:lnTo>
                    <a:lnTo>
                      <a:pt x="139" y="71"/>
                    </a:lnTo>
                    <a:lnTo>
                      <a:pt x="140" y="82"/>
                    </a:lnTo>
                    <a:lnTo>
                      <a:pt x="140" y="82"/>
                    </a:lnTo>
                    <a:lnTo>
                      <a:pt x="143" y="88"/>
                    </a:lnTo>
                    <a:lnTo>
                      <a:pt x="145" y="93"/>
                    </a:lnTo>
                    <a:lnTo>
                      <a:pt x="148" y="97"/>
                    </a:lnTo>
                    <a:lnTo>
                      <a:pt x="152" y="100"/>
                    </a:lnTo>
                    <a:lnTo>
                      <a:pt x="152" y="100"/>
                    </a:lnTo>
                    <a:lnTo>
                      <a:pt x="156" y="104"/>
                    </a:lnTo>
                    <a:lnTo>
                      <a:pt x="161" y="105"/>
                    </a:lnTo>
                    <a:lnTo>
                      <a:pt x="167" y="106"/>
                    </a:lnTo>
                    <a:lnTo>
                      <a:pt x="172" y="105"/>
                    </a:lnTo>
                    <a:lnTo>
                      <a:pt x="172" y="105"/>
                    </a:lnTo>
                    <a:lnTo>
                      <a:pt x="177" y="104"/>
                    </a:lnTo>
                    <a:lnTo>
                      <a:pt x="181" y="102"/>
                    </a:lnTo>
                    <a:lnTo>
                      <a:pt x="181" y="102"/>
                    </a:lnTo>
                    <a:lnTo>
                      <a:pt x="186" y="98"/>
                    </a:lnTo>
                    <a:lnTo>
                      <a:pt x="191" y="94"/>
                    </a:lnTo>
                    <a:lnTo>
                      <a:pt x="191" y="94"/>
                    </a:lnTo>
                    <a:lnTo>
                      <a:pt x="194" y="91"/>
                    </a:lnTo>
                    <a:lnTo>
                      <a:pt x="196" y="86"/>
                    </a:lnTo>
                    <a:lnTo>
                      <a:pt x="196" y="86"/>
                    </a:lnTo>
                    <a:lnTo>
                      <a:pt x="196" y="81"/>
                    </a:lnTo>
                    <a:lnTo>
                      <a:pt x="196" y="76"/>
                    </a:lnTo>
                    <a:lnTo>
                      <a:pt x="196" y="76"/>
                    </a:lnTo>
                    <a:lnTo>
                      <a:pt x="194" y="71"/>
                    </a:lnTo>
                    <a:lnTo>
                      <a:pt x="190" y="67"/>
                    </a:lnTo>
                    <a:lnTo>
                      <a:pt x="181" y="59"/>
                    </a:lnTo>
                    <a:lnTo>
                      <a:pt x="181" y="59"/>
                    </a:lnTo>
                    <a:lnTo>
                      <a:pt x="173" y="52"/>
                    </a:lnTo>
                    <a:lnTo>
                      <a:pt x="162" y="47"/>
                    </a:lnTo>
                    <a:lnTo>
                      <a:pt x="162" y="47"/>
                    </a:lnTo>
                    <a:lnTo>
                      <a:pt x="151" y="44"/>
                    </a:lnTo>
                    <a:lnTo>
                      <a:pt x="151" y="44"/>
                    </a:lnTo>
                    <a:lnTo>
                      <a:pt x="140" y="42"/>
                    </a:lnTo>
                    <a:lnTo>
                      <a:pt x="140" y="42"/>
                    </a:lnTo>
                    <a:lnTo>
                      <a:pt x="129" y="41"/>
                    </a:lnTo>
                    <a:lnTo>
                      <a:pt x="117" y="42"/>
                    </a:lnTo>
                    <a:lnTo>
                      <a:pt x="117" y="42"/>
                    </a:lnTo>
                    <a:lnTo>
                      <a:pt x="94" y="46"/>
                    </a:lnTo>
                    <a:lnTo>
                      <a:pt x="73" y="51"/>
                    </a:lnTo>
                    <a:lnTo>
                      <a:pt x="73" y="51"/>
                    </a:lnTo>
                    <a:lnTo>
                      <a:pt x="51" y="59"/>
                    </a:lnTo>
                    <a:lnTo>
                      <a:pt x="40" y="64"/>
                    </a:lnTo>
                    <a:lnTo>
                      <a:pt x="30" y="69"/>
                    </a:lnTo>
                    <a:lnTo>
                      <a:pt x="30" y="69"/>
                    </a:lnTo>
                    <a:lnTo>
                      <a:pt x="21" y="75"/>
                    </a:lnTo>
                    <a:lnTo>
                      <a:pt x="12" y="83"/>
                    </a:lnTo>
                    <a:lnTo>
                      <a:pt x="12" y="83"/>
                    </a:lnTo>
                    <a:lnTo>
                      <a:pt x="9" y="87"/>
                    </a:lnTo>
                    <a:lnTo>
                      <a:pt x="5" y="92"/>
                    </a:lnTo>
                    <a:lnTo>
                      <a:pt x="4" y="98"/>
                    </a:lnTo>
                    <a:lnTo>
                      <a:pt x="3" y="103"/>
                    </a:lnTo>
                    <a:lnTo>
                      <a:pt x="3" y="103"/>
                    </a:lnTo>
                    <a:lnTo>
                      <a:pt x="1" y="104"/>
                    </a:lnTo>
                    <a:lnTo>
                      <a:pt x="1" y="104"/>
                    </a:lnTo>
                    <a:lnTo>
                      <a:pt x="0" y="103"/>
                    </a:lnTo>
                    <a:lnTo>
                      <a:pt x="0" y="103"/>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573"/>
              <p:cNvSpPr>
                <a:spLocks/>
              </p:cNvSpPr>
              <p:nvPr/>
            </p:nvSpPr>
            <p:spPr bwMode="auto">
              <a:xfrm>
                <a:off x="6904438" y="2654939"/>
                <a:ext cx="71276" cy="117759"/>
              </a:xfrm>
              <a:custGeom>
                <a:avLst/>
                <a:gdLst>
                  <a:gd name="T0" fmla="*/ 16 w 93"/>
                  <a:gd name="T1" fmla="*/ 155 h 155"/>
                  <a:gd name="T2" fmla="*/ 16 w 93"/>
                  <a:gd name="T3" fmla="*/ 155 h 155"/>
                  <a:gd name="T4" fmla="*/ 0 w 93"/>
                  <a:gd name="T5" fmla="*/ 4 h 155"/>
                  <a:gd name="T6" fmla="*/ 93 w 93"/>
                  <a:gd name="T7" fmla="*/ 0 h 155"/>
                  <a:gd name="T8" fmla="*/ 81 w 93"/>
                  <a:gd name="T9" fmla="*/ 154 h 155"/>
                  <a:gd name="T10" fmla="*/ 16 w 93"/>
                  <a:gd name="T11" fmla="*/ 155 h 155"/>
                </a:gdLst>
                <a:ahLst/>
                <a:cxnLst>
                  <a:cxn ang="0">
                    <a:pos x="T0" y="T1"/>
                  </a:cxn>
                  <a:cxn ang="0">
                    <a:pos x="T2" y="T3"/>
                  </a:cxn>
                  <a:cxn ang="0">
                    <a:pos x="T4" y="T5"/>
                  </a:cxn>
                  <a:cxn ang="0">
                    <a:pos x="T6" y="T7"/>
                  </a:cxn>
                  <a:cxn ang="0">
                    <a:pos x="T8" y="T9"/>
                  </a:cxn>
                  <a:cxn ang="0">
                    <a:pos x="T10" y="T11"/>
                  </a:cxn>
                </a:cxnLst>
                <a:rect l="0" t="0" r="r" b="b"/>
                <a:pathLst>
                  <a:path w="93" h="155">
                    <a:moveTo>
                      <a:pt x="16" y="155"/>
                    </a:moveTo>
                    <a:lnTo>
                      <a:pt x="16" y="155"/>
                    </a:lnTo>
                    <a:lnTo>
                      <a:pt x="0" y="4"/>
                    </a:lnTo>
                    <a:lnTo>
                      <a:pt x="93" y="0"/>
                    </a:lnTo>
                    <a:lnTo>
                      <a:pt x="81" y="154"/>
                    </a:lnTo>
                    <a:lnTo>
                      <a:pt x="16" y="155"/>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574"/>
              <p:cNvSpPr>
                <a:spLocks/>
              </p:cNvSpPr>
              <p:nvPr/>
            </p:nvSpPr>
            <p:spPr bwMode="auto">
              <a:xfrm>
                <a:off x="6904438" y="2654939"/>
                <a:ext cx="71276" cy="117759"/>
              </a:xfrm>
              <a:custGeom>
                <a:avLst/>
                <a:gdLst>
                  <a:gd name="T0" fmla="*/ 16 w 93"/>
                  <a:gd name="T1" fmla="*/ 155 h 155"/>
                  <a:gd name="T2" fmla="*/ 16 w 93"/>
                  <a:gd name="T3" fmla="*/ 155 h 155"/>
                  <a:gd name="T4" fmla="*/ 0 w 93"/>
                  <a:gd name="T5" fmla="*/ 4 h 155"/>
                  <a:gd name="T6" fmla="*/ 93 w 93"/>
                  <a:gd name="T7" fmla="*/ 0 h 155"/>
                  <a:gd name="T8" fmla="*/ 81 w 93"/>
                  <a:gd name="T9" fmla="*/ 154 h 155"/>
                </a:gdLst>
                <a:ahLst/>
                <a:cxnLst>
                  <a:cxn ang="0">
                    <a:pos x="T0" y="T1"/>
                  </a:cxn>
                  <a:cxn ang="0">
                    <a:pos x="T2" y="T3"/>
                  </a:cxn>
                  <a:cxn ang="0">
                    <a:pos x="T4" y="T5"/>
                  </a:cxn>
                  <a:cxn ang="0">
                    <a:pos x="T6" y="T7"/>
                  </a:cxn>
                  <a:cxn ang="0">
                    <a:pos x="T8" y="T9"/>
                  </a:cxn>
                </a:cxnLst>
                <a:rect l="0" t="0" r="r" b="b"/>
                <a:pathLst>
                  <a:path w="93" h="155">
                    <a:moveTo>
                      <a:pt x="16" y="155"/>
                    </a:moveTo>
                    <a:lnTo>
                      <a:pt x="16" y="155"/>
                    </a:lnTo>
                    <a:lnTo>
                      <a:pt x="0" y="4"/>
                    </a:lnTo>
                    <a:lnTo>
                      <a:pt x="93" y="0"/>
                    </a:lnTo>
                    <a:lnTo>
                      <a:pt x="81" y="1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75"/>
              <p:cNvSpPr>
                <a:spLocks/>
              </p:cNvSpPr>
              <p:nvPr/>
            </p:nvSpPr>
            <p:spPr bwMode="auto">
              <a:xfrm>
                <a:off x="6523271" y="2617752"/>
                <a:ext cx="71276" cy="151848"/>
              </a:xfrm>
              <a:custGeom>
                <a:avLst/>
                <a:gdLst>
                  <a:gd name="T0" fmla="*/ 17 w 93"/>
                  <a:gd name="T1" fmla="*/ 200 h 200"/>
                  <a:gd name="T2" fmla="*/ 17 w 93"/>
                  <a:gd name="T3" fmla="*/ 200 h 200"/>
                  <a:gd name="T4" fmla="*/ 0 w 93"/>
                  <a:gd name="T5" fmla="*/ 4 h 200"/>
                  <a:gd name="T6" fmla="*/ 93 w 93"/>
                  <a:gd name="T7" fmla="*/ 0 h 200"/>
                  <a:gd name="T8" fmla="*/ 82 w 93"/>
                  <a:gd name="T9" fmla="*/ 198 h 200"/>
                  <a:gd name="T10" fmla="*/ 17 w 93"/>
                  <a:gd name="T11" fmla="*/ 200 h 200"/>
                </a:gdLst>
                <a:ahLst/>
                <a:cxnLst>
                  <a:cxn ang="0">
                    <a:pos x="T0" y="T1"/>
                  </a:cxn>
                  <a:cxn ang="0">
                    <a:pos x="T2" y="T3"/>
                  </a:cxn>
                  <a:cxn ang="0">
                    <a:pos x="T4" y="T5"/>
                  </a:cxn>
                  <a:cxn ang="0">
                    <a:pos x="T6" y="T7"/>
                  </a:cxn>
                  <a:cxn ang="0">
                    <a:pos x="T8" y="T9"/>
                  </a:cxn>
                  <a:cxn ang="0">
                    <a:pos x="T10" y="T11"/>
                  </a:cxn>
                </a:cxnLst>
                <a:rect l="0" t="0" r="r" b="b"/>
                <a:pathLst>
                  <a:path w="93" h="200">
                    <a:moveTo>
                      <a:pt x="17" y="200"/>
                    </a:moveTo>
                    <a:lnTo>
                      <a:pt x="17" y="200"/>
                    </a:lnTo>
                    <a:lnTo>
                      <a:pt x="0" y="4"/>
                    </a:lnTo>
                    <a:lnTo>
                      <a:pt x="93" y="0"/>
                    </a:lnTo>
                    <a:lnTo>
                      <a:pt x="82" y="198"/>
                    </a:lnTo>
                    <a:lnTo>
                      <a:pt x="17" y="200"/>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76"/>
              <p:cNvSpPr>
                <a:spLocks/>
              </p:cNvSpPr>
              <p:nvPr/>
            </p:nvSpPr>
            <p:spPr bwMode="auto">
              <a:xfrm>
                <a:off x="6523271" y="2617752"/>
                <a:ext cx="71276" cy="151848"/>
              </a:xfrm>
              <a:custGeom>
                <a:avLst/>
                <a:gdLst>
                  <a:gd name="T0" fmla="*/ 17 w 93"/>
                  <a:gd name="T1" fmla="*/ 200 h 200"/>
                  <a:gd name="T2" fmla="*/ 17 w 93"/>
                  <a:gd name="T3" fmla="*/ 200 h 200"/>
                  <a:gd name="T4" fmla="*/ 0 w 93"/>
                  <a:gd name="T5" fmla="*/ 4 h 200"/>
                  <a:gd name="T6" fmla="*/ 93 w 93"/>
                  <a:gd name="T7" fmla="*/ 0 h 200"/>
                  <a:gd name="T8" fmla="*/ 82 w 93"/>
                  <a:gd name="T9" fmla="*/ 198 h 200"/>
                </a:gdLst>
                <a:ahLst/>
                <a:cxnLst>
                  <a:cxn ang="0">
                    <a:pos x="T0" y="T1"/>
                  </a:cxn>
                  <a:cxn ang="0">
                    <a:pos x="T2" y="T3"/>
                  </a:cxn>
                  <a:cxn ang="0">
                    <a:pos x="T4" y="T5"/>
                  </a:cxn>
                  <a:cxn ang="0">
                    <a:pos x="T6" y="T7"/>
                  </a:cxn>
                  <a:cxn ang="0">
                    <a:pos x="T8" y="T9"/>
                  </a:cxn>
                </a:cxnLst>
                <a:rect l="0" t="0" r="r" b="b"/>
                <a:pathLst>
                  <a:path w="93" h="200">
                    <a:moveTo>
                      <a:pt x="17" y="200"/>
                    </a:moveTo>
                    <a:lnTo>
                      <a:pt x="17" y="200"/>
                    </a:lnTo>
                    <a:lnTo>
                      <a:pt x="0" y="4"/>
                    </a:lnTo>
                    <a:lnTo>
                      <a:pt x="93" y="0"/>
                    </a:lnTo>
                    <a:lnTo>
                      <a:pt x="82" y="1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7"/>
              <p:cNvSpPr>
                <a:spLocks/>
              </p:cNvSpPr>
              <p:nvPr/>
            </p:nvSpPr>
            <p:spPr bwMode="auto">
              <a:xfrm>
                <a:off x="6975714" y="2617752"/>
                <a:ext cx="111561" cy="185935"/>
              </a:xfrm>
              <a:custGeom>
                <a:avLst/>
                <a:gdLst>
                  <a:gd name="T0" fmla="*/ 25 w 145"/>
                  <a:gd name="T1" fmla="*/ 242 h 242"/>
                  <a:gd name="T2" fmla="*/ 25 w 145"/>
                  <a:gd name="T3" fmla="*/ 242 h 242"/>
                  <a:gd name="T4" fmla="*/ 0 w 145"/>
                  <a:gd name="T5" fmla="*/ 5 h 242"/>
                  <a:gd name="T6" fmla="*/ 145 w 145"/>
                  <a:gd name="T7" fmla="*/ 0 h 242"/>
                  <a:gd name="T8" fmla="*/ 127 w 145"/>
                  <a:gd name="T9" fmla="*/ 239 h 242"/>
                  <a:gd name="T10" fmla="*/ 25 w 145"/>
                  <a:gd name="T11" fmla="*/ 242 h 242"/>
                </a:gdLst>
                <a:ahLst/>
                <a:cxnLst>
                  <a:cxn ang="0">
                    <a:pos x="T0" y="T1"/>
                  </a:cxn>
                  <a:cxn ang="0">
                    <a:pos x="T2" y="T3"/>
                  </a:cxn>
                  <a:cxn ang="0">
                    <a:pos x="T4" y="T5"/>
                  </a:cxn>
                  <a:cxn ang="0">
                    <a:pos x="T6" y="T7"/>
                  </a:cxn>
                  <a:cxn ang="0">
                    <a:pos x="T8" y="T9"/>
                  </a:cxn>
                  <a:cxn ang="0">
                    <a:pos x="T10" y="T11"/>
                  </a:cxn>
                </a:cxnLst>
                <a:rect l="0" t="0" r="r" b="b"/>
                <a:pathLst>
                  <a:path w="145" h="242">
                    <a:moveTo>
                      <a:pt x="25" y="242"/>
                    </a:moveTo>
                    <a:lnTo>
                      <a:pt x="25" y="242"/>
                    </a:lnTo>
                    <a:lnTo>
                      <a:pt x="0" y="5"/>
                    </a:lnTo>
                    <a:lnTo>
                      <a:pt x="145" y="0"/>
                    </a:lnTo>
                    <a:lnTo>
                      <a:pt x="127" y="239"/>
                    </a:lnTo>
                    <a:lnTo>
                      <a:pt x="25" y="242"/>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78"/>
              <p:cNvSpPr>
                <a:spLocks/>
              </p:cNvSpPr>
              <p:nvPr/>
            </p:nvSpPr>
            <p:spPr bwMode="auto">
              <a:xfrm>
                <a:off x="6975714" y="2617752"/>
                <a:ext cx="111561" cy="185935"/>
              </a:xfrm>
              <a:custGeom>
                <a:avLst/>
                <a:gdLst>
                  <a:gd name="T0" fmla="*/ 25 w 145"/>
                  <a:gd name="T1" fmla="*/ 242 h 242"/>
                  <a:gd name="T2" fmla="*/ 25 w 145"/>
                  <a:gd name="T3" fmla="*/ 242 h 242"/>
                  <a:gd name="T4" fmla="*/ 0 w 145"/>
                  <a:gd name="T5" fmla="*/ 5 h 242"/>
                  <a:gd name="T6" fmla="*/ 145 w 145"/>
                  <a:gd name="T7" fmla="*/ 0 h 242"/>
                  <a:gd name="T8" fmla="*/ 127 w 145"/>
                  <a:gd name="T9" fmla="*/ 239 h 242"/>
                </a:gdLst>
                <a:ahLst/>
                <a:cxnLst>
                  <a:cxn ang="0">
                    <a:pos x="T0" y="T1"/>
                  </a:cxn>
                  <a:cxn ang="0">
                    <a:pos x="T2" y="T3"/>
                  </a:cxn>
                  <a:cxn ang="0">
                    <a:pos x="T4" y="T5"/>
                  </a:cxn>
                  <a:cxn ang="0">
                    <a:pos x="T6" y="T7"/>
                  </a:cxn>
                  <a:cxn ang="0">
                    <a:pos x="T8" y="T9"/>
                  </a:cxn>
                </a:cxnLst>
                <a:rect l="0" t="0" r="r" b="b"/>
                <a:pathLst>
                  <a:path w="145" h="242">
                    <a:moveTo>
                      <a:pt x="25" y="242"/>
                    </a:moveTo>
                    <a:lnTo>
                      <a:pt x="25" y="242"/>
                    </a:lnTo>
                    <a:lnTo>
                      <a:pt x="0" y="5"/>
                    </a:lnTo>
                    <a:lnTo>
                      <a:pt x="145" y="0"/>
                    </a:lnTo>
                    <a:lnTo>
                      <a:pt x="127" y="2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79"/>
              <p:cNvSpPr>
                <a:spLocks/>
              </p:cNvSpPr>
              <p:nvPr/>
            </p:nvSpPr>
            <p:spPr bwMode="auto">
              <a:xfrm>
                <a:off x="6591448" y="2617752"/>
                <a:ext cx="114661" cy="185935"/>
              </a:xfrm>
              <a:custGeom>
                <a:avLst/>
                <a:gdLst>
                  <a:gd name="T0" fmla="*/ 25 w 146"/>
                  <a:gd name="T1" fmla="*/ 242 h 242"/>
                  <a:gd name="T2" fmla="*/ 25 w 146"/>
                  <a:gd name="T3" fmla="*/ 242 h 242"/>
                  <a:gd name="T4" fmla="*/ 0 w 146"/>
                  <a:gd name="T5" fmla="*/ 5 h 242"/>
                  <a:gd name="T6" fmla="*/ 146 w 146"/>
                  <a:gd name="T7" fmla="*/ 0 h 242"/>
                  <a:gd name="T8" fmla="*/ 126 w 146"/>
                  <a:gd name="T9" fmla="*/ 239 h 242"/>
                  <a:gd name="T10" fmla="*/ 25 w 146"/>
                  <a:gd name="T11" fmla="*/ 242 h 242"/>
                </a:gdLst>
                <a:ahLst/>
                <a:cxnLst>
                  <a:cxn ang="0">
                    <a:pos x="T0" y="T1"/>
                  </a:cxn>
                  <a:cxn ang="0">
                    <a:pos x="T2" y="T3"/>
                  </a:cxn>
                  <a:cxn ang="0">
                    <a:pos x="T4" y="T5"/>
                  </a:cxn>
                  <a:cxn ang="0">
                    <a:pos x="T6" y="T7"/>
                  </a:cxn>
                  <a:cxn ang="0">
                    <a:pos x="T8" y="T9"/>
                  </a:cxn>
                  <a:cxn ang="0">
                    <a:pos x="T10" y="T11"/>
                  </a:cxn>
                </a:cxnLst>
                <a:rect l="0" t="0" r="r" b="b"/>
                <a:pathLst>
                  <a:path w="146" h="242">
                    <a:moveTo>
                      <a:pt x="25" y="242"/>
                    </a:moveTo>
                    <a:lnTo>
                      <a:pt x="25" y="242"/>
                    </a:lnTo>
                    <a:lnTo>
                      <a:pt x="0" y="5"/>
                    </a:lnTo>
                    <a:lnTo>
                      <a:pt x="146" y="0"/>
                    </a:lnTo>
                    <a:lnTo>
                      <a:pt x="126" y="239"/>
                    </a:lnTo>
                    <a:lnTo>
                      <a:pt x="25" y="242"/>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580"/>
              <p:cNvSpPr>
                <a:spLocks/>
              </p:cNvSpPr>
              <p:nvPr/>
            </p:nvSpPr>
            <p:spPr bwMode="auto">
              <a:xfrm>
                <a:off x="6591448" y="2617752"/>
                <a:ext cx="114661" cy="185935"/>
              </a:xfrm>
              <a:custGeom>
                <a:avLst/>
                <a:gdLst>
                  <a:gd name="T0" fmla="*/ 25 w 146"/>
                  <a:gd name="T1" fmla="*/ 242 h 242"/>
                  <a:gd name="T2" fmla="*/ 25 w 146"/>
                  <a:gd name="T3" fmla="*/ 242 h 242"/>
                  <a:gd name="T4" fmla="*/ 0 w 146"/>
                  <a:gd name="T5" fmla="*/ 5 h 242"/>
                  <a:gd name="T6" fmla="*/ 146 w 146"/>
                  <a:gd name="T7" fmla="*/ 0 h 242"/>
                  <a:gd name="T8" fmla="*/ 126 w 146"/>
                  <a:gd name="T9" fmla="*/ 239 h 242"/>
                </a:gdLst>
                <a:ahLst/>
                <a:cxnLst>
                  <a:cxn ang="0">
                    <a:pos x="T0" y="T1"/>
                  </a:cxn>
                  <a:cxn ang="0">
                    <a:pos x="T2" y="T3"/>
                  </a:cxn>
                  <a:cxn ang="0">
                    <a:pos x="T4" y="T5"/>
                  </a:cxn>
                  <a:cxn ang="0">
                    <a:pos x="T6" y="T7"/>
                  </a:cxn>
                  <a:cxn ang="0">
                    <a:pos x="T8" y="T9"/>
                  </a:cxn>
                </a:cxnLst>
                <a:rect l="0" t="0" r="r" b="b"/>
                <a:pathLst>
                  <a:path w="146" h="242">
                    <a:moveTo>
                      <a:pt x="25" y="242"/>
                    </a:moveTo>
                    <a:lnTo>
                      <a:pt x="25" y="242"/>
                    </a:lnTo>
                    <a:lnTo>
                      <a:pt x="0" y="5"/>
                    </a:lnTo>
                    <a:lnTo>
                      <a:pt x="146" y="0"/>
                    </a:lnTo>
                    <a:lnTo>
                      <a:pt x="126" y="2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81"/>
              <p:cNvSpPr>
                <a:spLocks/>
              </p:cNvSpPr>
              <p:nvPr/>
            </p:nvSpPr>
            <p:spPr bwMode="auto">
              <a:xfrm>
                <a:off x="6399315" y="2007265"/>
                <a:ext cx="833610" cy="746841"/>
              </a:xfrm>
              <a:custGeom>
                <a:avLst/>
                <a:gdLst>
                  <a:gd name="T0" fmla="*/ 1075 w 1075"/>
                  <a:gd name="T1" fmla="*/ 457 h 964"/>
                  <a:gd name="T2" fmla="*/ 1071 w 1075"/>
                  <a:gd name="T3" fmla="*/ 530 h 964"/>
                  <a:gd name="T4" fmla="*/ 1056 w 1075"/>
                  <a:gd name="T5" fmla="*/ 600 h 964"/>
                  <a:gd name="T6" fmla="*/ 1030 w 1075"/>
                  <a:gd name="T7" fmla="*/ 667 h 964"/>
                  <a:gd name="T8" fmla="*/ 994 w 1075"/>
                  <a:gd name="T9" fmla="*/ 729 h 964"/>
                  <a:gd name="T10" fmla="*/ 948 w 1075"/>
                  <a:gd name="T11" fmla="*/ 786 h 964"/>
                  <a:gd name="T12" fmla="*/ 893 w 1075"/>
                  <a:gd name="T13" fmla="*/ 837 h 964"/>
                  <a:gd name="T14" fmla="*/ 832 w 1075"/>
                  <a:gd name="T15" fmla="*/ 879 h 964"/>
                  <a:gd name="T16" fmla="*/ 764 w 1075"/>
                  <a:gd name="T17" fmla="*/ 916 h 964"/>
                  <a:gd name="T18" fmla="*/ 689 w 1075"/>
                  <a:gd name="T19" fmla="*/ 942 h 964"/>
                  <a:gd name="T20" fmla="*/ 609 w 1075"/>
                  <a:gd name="T21" fmla="*/ 958 h 964"/>
                  <a:gd name="T22" fmla="*/ 555 w 1075"/>
                  <a:gd name="T23" fmla="*/ 964 h 964"/>
                  <a:gd name="T24" fmla="*/ 474 w 1075"/>
                  <a:gd name="T25" fmla="*/ 962 h 964"/>
                  <a:gd name="T26" fmla="*/ 395 w 1075"/>
                  <a:gd name="T27" fmla="*/ 950 h 964"/>
                  <a:gd name="T28" fmla="*/ 321 w 1075"/>
                  <a:gd name="T29" fmla="*/ 928 h 964"/>
                  <a:gd name="T30" fmla="*/ 252 w 1075"/>
                  <a:gd name="T31" fmla="*/ 896 h 964"/>
                  <a:gd name="T32" fmla="*/ 189 w 1075"/>
                  <a:gd name="T33" fmla="*/ 856 h 964"/>
                  <a:gd name="T34" fmla="*/ 135 w 1075"/>
                  <a:gd name="T35" fmla="*/ 809 h 964"/>
                  <a:gd name="T36" fmla="*/ 88 w 1075"/>
                  <a:gd name="T37" fmla="*/ 755 h 964"/>
                  <a:gd name="T38" fmla="*/ 49 w 1075"/>
                  <a:gd name="T39" fmla="*/ 694 h 964"/>
                  <a:gd name="T40" fmla="*/ 21 w 1075"/>
                  <a:gd name="T41" fmla="*/ 628 h 964"/>
                  <a:gd name="T42" fmla="*/ 4 w 1075"/>
                  <a:gd name="T43" fmla="*/ 557 h 964"/>
                  <a:gd name="T44" fmla="*/ 0 w 1075"/>
                  <a:gd name="T45" fmla="*/ 507 h 964"/>
                  <a:gd name="T46" fmla="*/ 3 w 1075"/>
                  <a:gd name="T47" fmla="*/ 434 h 964"/>
                  <a:gd name="T48" fmla="*/ 19 w 1075"/>
                  <a:gd name="T49" fmla="*/ 364 h 964"/>
                  <a:gd name="T50" fmla="*/ 44 w 1075"/>
                  <a:gd name="T51" fmla="*/ 298 h 964"/>
                  <a:gd name="T52" fmla="*/ 81 w 1075"/>
                  <a:gd name="T53" fmla="*/ 235 h 964"/>
                  <a:gd name="T54" fmla="*/ 127 w 1075"/>
                  <a:gd name="T55" fmla="*/ 178 h 964"/>
                  <a:gd name="T56" fmla="*/ 181 w 1075"/>
                  <a:gd name="T57" fmla="*/ 129 h 964"/>
                  <a:gd name="T58" fmla="*/ 243 w 1075"/>
                  <a:gd name="T59" fmla="*/ 85 h 964"/>
                  <a:gd name="T60" fmla="*/ 312 w 1075"/>
                  <a:gd name="T61" fmla="*/ 49 h 964"/>
                  <a:gd name="T62" fmla="*/ 385 w 1075"/>
                  <a:gd name="T63" fmla="*/ 22 h 964"/>
                  <a:gd name="T64" fmla="*/ 465 w 1075"/>
                  <a:gd name="T65" fmla="*/ 6 h 964"/>
                  <a:gd name="T66" fmla="*/ 520 w 1075"/>
                  <a:gd name="T67" fmla="*/ 0 h 964"/>
                  <a:gd name="T68" fmla="*/ 602 w 1075"/>
                  <a:gd name="T69" fmla="*/ 3 h 964"/>
                  <a:gd name="T70" fmla="*/ 679 w 1075"/>
                  <a:gd name="T71" fmla="*/ 15 h 964"/>
                  <a:gd name="T72" fmla="*/ 753 w 1075"/>
                  <a:gd name="T73" fmla="*/ 37 h 964"/>
                  <a:gd name="T74" fmla="*/ 822 w 1075"/>
                  <a:gd name="T75" fmla="*/ 68 h 964"/>
                  <a:gd name="T76" fmla="*/ 885 w 1075"/>
                  <a:gd name="T77" fmla="*/ 108 h 964"/>
                  <a:gd name="T78" fmla="*/ 940 w 1075"/>
                  <a:gd name="T79" fmla="*/ 155 h 964"/>
                  <a:gd name="T80" fmla="*/ 988 w 1075"/>
                  <a:gd name="T81" fmla="*/ 210 h 964"/>
                  <a:gd name="T82" fmla="*/ 1025 w 1075"/>
                  <a:gd name="T83" fmla="*/ 270 h 964"/>
                  <a:gd name="T84" fmla="*/ 1053 w 1075"/>
                  <a:gd name="T85" fmla="*/ 337 h 964"/>
                  <a:gd name="T86" fmla="*/ 1070 w 1075"/>
                  <a:gd name="T87" fmla="*/ 408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5" h="964">
                    <a:moveTo>
                      <a:pt x="1073" y="432"/>
                    </a:moveTo>
                    <a:lnTo>
                      <a:pt x="1073" y="432"/>
                    </a:lnTo>
                    <a:lnTo>
                      <a:pt x="1075" y="457"/>
                    </a:lnTo>
                    <a:lnTo>
                      <a:pt x="1075" y="482"/>
                    </a:lnTo>
                    <a:lnTo>
                      <a:pt x="1073" y="506"/>
                    </a:lnTo>
                    <a:lnTo>
                      <a:pt x="1071" y="530"/>
                    </a:lnTo>
                    <a:lnTo>
                      <a:pt x="1067" y="554"/>
                    </a:lnTo>
                    <a:lnTo>
                      <a:pt x="1063" y="577"/>
                    </a:lnTo>
                    <a:lnTo>
                      <a:pt x="1056" y="600"/>
                    </a:lnTo>
                    <a:lnTo>
                      <a:pt x="1048" y="623"/>
                    </a:lnTo>
                    <a:lnTo>
                      <a:pt x="1040" y="645"/>
                    </a:lnTo>
                    <a:lnTo>
                      <a:pt x="1030" y="667"/>
                    </a:lnTo>
                    <a:lnTo>
                      <a:pt x="1019" y="688"/>
                    </a:lnTo>
                    <a:lnTo>
                      <a:pt x="1007" y="709"/>
                    </a:lnTo>
                    <a:lnTo>
                      <a:pt x="994" y="729"/>
                    </a:lnTo>
                    <a:lnTo>
                      <a:pt x="979" y="749"/>
                    </a:lnTo>
                    <a:lnTo>
                      <a:pt x="965" y="768"/>
                    </a:lnTo>
                    <a:lnTo>
                      <a:pt x="948" y="786"/>
                    </a:lnTo>
                    <a:lnTo>
                      <a:pt x="931" y="803"/>
                    </a:lnTo>
                    <a:lnTo>
                      <a:pt x="913" y="820"/>
                    </a:lnTo>
                    <a:lnTo>
                      <a:pt x="893" y="837"/>
                    </a:lnTo>
                    <a:lnTo>
                      <a:pt x="874" y="852"/>
                    </a:lnTo>
                    <a:lnTo>
                      <a:pt x="853" y="866"/>
                    </a:lnTo>
                    <a:lnTo>
                      <a:pt x="832" y="879"/>
                    </a:lnTo>
                    <a:lnTo>
                      <a:pt x="810" y="893"/>
                    </a:lnTo>
                    <a:lnTo>
                      <a:pt x="787" y="905"/>
                    </a:lnTo>
                    <a:lnTo>
                      <a:pt x="764" y="916"/>
                    </a:lnTo>
                    <a:lnTo>
                      <a:pt x="740" y="925"/>
                    </a:lnTo>
                    <a:lnTo>
                      <a:pt x="714" y="934"/>
                    </a:lnTo>
                    <a:lnTo>
                      <a:pt x="689" y="942"/>
                    </a:lnTo>
                    <a:lnTo>
                      <a:pt x="663" y="948"/>
                    </a:lnTo>
                    <a:lnTo>
                      <a:pt x="637" y="954"/>
                    </a:lnTo>
                    <a:lnTo>
                      <a:pt x="609" y="958"/>
                    </a:lnTo>
                    <a:lnTo>
                      <a:pt x="582" y="962"/>
                    </a:lnTo>
                    <a:lnTo>
                      <a:pt x="582" y="962"/>
                    </a:lnTo>
                    <a:lnTo>
                      <a:pt x="555" y="964"/>
                    </a:lnTo>
                    <a:lnTo>
                      <a:pt x="527" y="964"/>
                    </a:lnTo>
                    <a:lnTo>
                      <a:pt x="500" y="964"/>
                    </a:lnTo>
                    <a:lnTo>
                      <a:pt x="474" y="962"/>
                    </a:lnTo>
                    <a:lnTo>
                      <a:pt x="447" y="959"/>
                    </a:lnTo>
                    <a:lnTo>
                      <a:pt x="420" y="954"/>
                    </a:lnTo>
                    <a:lnTo>
                      <a:pt x="395" y="950"/>
                    </a:lnTo>
                    <a:lnTo>
                      <a:pt x="370" y="943"/>
                    </a:lnTo>
                    <a:lnTo>
                      <a:pt x="345" y="936"/>
                    </a:lnTo>
                    <a:lnTo>
                      <a:pt x="321" y="928"/>
                    </a:lnTo>
                    <a:lnTo>
                      <a:pt x="298" y="918"/>
                    </a:lnTo>
                    <a:lnTo>
                      <a:pt x="275" y="907"/>
                    </a:lnTo>
                    <a:lnTo>
                      <a:pt x="252" y="896"/>
                    </a:lnTo>
                    <a:lnTo>
                      <a:pt x="231" y="884"/>
                    </a:lnTo>
                    <a:lnTo>
                      <a:pt x="210" y="871"/>
                    </a:lnTo>
                    <a:lnTo>
                      <a:pt x="189" y="856"/>
                    </a:lnTo>
                    <a:lnTo>
                      <a:pt x="171" y="842"/>
                    </a:lnTo>
                    <a:lnTo>
                      <a:pt x="152" y="826"/>
                    </a:lnTo>
                    <a:lnTo>
                      <a:pt x="135" y="809"/>
                    </a:lnTo>
                    <a:lnTo>
                      <a:pt x="118" y="792"/>
                    </a:lnTo>
                    <a:lnTo>
                      <a:pt x="102" y="774"/>
                    </a:lnTo>
                    <a:lnTo>
                      <a:pt x="88" y="755"/>
                    </a:lnTo>
                    <a:lnTo>
                      <a:pt x="73" y="736"/>
                    </a:lnTo>
                    <a:lnTo>
                      <a:pt x="61" y="715"/>
                    </a:lnTo>
                    <a:lnTo>
                      <a:pt x="49" y="694"/>
                    </a:lnTo>
                    <a:lnTo>
                      <a:pt x="38" y="673"/>
                    </a:lnTo>
                    <a:lnTo>
                      <a:pt x="30" y="651"/>
                    </a:lnTo>
                    <a:lnTo>
                      <a:pt x="21" y="628"/>
                    </a:lnTo>
                    <a:lnTo>
                      <a:pt x="14" y="605"/>
                    </a:lnTo>
                    <a:lnTo>
                      <a:pt x="9" y="581"/>
                    </a:lnTo>
                    <a:lnTo>
                      <a:pt x="4" y="557"/>
                    </a:lnTo>
                    <a:lnTo>
                      <a:pt x="2" y="532"/>
                    </a:lnTo>
                    <a:lnTo>
                      <a:pt x="2" y="532"/>
                    </a:lnTo>
                    <a:lnTo>
                      <a:pt x="0" y="507"/>
                    </a:lnTo>
                    <a:lnTo>
                      <a:pt x="0" y="483"/>
                    </a:lnTo>
                    <a:lnTo>
                      <a:pt x="1" y="459"/>
                    </a:lnTo>
                    <a:lnTo>
                      <a:pt x="3" y="434"/>
                    </a:lnTo>
                    <a:lnTo>
                      <a:pt x="7" y="412"/>
                    </a:lnTo>
                    <a:lnTo>
                      <a:pt x="12" y="387"/>
                    </a:lnTo>
                    <a:lnTo>
                      <a:pt x="19" y="364"/>
                    </a:lnTo>
                    <a:lnTo>
                      <a:pt x="26" y="341"/>
                    </a:lnTo>
                    <a:lnTo>
                      <a:pt x="35" y="320"/>
                    </a:lnTo>
                    <a:lnTo>
                      <a:pt x="44" y="298"/>
                    </a:lnTo>
                    <a:lnTo>
                      <a:pt x="55" y="276"/>
                    </a:lnTo>
                    <a:lnTo>
                      <a:pt x="67" y="256"/>
                    </a:lnTo>
                    <a:lnTo>
                      <a:pt x="81" y="235"/>
                    </a:lnTo>
                    <a:lnTo>
                      <a:pt x="95" y="216"/>
                    </a:lnTo>
                    <a:lnTo>
                      <a:pt x="111" y="198"/>
                    </a:lnTo>
                    <a:lnTo>
                      <a:pt x="127" y="178"/>
                    </a:lnTo>
                    <a:lnTo>
                      <a:pt x="144" y="161"/>
                    </a:lnTo>
                    <a:lnTo>
                      <a:pt x="162" y="144"/>
                    </a:lnTo>
                    <a:lnTo>
                      <a:pt x="181" y="129"/>
                    </a:lnTo>
                    <a:lnTo>
                      <a:pt x="200" y="113"/>
                    </a:lnTo>
                    <a:lnTo>
                      <a:pt x="221" y="98"/>
                    </a:lnTo>
                    <a:lnTo>
                      <a:pt x="243" y="85"/>
                    </a:lnTo>
                    <a:lnTo>
                      <a:pt x="264" y="72"/>
                    </a:lnTo>
                    <a:lnTo>
                      <a:pt x="287" y="60"/>
                    </a:lnTo>
                    <a:lnTo>
                      <a:pt x="312" y="49"/>
                    </a:lnTo>
                    <a:lnTo>
                      <a:pt x="336" y="39"/>
                    </a:lnTo>
                    <a:lnTo>
                      <a:pt x="360" y="31"/>
                    </a:lnTo>
                    <a:lnTo>
                      <a:pt x="385" y="22"/>
                    </a:lnTo>
                    <a:lnTo>
                      <a:pt x="412" y="16"/>
                    </a:lnTo>
                    <a:lnTo>
                      <a:pt x="439" y="10"/>
                    </a:lnTo>
                    <a:lnTo>
                      <a:pt x="465" y="6"/>
                    </a:lnTo>
                    <a:lnTo>
                      <a:pt x="493" y="3"/>
                    </a:lnTo>
                    <a:lnTo>
                      <a:pt x="493" y="3"/>
                    </a:lnTo>
                    <a:lnTo>
                      <a:pt x="520" y="0"/>
                    </a:lnTo>
                    <a:lnTo>
                      <a:pt x="547" y="0"/>
                    </a:lnTo>
                    <a:lnTo>
                      <a:pt x="575" y="0"/>
                    </a:lnTo>
                    <a:lnTo>
                      <a:pt x="602" y="3"/>
                    </a:lnTo>
                    <a:lnTo>
                      <a:pt x="628" y="5"/>
                    </a:lnTo>
                    <a:lnTo>
                      <a:pt x="654" y="10"/>
                    </a:lnTo>
                    <a:lnTo>
                      <a:pt x="679" y="15"/>
                    </a:lnTo>
                    <a:lnTo>
                      <a:pt x="705" y="21"/>
                    </a:lnTo>
                    <a:lnTo>
                      <a:pt x="729" y="28"/>
                    </a:lnTo>
                    <a:lnTo>
                      <a:pt x="753" y="37"/>
                    </a:lnTo>
                    <a:lnTo>
                      <a:pt x="777" y="46"/>
                    </a:lnTo>
                    <a:lnTo>
                      <a:pt x="800" y="57"/>
                    </a:lnTo>
                    <a:lnTo>
                      <a:pt x="822" y="68"/>
                    </a:lnTo>
                    <a:lnTo>
                      <a:pt x="844" y="80"/>
                    </a:lnTo>
                    <a:lnTo>
                      <a:pt x="864" y="94"/>
                    </a:lnTo>
                    <a:lnTo>
                      <a:pt x="885" y="108"/>
                    </a:lnTo>
                    <a:lnTo>
                      <a:pt x="904" y="123"/>
                    </a:lnTo>
                    <a:lnTo>
                      <a:pt x="922" y="138"/>
                    </a:lnTo>
                    <a:lnTo>
                      <a:pt x="940" y="155"/>
                    </a:lnTo>
                    <a:lnTo>
                      <a:pt x="956" y="173"/>
                    </a:lnTo>
                    <a:lnTo>
                      <a:pt x="972" y="191"/>
                    </a:lnTo>
                    <a:lnTo>
                      <a:pt x="988" y="210"/>
                    </a:lnTo>
                    <a:lnTo>
                      <a:pt x="1001" y="229"/>
                    </a:lnTo>
                    <a:lnTo>
                      <a:pt x="1013" y="249"/>
                    </a:lnTo>
                    <a:lnTo>
                      <a:pt x="1025" y="270"/>
                    </a:lnTo>
                    <a:lnTo>
                      <a:pt x="1036" y="292"/>
                    </a:lnTo>
                    <a:lnTo>
                      <a:pt x="1046" y="314"/>
                    </a:lnTo>
                    <a:lnTo>
                      <a:pt x="1053" y="337"/>
                    </a:lnTo>
                    <a:lnTo>
                      <a:pt x="1060" y="360"/>
                    </a:lnTo>
                    <a:lnTo>
                      <a:pt x="1066" y="384"/>
                    </a:lnTo>
                    <a:lnTo>
                      <a:pt x="1070" y="408"/>
                    </a:lnTo>
                    <a:lnTo>
                      <a:pt x="1073" y="432"/>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582"/>
              <p:cNvSpPr>
                <a:spLocks/>
              </p:cNvSpPr>
              <p:nvPr/>
            </p:nvSpPr>
            <p:spPr bwMode="auto">
              <a:xfrm>
                <a:off x="6399315" y="2007265"/>
                <a:ext cx="833610" cy="746841"/>
              </a:xfrm>
              <a:custGeom>
                <a:avLst/>
                <a:gdLst>
                  <a:gd name="T0" fmla="*/ 1075 w 1075"/>
                  <a:gd name="T1" fmla="*/ 457 h 964"/>
                  <a:gd name="T2" fmla="*/ 1071 w 1075"/>
                  <a:gd name="T3" fmla="*/ 530 h 964"/>
                  <a:gd name="T4" fmla="*/ 1056 w 1075"/>
                  <a:gd name="T5" fmla="*/ 600 h 964"/>
                  <a:gd name="T6" fmla="*/ 1030 w 1075"/>
                  <a:gd name="T7" fmla="*/ 667 h 964"/>
                  <a:gd name="T8" fmla="*/ 994 w 1075"/>
                  <a:gd name="T9" fmla="*/ 729 h 964"/>
                  <a:gd name="T10" fmla="*/ 948 w 1075"/>
                  <a:gd name="T11" fmla="*/ 786 h 964"/>
                  <a:gd name="T12" fmla="*/ 893 w 1075"/>
                  <a:gd name="T13" fmla="*/ 837 h 964"/>
                  <a:gd name="T14" fmla="*/ 832 w 1075"/>
                  <a:gd name="T15" fmla="*/ 879 h 964"/>
                  <a:gd name="T16" fmla="*/ 764 w 1075"/>
                  <a:gd name="T17" fmla="*/ 916 h 964"/>
                  <a:gd name="T18" fmla="*/ 689 w 1075"/>
                  <a:gd name="T19" fmla="*/ 942 h 964"/>
                  <a:gd name="T20" fmla="*/ 609 w 1075"/>
                  <a:gd name="T21" fmla="*/ 958 h 964"/>
                  <a:gd name="T22" fmla="*/ 555 w 1075"/>
                  <a:gd name="T23" fmla="*/ 964 h 964"/>
                  <a:gd name="T24" fmla="*/ 474 w 1075"/>
                  <a:gd name="T25" fmla="*/ 962 h 964"/>
                  <a:gd name="T26" fmla="*/ 395 w 1075"/>
                  <a:gd name="T27" fmla="*/ 950 h 964"/>
                  <a:gd name="T28" fmla="*/ 321 w 1075"/>
                  <a:gd name="T29" fmla="*/ 928 h 964"/>
                  <a:gd name="T30" fmla="*/ 252 w 1075"/>
                  <a:gd name="T31" fmla="*/ 896 h 964"/>
                  <a:gd name="T32" fmla="*/ 189 w 1075"/>
                  <a:gd name="T33" fmla="*/ 856 h 964"/>
                  <a:gd name="T34" fmla="*/ 135 w 1075"/>
                  <a:gd name="T35" fmla="*/ 809 h 964"/>
                  <a:gd name="T36" fmla="*/ 88 w 1075"/>
                  <a:gd name="T37" fmla="*/ 755 h 964"/>
                  <a:gd name="T38" fmla="*/ 49 w 1075"/>
                  <a:gd name="T39" fmla="*/ 694 h 964"/>
                  <a:gd name="T40" fmla="*/ 21 w 1075"/>
                  <a:gd name="T41" fmla="*/ 628 h 964"/>
                  <a:gd name="T42" fmla="*/ 4 w 1075"/>
                  <a:gd name="T43" fmla="*/ 557 h 964"/>
                  <a:gd name="T44" fmla="*/ 0 w 1075"/>
                  <a:gd name="T45" fmla="*/ 507 h 964"/>
                  <a:gd name="T46" fmla="*/ 3 w 1075"/>
                  <a:gd name="T47" fmla="*/ 434 h 964"/>
                  <a:gd name="T48" fmla="*/ 19 w 1075"/>
                  <a:gd name="T49" fmla="*/ 364 h 964"/>
                  <a:gd name="T50" fmla="*/ 44 w 1075"/>
                  <a:gd name="T51" fmla="*/ 298 h 964"/>
                  <a:gd name="T52" fmla="*/ 81 w 1075"/>
                  <a:gd name="T53" fmla="*/ 235 h 964"/>
                  <a:gd name="T54" fmla="*/ 127 w 1075"/>
                  <a:gd name="T55" fmla="*/ 178 h 964"/>
                  <a:gd name="T56" fmla="*/ 181 w 1075"/>
                  <a:gd name="T57" fmla="*/ 129 h 964"/>
                  <a:gd name="T58" fmla="*/ 243 w 1075"/>
                  <a:gd name="T59" fmla="*/ 85 h 964"/>
                  <a:gd name="T60" fmla="*/ 312 w 1075"/>
                  <a:gd name="T61" fmla="*/ 49 h 964"/>
                  <a:gd name="T62" fmla="*/ 385 w 1075"/>
                  <a:gd name="T63" fmla="*/ 22 h 964"/>
                  <a:gd name="T64" fmla="*/ 465 w 1075"/>
                  <a:gd name="T65" fmla="*/ 6 h 964"/>
                  <a:gd name="T66" fmla="*/ 520 w 1075"/>
                  <a:gd name="T67" fmla="*/ 0 h 964"/>
                  <a:gd name="T68" fmla="*/ 602 w 1075"/>
                  <a:gd name="T69" fmla="*/ 3 h 964"/>
                  <a:gd name="T70" fmla="*/ 679 w 1075"/>
                  <a:gd name="T71" fmla="*/ 15 h 964"/>
                  <a:gd name="T72" fmla="*/ 753 w 1075"/>
                  <a:gd name="T73" fmla="*/ 37 h 964"/>
                  <a:gd name="T74" fmla="*/ 822 w 1075"/>
                  <a:gd name="T75" fmla="*/ 68 h 964"/>
                  <a:gd name="T76" fmla="*/ 885 w 1075"/>
                  <a:gd name="T77" fmla="*/ 108 h 964"/>
                  <a:gd name="T78" fmla="*/ 940 w 1075"/>
                  <a:gd name="T79" fmla="*/ 155 h 964"/>
                  <a:gd name="T80" fmla="*/ 988 w 1075"/>
                  <a:gd name="T81" fmla="*/ 210 h 964"/>
                  <a:gd name="T82" fmla="*/ 1025 w 1075"/>
                  <a:gd name="T83" fmla="*/ 270 h 964"/>
                  <a:gd name="T84" fmla="*/ 1053 w 1075"/>
                  <a:gd name="T85" fmla="*/ 337 h 964"/>
                  <a:gd name="T86" fmla="*/ 1070 w 1075"/>
                  <a:gd name="T87" fmla="*/ 408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5" h="964">
                    <a:moveTo>
                      <a:pt x="1073" y="432"/>
                    </a:moveTo>
                    <a:lnTo>
                      <a:pt x="1073" y="432"/>
                    </a:lnTo>
                    <a:lnTo>
                      <a:pt x="1075" y="457"/>
                    </a:lnTo>
                    <a:lnTo>
                      <a:pt x="1075" y="482"/>
                    </a:lnTo>
                    <a:lnTo>
                      <a:pt x="1073" y="506"/>
                    </a:lnTo>
                    <a:lnTo>
                      <a:pt x="1071" y="530"/>
                    </a:lnTo>
                    <a:lnTo>
                      <a:pt x="1067" y="554"/>
                    </a:lnTo>
                    <a:lnTo>
                      <a:pt x="1063" y="577"/>
                    </a:lnTo>
                    <a:lnTo>
                      <a:pt x="1056" y="600"/>
                    </a:lnTo>
                    <a:lnTo>
                      <a:pt x="1048" y="623"/>
                    </a:lnTo>
                    <a:lnTo>
                      <a:pt x="1040" y="645"/>
                    </a:lnTo>
                    <a:lnTo>
                      <a:pt x="1030" y="667"/>
                    </a:lnTo>
                    <a:lnTo>
                      <a:pt x="1019" y="688"/>
                    </a:lnTo>
                    <a:lnTo>
                      <a:pt x="1007" y="709"/>
                    </a:lnTo>
                    <a:lnTo>
                      <a:pt x="994" y="729"/>
                    </a:lnTo>
                    <a:lnTo>
                      <a:pt x="979" y="749"/>
                    </a:lnTo>
                    <a:lnTo>
                      <a:pt x="965" y="768"/>
                    </a:lnTo>
                    <a:lnTo>
                      <a:pt x="948" y="786"/>
                    </a:lnTo>
                    <a:lnTo>
                      <a:pt x="931" y="803"/>
                    </a:lnTo>
                    <a:lnTo>
                      <a:pt x="913" y="820"/>
                    </a:lnTo>
                    <a:lnTo>
                      <a:pt x="893" y="837"/>
                    </a:lnTo>
                    <a:lnTo>
                      <a:pt x="874" y="852"/>
                    </a:lnTo>
                    <a:lnTo>
                      <a:pt x="853" y="866"/>
                    </a:lnTo>
                    <a:lnTo>
                      <a:pt x="832" y="879"/>
                    </a:lnTo>
                    <a:lnTo>
                      <a:pt x="810" y="893"/>
                    </a:lnTo>
                    <a:lnTo>
                      <a:pt x="787" y="905"/>
                    </a:lnTo>
                    <a:lnTo>
                      <a:pt x="764" y="916"/>
                    </a:lnTo>
                    <a:lnTo>
                      <a:pt x="740" y="925"/>
                    </a:lnTo>
                    <a:lnTo>
                      <a:pt x="714" y="934"/>
                    </a:lnTo>
                    <a:lnTo>
                      <a:pt x="689" y="942"/>
                    </a:lnTo>
                    <a:lnTo>
                      <a:pt x="663" y="948"/>
                    </a:lnTo>
                    <a:lnTo>
                      <a:pt x="637" y="954"/>
                    </a:lnTo>
                    <a:lnTo>
                      <a:pt x="609" y="958"/>
                    </a:lnTo>
                    <a:lnTo>
                      <a:pt x="582" y="962"/>
                    </a:lnTo>
                    <a:lnTo>
                      <a:pt x="582" y="962"/>
                    </a:lnTo>
                    <a:lnTo>
                      <a:pt x="555" y="964"/>
                    </a:lnTo>
                    <a:lnTo>
                      <a:pt x="527" y="964"/>
                    </a:lnTo>
                    <a:lnTo>
                      <a:pt x="500" y="964"/>
                    </a:lnTo>
                    <a:lnTo>
                      <a:pt x="474" y="962"/>
                    </a:lnTo>
                    <a:lnTo>
                      <a:pt x="447" y="959"/>
                    </a:lnTo>
                    <a:lnTo>
                      <a:pt x="420" y="954"/>
                    </a:lnTo>
                    <a:lnTo>
                      <a:pt x="395" y="950"/>
                    </a:lnTo>
                    <a:lnTo>
                      <a:pt x="370" y="943"/>
                    </a:lnTo>
                    <a:lnTo>
                      <a:pt x="345" y="936"/>
                    </a:lnTo>
                    <a:lnTo>
                      <a:pt x="321" y="928"/>
                    </a:lnTo>
                    <a:lnTo>
                      <a:pt x="298" y="918"/>
                    </a:lnTo>
                    <a:lnTo>
                      <a:pt x="275" y="907"/>
                    </a:lnTo>
                    <a:lnTo>
                      <a:pt x="252" y="896"/>
                    </a:lnTo>
                    <a:lnTo>
                      <a:pt x="231" y="884"/>
                    </a:lnTo>
                    <a:lnTo>
                      <a:pt x="210" y="871"/>
                    </a:lnTo>
                    <a:lnTo>
                      <a:pt x="189" y="856"/>
                    </a:lnTo>
                    <a:lnTo>
                      <a:pt x="171" y="842"/>
                    </a:lnTo>
                    <a:lnTo>
                      <a:pt x="152" y="826"/>
                    </a:lnTo>
                    <a:lnTo>
                      <a:pt x="135" y="809"/>
                    </a:lnTo>
                    <a:lnTo>
                      <a:pt x="118" y="792"/>
                    </a:lnTo>
                    <a:lnTo>
                      <a:pt x="102" y="774"/>
                    </a:lnTo>
                    <a:lnTo>
                      <a:pt x="88" y="755"/>
                    </a:lnTo>
                    <a:lnTo>
                      <a:pt x="73" y="736"/>
                    </a:lnTo>
                    <a:lnTo>
                      <a:pt x="61" y="715"/>
                    </a:lnTo>
                    <a:lnTo>
                      <a:pt x="49" y="694"/>
                    </a:lnTo>
                    <a:lnTo>
                      <a:pt x="38" y="673"/>
                    </a:lnTo>
                    <a:lnTo>
                      <a:pt x="30" y="651"/>
                    </a:lnTo>
                    <a:lnTo>
                      <a:pt x="21" y="628"/>
                    </a:lnTo>
                    <a:lnTo>
                      <a:pt x="14" y="605"/>
                    </a:lnTo>
                    <a:lnTo>
                      <a:pt x="9" y="581"/>
                    </a:lnTo>
                    <a:lnTo>
                      <a:pt x="4" y="557"/>
                    </a:lnTo>
                    <a:lnTo>
                      <a:pt x="2" y="532"/>
                    </a:lnTo>
                    <a:lnTo>
                      <a:pt x="2" y="532"/>
                    </a:lnTo>
                    <a:lnTo>
                      <a:pt x="0" y="507"/>
                    </a:lnTo>
                    <a:lnTo>
                      <a:pt x="0" y="483"/>
                    </a:lnTo>
                    <a:lnTo>
                      <a:pt x="1" y="459"/>
                    </a:lnTo>
                    <a:lnTo>
                      <a:pt x="3" y="434"/>
                    </a:lnTo>
                    <a:lnTo>
                      <a:pt x="7" y="412"/>
                    </a:lnTo>
                    <a:lnTo>
                      <a:pt x="12" y="387"/>
                    </a:lnTo>
                    <a:lnTo>
                      <a:pt x="19" y="364"/>
                    </a:lnTo>
                    <a:lnTo>
                      <a:pt x="26" y="341"/>
                    </a:lnTo>
                    <a:lnTo>
                      <a:pt x="35" y="320"/>
                    </a:lnTo>
                    <a:lnTo>
                      <a:pt x="44" y="298"/>
                    </a:lnTo>
                    <a:lnTo>
                      <a:pt x="55" y="276"/>
                    </a:lnTo>
                    <a:lnTo>
                      <a:pt x="67" y="256"/>
                    </a:lnTo>
                    <a:lnTo>
                      <a:pt x="81" y="235"/>
                    </a:lnTo>
                    <a:lnTo>
                      <a:pt x="95" y="216"/>
                    </a:lnTo>
                    <a:lnTo>
                      <a:pt x="111" y="198"/>
                    </a:lnTo>
                    <a:lnTo>
                      <a:pt x="127" y="178"/>
                    </a:lnTo>
                    <a:lnTo>
                      <a:pt x="144" y="161"/>
                    </a:lnTo>
                    <a:lnTo>
                      <a:pt x="162" y="144"/>
                    </a:lnTo>
                    <a:lnTo>
                      <a:pt x="181" y="129"/>
                    </a:lnTo>
                    <a:lnTo>
                      <a:pt x="200" y="113"/>
                    </a:lnTo>
                    <a:lnTo>
                      <a:pt x="221" y="98"/>
                    </a:lnTo>
                    <a:lnTo>
                      <a:pt x="243" y="85"/>
                    </a:lnTo>
                    <a:lnTo>
                      <a:pt x="264" y="72"/>
                    </a:lnTo>
                    <a:lnTo>
                      <a:pt x="287" y="60"/>
                    </a:lnTo>
                    <a:lnTo>
                      <a:pt x="312" y="49"/>
                    </a:lnTo>
                    <a:lnTo>
                      <a:pt x="336" y="39"/>
                    </a:lnTo>
                    <a:lnTo>
                      <a:pt x="360" y="31"/>
                    </a:lnTo>
                    <a:lnTo>
                      <a:pt x="385" y="22"/>
                    </a:lnTo>
                    <a:lnTo>
                      <a:pt x="412" y="16"/>
                    </a:lnTo>
                    <a:lnTo>
                      <a:pt x="439" y="10"/>
                    </a:lnTo>
                    <a:lnTo>
                      <a:pt x="465" y="6"/>
                    </a:lnTo>
                    <a:lnTo>
                      <a:pt x="493" y="3"/>
                    </a:lnTo>
                    <a:lnTo>
                      <a:pt x="493" y="3"/>
                    </a:lnTo>
                    <a:lnTo>
                      <a:pt x="520" y="0"/>
                    </a:lnTo>
                    <a:lnTo>
                      <a:pt x="547" y="0"/>
                    </a:lnTo>
                    <a:lnTo>
                      <a:pt x="575" y="0"/>
                    </a:lnTo>
                    <a:lnTo>
                      <a:pt x="602" y="3"/>
                    </a:lnTo>
                    <a:lnTo>
                      <a:pt x="628" y="5"/>
                    </a:lnTo>
                    <a:lnTo>
                      <a:pt x="654" y="10"/>
                    </a:lnTo>
                    <a:lnTo>
                      <a:pt x="679" y="15"/>
                    </a:lnTo>
                    <a:lnTo>
                      <a:pt x="705" y="21"/>
                    </a:lnTo>
                    <a:lnTo>
                      <a:pt x="729" y="28"/>
                    </a:lnTo>
                    <a:lnTo>
                      <a:pt x="753" y="37"/>
                    </a:lnTo>
                    <a:lnTo>
                      <a:pt x="777" y="46"/>
                    </a:lnTo>
                    <a:lnTo>
                      <a:pt x="800" y="57"/>
                    </a:lnTo>
                    <a:lnTo>
                      <a:pt x="822" y="68"/>
                    </a:lnTo>
                    <a:lnTo>
                      <a:pt x="844" y="80"/>
                    </a:lnTo>
                    <a:lnTo>
                      <a:pt x="864" y="94"/>
                    </a:lnTo>
                    <a:lnTo>
                      <a:pt x="885" y="108"/>
                    </a:lnTo>
                    <a:lnTo>
                      <a:pt x="904" y="123"/>
                    </a:lnTo>
                    <a:lnTo>
                      <a:pt x="922" y="138"/>
                    </a:lnTo>
                    <a:lnTo>
                      <a:pt x="940" y="155"/>
                    </a:lnTo>
                    <a:lnTo>
                      <a:pt x="956" y="173"/>
                    </a:lnTo>
                    <a:lnTo>
                      <a:pt x="972" y="191"/>
                    </a:lnTo>
                    <a:lnTo>
                      <a:pt x="988" y="210"/>
                    </a:lnTo>
                    <a:lnTo>
                      <a:pt x="1001" y="229"/>
                    </a:lnTo>
                    <a:lnTo>
                      <a:pt x="1013" y="249"/>
                    </a:lnTo>
                    <a:lnTo>
                      <a:pt x="1025" y="270"/>
                    </a:lnTo>
                    <a:lnTo>
                      <a:pt x="1036" y="292"/>
                    </a:lnTo>
                    <a:lnTo>
                      <a:pt x="1046" y="314"/>
                    </a:lnTo>
                    <a:lnTo>
                      <a:pt x="1053" y="337"/>
                    </a:lnTo>
                    <a:lnTo>
                      <a:pt x="1060" y="360"/>
                    </a:lnTo>
                    <a:lnTo>
                      <a:pt x="1066" y="384"/>
                    </a:lnTo>
                    <a:lnTo>
                      <a:pt x="1070" y="408"/>
                    </a:lnTo>
                    <a:lnTo>
                      <a:pt x="1073" y="432"/>
                    </a:lnTo>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584"/>
              <p:cNvSpPr>
                <a:spLocks/>
              </p:cNvSpPr>
              <p:nvPr/>
            </p:nvSpPr>
            <p:spPr bwMode="auto">
              <a:xfrm>
                <a:off x="6703009" y="2047550"/>
                <a:ext cx="244816" cy="49583"/>
              </a:xfrm>
              <a:custGeom>
                <a:avLst/>
                <a:gdLst>
                  <a:gd name="T0" fmla="*/ 0 w 318"/>
                  <a:gd name="T1" fmla="*/ 23 h 65"/>
                  <a:gd name="T2" fmla="*/ 0 w 318"/>
                  <a:gd name="T3" fmla="*/ 23 h 65"/>
                  <a:gd name="T4" fmla="*/ 7 w 318"/>
                  <a:gd name="T5" fmla="*/ 21 h 65"/>
                  <a:gd name="T6" fmla="*/ 25 w 318"/>
                  <a:gd name="T7" fmla="*/ 16 h 65"/>
                  <a:gd name="T8" fmla="*/ 56 w 318"/>
                  <a:gd name="T9" fmla="*/ 10 h 65"/>
                  <a:gd name="T10" fmla="*/ 74 w 318"/>
                  <a:gd name="T11" fmla="*/ 6 h 65"/>
                  <a:gd name="T12" fmla="*/ 94 w 318"/>
                  <a:gd name="T13" fmla="*/ 4 h 65"/>
                  <a:gd name="T14" fmla="*/ 117 w 318"/>
                  <a:gd name="T15" fmla="*/ 1 h 65"/>
                  <a:gd name="T16" fmla="*/ 141 w 318"/>
                  <a:gd name="T17" fmla="*/ 0 h 65"/>
                  <a:gd name="T18" fmla="*/ 168 w 318"/>
                  <a:gd name="T19" fmla="*/ 0 h 65"/>
                  <a:gd name="T20" fmla="*/ 196 w 318"/>
                  <a:gd name="T21" fmla="*/ 1 h 65"/>
                  <a:gd name="T22" fmla="*/ 225 w 318"/>
                  <a:gd name="T23" fmla="*/ 2 h 65"/>
                  <a:gd name="T24" fmla="*/ 255 w 318"/>
                  <a:gd name="T25" fmla="*/ 7 h 65"/>
                  <a:gd name="T26" fmla="*/ 287 w 318"/>
                  <a:gd name="T27" fmla="*/ 13 h 65"/>
                  <a:gd name="T28" fmla="*/ 318 w 318"/>
                  <a:gd name="T29" fmla="*/ 21 h 65"/>
                  <a:gd name="T30" fmla="*/ 316 w 318"/>
                  <a:gd name="T31" fmla="*/ 62 h 65"/>
                  <a:gd name="T32" fmla="*/ 316 w 318"/>
                  <a:gd name="T33" fmla="*/ 62 h 65"/>
                  <a:gd name="T34" fmla="*/ 310 w 318"/>
                  <a:gd name="T35" fmla="*/ 60 h 65"/>
                  <a:gd name="T36" fmla="*/ 291 w 318"/>
                  <a:gd name="T37" fmla="*/ 56 h 65"/>
                  <a:gd name="T38" fmla="*/ 262 w 318"/>
                  <a:gd name="T39" fmla="*/ 50 h 65"/>
                  <a:gd name="T40" fmla="*/ 224 w 318"/>
                  <a:gd name="T41" fmla="*/ 45 h 65"/>
                  <a:gd name="T42" fmla="*/ 202 w 318"/>
                  <a:gd name="T43" fmla="*/ 44 h 65"/>
                  <a:gd name="T44" fmla="*/ 178 w 318"/>
                  <a:gd name="T45" fmla="*/ 42 h 65"/>
                  <a:gd name="T46" fmla="*/ 151 w 318"/>
                  <a:gd name="T47" fmla="*/ 42 h 65"/>
                  <a:gd name="T48" fmla="*/ 123 w 318"/>
                  <a:gd name="T49" fmla="*/ 44 h 65"/>
                  <a:gd name="T50" fmla="*/ 96 w 318"/>
                  <a:gd name="T51" fmla="*/ 46 h 65"/>
                  <a:gd name="T52" fmla="*/ 65 w 318"/>
                  <a:gd name="T53" fmla="*/ 51 h 65"/>
                  <a:gd name="T54" fmla="*/ 34 w 318"/>
                  <a:gd name="T55" fmla="*/ 57 h 65"/>
                  <a:gd name="T56" fmla="*/ 2 w 318"/>
                  <a:gd name="T57" fmla="*/ 65 h 65"/>
                  <a:gd name="T58" fmla="*/ 0 w 318"/>
                  <a:gd name="T59" fmla="*/ 2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8" h="65">
                    <a:moveTo>
                      <a:pt x="0" y="23"/>
                    </a:moveTo>
                    <a:lnTo>
                      <a:pt x="0" y="23"/>
                    </a:lnTo>
                    <a:lnTo>
                      <a:pt x="7" y="21"/>
                    </a:lnTo>
                    <a:lnTo>
                      <a:pt x="25" y="16"/>
                    </a:lnTo>
                    <a:lnTo>
                      <a:pt x="56" y="10"/>
                    </a:lnTo>
                    <a:lnTo>
                      <a:pt x="74" y="6"/>
                    </a:lnTo>
                    <a:lnTo>
                      <a:pt x="94" y="4"/>
                    </a:lnTo>
                    <a:lnTo>
                      <a:pt x="117" y="1"/>
                    </a:lnTo>
                    <a:lnTo>
                      <a:pt x="141" y="0"/>
                    </a:lnTo>
                    <a:lnTo>
                      <a:pt x="168" y="0"/>
                    </a:lnTo>
                    <a:lnTo>
                      <a:pt x="196" y="1"/>
                    </a:lnTo>
                    <a:lnTo>
                      <a:pt x="225" y="2"/>
                    </a:lnTo>
                    <a:lnTo>
                      <a:pt x="255" y="7"/>
                    </a:lnTo>
                    <a:lnTo>
                      <a:pt x="287" y="13"/>
                    </a:lnTo>
                    <a:lnTo>
                      <a:pt x="318" y="21"/>
                    </a:lnTo>
                    <a:lnTo>
                      <a:pt x="316" y="62"/>
                    </a:lnTo>
                    <a:lnTo>
                      <a:pt x="316" y="62"/>
                    </a:lnTo>
                    <a:lnTo>
                      <a:pt x="310" y="60"/>
                    </a:lnTo>
                    <a:lnTo>
                      <a:pt x="291" y="56"/>
                    </a:lnTo>
                    <a:lnTo>
                      <a:pt x="262" y="50"/>
                    </a:lnTo>
                    <a:lnTo>
                      <a:pt x="224" y="45"/>
                    </a:lnTo>
                    <a:lnTo>
                      <a:pt x="202" y="44"/>
                    </a:lnTo>
                    <a:lnTo>
                      <a:pt x="178" y="42"/>
                    </a:lnTo>
                    <a:lnTo>
                      <a:pt x="151" y="42"/>
                    </a:lnTo>
                    <a:lnTo>
                      <a:pt x="123" y="44"/>
                    </a:lnTo>
                    <a:lnTo>
                      <a:pt x="96" y="46"/>
                    </a:lnTo>
                    <a:lnTo>
                      <a:pt x="65" y="51"/>
                    </a:lnTo>
                    <a:lnTo>
                      <a:pt x="34" y="57"/>
                    </a:lnTo>
                    <a:lnTo>
                      <a:pt x="2" y="65"/>
                    </a:lnTo>
                    <a:lnTo>
                      <a:pt x="0" y="2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585"/>
              <p:cNvSpPr>
                <a:spLocks/>
              </p:cNvSpPr>
              <p:nvPr/>
            </p:nvSpPr>
            <p:spPr bwMode="auto">
              <a:xfrm>
                <a:off x="6703009" y="2047550"/>
                <a:ext cx="244816" cy="49583"/>
              </a:xfrm>
              <a:custGeom>
                <a:avLst/>
                <a:gdLst>
                  <a:gd name="T0" fmla="*/ 0 w 318"/>
                  <a:gd name="T1" fmla="*/ 23 h 65"/>
                  <a:gd name="T2" fmla="*/ 0 w 318"/>
                  <a:gd name="T3" fmla="*/ 23 h 65"/>
                  <a:gd name="T4" fmla="*/ 7 w 318"/>
                  <a:gd name="T5" fmla="*/ 21 h 65"/>
                  <a:gd name="T6" fmla="*/ 25 w 318"/>
                  <a:gd name="T7" fmla="*/ 16 h 65"/>
                  <a:gd name="T8" fmla="*/ 56 w 318"/>
                  <a:gd name="T9" fmla="*/ 10 h 65"/>
                  <a:gd name="T10" fmla="*/ 74 w 318"/>
                  <a:gd name="T11" fmla="*/ 6 h 65"/>
                  <a:gd name="T12" fmla="*/ 94 w 318"/>
                  <a:gd name="T13" fmla="*/ 4 h 65"/>
                  <a:gd name="T14" fmla="*/ 117 w 318"/>
                  <a:gd name="T15" fmla="*/ 1 h 65"/>
                  <a:gd name="T16" fmla="*/ 141 w 318"/>
                  <a:gd name="T17" fmla="*/ 0 h 65"/>
                  <a:gd name="T18" fmla="*/ 168 w 318"/>
                  <a:gd name="T19" fmla="*/ 0 h 65"/>
                  <a:gd name="T20" fmla="*/ 196 w 318"/>
                  <a:gd name="T21" fmla="*/ 1 h 65"/>
                  <a:gd name="T22" fmla="*/ 225 w 318"/>
                  <a:gd name="T23" fmla="*/ 2 h 65"/>
                  <a:gd name="T24" fmla="*/ 255 w 318"/>
                  <a:gd name="T25" fmla="*/ 7 h 65"/>
                  <a:gd name="T26" fmla="*/ 287 w 318"/>
                  <a:gd name="T27" fmla="*/ 13 h 65"/>
                  <a:gd name="T28" fmla="*/ 318 w 318"/>
                  <a:gd name="T29" fmla="*/ 21 h 65"/>
                  <a:gd name="T30" fmla="*/ 316 w 318"/>
                  <a:gd name="T31" fmla="*/ 62 h 65"/>
                  <a:gd name="T32" fmla="*/ 316 w 318"/>
                  <a:gd name="T33" fmla="*/ 62 h 65"/>
                  <a:gd name="T34" fmla="*/ 310 w 318"/>
                  <a:gd name="T35" fmla="*/ 60 h 65"/>
                  <a:gd name="T36" fmla="*/ 291 w 318"/>
                  <a:gd name="T37" fmla="*/ 56 h 65"/>
                  <a:gd name="T38" fmla="*/ 262 w 318"/>
                  <a:gd name="T39" fmla="*/ 50 h 65"/>
                  <a:gd name="T40" fmla="*/ 224 w 318"/>
                  <a:gd name="T41" fmla="*/ 45 h 65"/>
                  <a:gd name="T42" fmla="*/ 202 w 318"/>
                  <a:gd name="T43" fmla="*/ 44 h 65"/>
                  <a:gd name="T44" fmla="*/ 178 w 318"/>
                  <a:gd name="T45" fmla="*/ 42 h 65"/>
                  <a:gd name="T46" fmla="*/ 151 w 318"/>
                  <a:gd name="T47" fmla="*/ 42 h 65"/>
                  <a:gd name="T48" fmla="*/ 123 w 318"/>
                  <a:gd name="T49" fmla="*/ 44 h 65"/>
                  <a:gd name="T50" fmla="*/ 96 w 318"/>
                  <a:gd name="T51" fmla="*/ 46 h 65"/>
                  <a:gd name="T52" fmla="*/ 65 w 318"/>
                  <a:gd name="T53" fmla="*/ 51 h 65"/>
                  <a:gd name="T54" fmla="*/ 34 w 318"/>
                  <a:gd name="T55" fmla="*/ 57 h 65"/>
                  <a:gd name="T56" fmla="*/ 2 w 318"/>
                  <a:gd name="T57" fmla="*/ 65 h 65"/>
                  <a:gd name="T58" fmla="*/ 0 w 318"/>
                  <a:gd name="T59" fmla="*/ 2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8" h="65">
                    <a:moveTo>
                      <a:pt x="0" y="23"/>
                    </a:moveTo>
                    <a:lnTo>
                      <a:pt x="0" y="23"/>
                    </a:lnTo>
                    <a:lnTo>
                      <a:pt x="7" y="21"/>
                    </a:lnTo>
                    <a:lnTo>
                      <a:pt x="25" y="16"/>
                    </a:lnTo>
                    <a:lnTo>
                      <a:pt x="56" y="10"/>
                    </a:lnTo>
                    <a:lnTo>
                      <a:pt x="74" y="6"/>
                    </a:lnTo>
                    <a:lnTo>
                      <a:pt x="94" y="4"/>
                    </a:lnTo>
                    <a:lnTo>
                      <a:pt x="117" y="1"/>
                    </a:lnTo>
                    <a:lnTo>
                      <a:pt x="141" y="0"/>
                    </a:lnTo>
                    <a:lnTo>
                      <a:pt x="168" y="0"/>
                    </a:lnTo>
                    <a:lnTo>
                      <a:pt x="196" y="1"/>
                    </a:lnTo>
                    <a:lnTo>
                      <a:pt x="225" y="2"/>
                    </a:lnTo>
                    <a:lnTo>
                      <a:pt x="255" y="7"/>
                    </a:lnTo>
                    <a:lnTo>
                      <a:pt x="287" y="13"/>
                    </a:lnTo>
                    <a:lnTo>
                      <a:pt x="318" y="21"/>
                    </a:lnTo>
                    <a:lnTo>
                      <a:pt x="316" y="62"/>
                    </a:lnTo>
                    <a:lnTo>
                      <a:pt x="316" y="62"/>
                    </a:lnTo>
                    <a:lnTo>
                      <a:pt x="310" y="60"/>
                    </a:lnTo>
                    <a:lnTo>
                      <a:pt x="291" y="56"/>
                    </a:lnTo>
                    <a:lnTo>
                      <a:pt x="262" y="50"/>
                    </a:lnTo>
                    <a:lnTo>
                      <a:pt x="224" y="45"/>
                    </a:lnTo>
                    <a:lnTo>
                      <a:pt x="202" y="44"/>
                    </a:lnTo>
                    <a:lnTo>
                      <a:pt x="178" y="42"/>
                    </a:lnTo>
                    <a:lnTo>
                      <a:pt x="151" y="42"/>
                    </a:lnTo>
                    <a:lnTo>
                      <a:pt x="123" y="44"/>
                    </a:lnTo>
                    <a:lnTo>
                      <a:pt x="96" y="46"/>
                    </a:lnTo>
                    <a:lnTo>
                      <a:pt x="65" y="51"/>
                    </a:lnTo>
                    <a:lnTo>
                      <a:pt x="34" y="57"/>
                    </a:lnTo>
                    <a:lnTo>
                      <a:pt x="2" y="65"/>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6"/>
              <p:cNvSpPr>
                <a:spLocks/>
              </p:cNvSpPr>
              <p:nvPr/>
            </p:nvSpPr>
            <p:spPr bwMode="auto">
              <a:xfrm>
                <a:off x="6433402" y="2078540"/>
                <a:ext cx="114661" cy="136352"/>
              </a:xfrm>
              <a:custGeom>
                <a:avLst/>
                <a:gdLst>
                  <a:gd name="T0" fmla="*/ 36 w 146"/>
                  <a:gd name="T1" fmla="*/ 176 h 176"/>
                  <a:gd name="T2" fmla="*/ 36 w 146"/>
                  <a:gd name="T3" fmla="*/ 176 h 176"/>
                  <a:gd name="T4" fmla="*/ 27 w 146"/>
                  <a:gd name="T5" fmla="*/ 151 h 176"/>
                  <a:gd name="T6" fmla="*/ 18 w 146"/>
                  <a:gd name="T7" fmla="*/ 126 h 176"/>
                  <a:gd name="T8" fmla="*/ 10 w 146"/>
                  <a:gd name="T9" fmla="*/ 95 h 176"/>
                  <a:gd name="T10" fmla="*/ 6 w 146"/>
                  <a:gd name="T11" fmla="*/ 80 h 176"/>
                  <a:gd name="T12" fmla="*/ 2 w 146"/>
                  <a:gd name="T13" fmla="*/ 64 h 176"/>
                  <a:gd name="T14" fmla="*/ 1 w 146"/>
                  <a:gd name="T15" fmla="*/ 49 h 176"/>
                  <a:gd name="T16" fmla="*/ 0 w 146"/>
                  <a:gd name="T17" fmla="*/ 36 h 176"/>
                  <a:gd name="T18" fmla="*/ 1 w 146"/>
                  <a:gd name="T19" fmla="*/ 24 h 176"/>
                  <a:gd name="T20" fmla="*/ 4 w 146"/>
                  <a:gd name="T21" fmla="*/ 14 h 176"/>
                  <a:gd name="T22" fmla="*/ 6 w 146"/>
                  <a:gd name="T23" fmla="*/ 11 h 176"/>
                  <a:gd name="T24" fmla="*/ 8 w 146"/>
                  <a:gd name="T25" fmla="*/ 7 h 176"/>
                  <a:gd name="T26" fmla="*/ 12 w 146"/>
                  <a:gd name="T27" fmla="*/ 5 h 176"/>
                  <a:gd name="T28" fmla="*/ 16 w 146"/>
                  <a:gd name="T29" fmla="*/ 2 h 176"/>
                  <a:gd name="T30" fmla="*/ 16 w 146"/>
                  <a:gd name="T31" fmla="*/ 2 h 176"/>
                  <a:gd name="T32" fmla="*/ 24 w 146"/>
                  <a:gd name="T33" fmla="*/ 1 h 176"/>
                  <a:gd name="T34" fmla="*/ 34 w 146"/>
                  <a:gd name="T35" fmla="*/ 0 h 176"/>
                  <a:gd name="T36" fmla="*/ 43 w 146"/>
                  <a:gd name="T37" fmla="*/ 1 h 176"/>
                  <a:gd name="T38" fmla="*/ 54 w 146"/>
                  <a:gd name="T39" fmla="*/ 4 h 176"/>
                  <a:gd name="T40" fmla="*/ 75 w 146"/>
                  <a:gd name="T41" fmla="*/ 10 h 176"/>
                  <a:gd name="T42" fmla="*/ 97 w 146"/>
                  <a:gd name="T43" fmla="*/ 18 h 176"/>
                  <a:gd name="T44" fmla="*/ 116 w 146"/>
                  <a:gd name="T45" fmla="*/ 26 h 176"/>
                  <a:gd name="T46" fmla="*/ 132 w 146"/>
                  <a:gd name="T47" fmla="*/ 35 h 176"/>
                  <a:gd name="T48" fmla="*/ 146 w 146"/>
                  <a:gd name="T49" fmla="*/ 43 h 176"/>
                  <a:gd name="T50" fmla="*/ 36 w 146"/>
                  <a:gd name="T5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6">
                    <a:moveTo>
                      <a:pt x="36" y="176"/>
                    </a:moveTo>
                    <a:lnTo>
                      <a:pt x="36" y="176"/>
                    </a:lnTo>
                    <a:lnTo>
                      <a:pt x="27" y="151"/>
                    </a:lnTo>
                    <a:lnTo>
                      <a:pt x="18" y="126"/>
                    </a:lnTo>
                    <a:lnTo>
                      <a:pt x="10" y="95"/>
                    </a:lnTo>
                    <a:lnTo>
                      <a:pt x="6" y="80"/>
                    </a:lnTo>
                    <a:lnTo>
                      <a:pt x="2" y="64"/>
                    </a:lnTo>
                    <a:lnTo>
                      <a:pt x="1" y="49"/>
                    </a:lnTo>
                    <a:lnTo>
                      <a:pt x="0" y="36"/>
                    </a:lnTo>
                    <a:lnTo>
                      <a:pt x="1" y="24"/>
                    </a:lnTo>
                    <a:lnTo>
                      <a:pt x="4" y="14"/>
                    </a:lnTo>
                    <a:lnTo>
                      <a:pt x="6" y="11"/>
                    </a:lnTo>
                    <a:lnTo>
                      <a:pt x="8" y="7"/>
                    </a:lnTo>
                    <a:lnTo>
                      <a:pt x="12" y="5"/>
                    </a:lnTo>
                    <a:lnTo>
                      <a:pt x="16" y="2"/>
                    </a:lnTo>
                    <a:lnTo>
                      <a:pt x="16" y="2"/>
                    </a:lnTo>
                    <a:lnTo>
                      <a:pt x="24" y="1"/>
                    </a:lnTo>
                    <a:lnTo>
                      <a:pt x="34" y="0"/>
                    </a:lnTo>
                    <a:lnTo>
                      <a:pt x="43" y="1"/>
                    </a:lnTo>
                    <a:lnTo>
                      <a:pt x="54" y="4"/>
                    </a:lnTo>
                    <a:lnTo>
                      <a:pt x="75" y="10"/>
                    </a:lnTo>
                    <a:lnTo>
                      <a:pt x="97" y="18"/>
                    </a:lnTo>
                    <a:lnTo>
                      <a:pt x="116" y="26"/>
                    </a:lnTo>
                    <a:lnTo>
                      <a:pt x="132" y="35"/>
                    </a:lnTo>
                    <a:lnTo>
                      <a:pt x="146" y="43"/>
                    </a:lnTo>
                    <a:lnTo>
                      <a:pt x="36" y="176"/>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587"/>
              <p:cNvSpPr>
                <a:spLocks/>
              </p:cNvSpPr>
              <p:nvPr/>
            </p:nvSpPr>
            <p:spPr bwMode="auto">
              <a:xfrm>
                <a:off x="6433402" y="2078540"/>
                <a:ext cx="114661" cy="136352"/>
              </a:xfrm>
              <a:custGeom>
                <a:avLst/>
                <a:gdLst>
                  <a:gd name="T0" fmla="*/ 36 w 146"/>
                  <a:gd name="T1" fmla="*/ 176 h 176"/>
                  <a:gd name="T2" fmla="*/ 36 w 146"/>
                  <a:gd name="T3" fmla="*/ 176 h 176"/>
                  <a:gd name="T4" fmla="*/ 27 w 146"/>
                  <a:gd name="T5" fmla="*/ 151 h 176"/>
                  <a:gd name="T6" fmla="*/ 18 w 146"/>
                  <a:gd name="T7" fmla="*/ 126 h 176"/>
                  <a:gd name="T8" fmla="*/ 10 w 146"/>
                  <a:gd name="T9" fmla="*/ 95 h 176"/>
                  <a:gd name="T10" fmla="*/ 6 w 146"/>
                  <a:gd name="T11" fmla="*/ 80 h 176"/>
                  <a:gd name="T12" fmla="*/ 2 w 146"/>
                  <a:gd name="T13" fmla="*/ 64 h 176"/>
                  <a:gd name="T14" fmla="*/ 1 w 146"/>
                  <a:gd name="T15" fmla="*/ 49 h 176"/>
                  <a:gd name="T16" fmla="*/ 0 w 146"/>
                  <a:gd name="T17" fmla="*/ 36 h 176"/>
                  <a:gd name="T18" fmla="*/ 1 w 146"/>
                  <a:gd name="T19" fmla="*/ 24 h 176"/>
                  <a:gd name="T20" fmla="*/ 4 w 146"/>
                  <a:gd name="T21" fmla="*/ 14 h 176"/>
                  <a:gd name="T22" fmla="*/ 6 w 146"/>
                  <a:gd name="T23" fmla="*/ 11 h 176"/>
                  <a:gd name="T24" fmla="*/ 8 w 146"/>
                  <a:gd name="T25" fmla="*/ 7 h 176"/>
                  <a:gd name="T26" fmla="*/ 12 w 146"/>
                  <a:gd name="T27" fmla="*/ 5 h 176"/>
                  <a:gd name="T28" fmla="*/ 16 w 146"/>
                  <a:gd name="T29" fmla="*/ 2 h 176"/>
                  <a:gd name="T30" fmla="*/ 16 w 146"/>
                  <a:gd name="T31" fmla="*/ 2 h 176"/>
                  <a:gd name="T32" fmla="*/ 24 w 146"/>
                  <a:gd name="T33" fmla="*/ 1 h 176"/>
                  <a:gd name="T34" fmla="*/ 34 w 146"/>
                  <a:gd name="T35" fmla="*/ 0 h 176"/>
                  <a:gd name="T36" fmla="*/ 43 w 146"/>
                  <a:gd name="T37" fmla="*/ 1 h 176"/>
                  <a:gd name="T38" fmla="*/ 54 w 146"/>
                  <a:gd name="T39" fmla="*/ 4 h 176"/>
                  <a:gd name="T40" fmla="*/ 75 w 146"/>
                  <a:gd name="T41" fmla="*/ 10 h 176"/>
                  <a:gd name="T42" fmla="*/ 97 w 146"/>
                  <a:gd name="T43" fmla="*/ 18 h 176"/>
                  <a:gd name="T44" fmla="*/ 116 w 146"/>
                  <a:gd name="T45" fmla="*/ 26 h 176"/>
                  <a:gd name="T46" fmla="*/ 132 w 146"/>
                  <a:gd name="T47" fmla="*/ 35 h 176"/>
                  <a:gd name="T48" fmla="*/ 146 w 146"/>
                  <a:gd name="T49" fmla="*/ 4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76">
                    <a:moveTo>
                      <a:pt x="36" y="176"/>
                    </a:moveTo>
                    <a:lnTo>
                      <a:pt x="36" y="176"/>
                    </a:lnTo>
                    <a:lnTo>
                      <a:pt x="27" y="151"/>
                    </a:lnTo>
                    <a:lnTo>
                      <a:pt x="18" y="126"/>
                    </a:lnTo>
                    <a:lnTo>
                      <a:pt x="10" y="95"/>
                    </a:lnTo>
                    <a:lnTo>
                      <a:pt x="6" y="80"/>
                    </a:lnTo>
                    <a:lnTo>
                      <a:pt x="2" y="64"/>
                    </a:lnTo>
                    <a:lnTo>
                      <a:pt x="1" y="49"/>
                    </a:lnTo>
                    <a:lnTo>
                      <a:pt x="0" y="36"/>
                    </a:lnTo>
                    <a:lnTo>
                      <a:pt x="1" y="24"/>
                    </a:lnTo>
                    <a:lnTo>
                      <a:pt x="4" y="14"/>
                    </a:lnTo>
                    <a:lnTo>
                      <a:pt x="6" y="11"/>
                    </a:lnTo>
                    <a:lnTo>
                      <a:pt x="8" y="7"/>
                    </a:lnTo>
                    <a:lnTo>
                      <a:pt x="12" y="5"/>
                    </a:lnTo>
                    <a:lnTo>
                      <a:pt x="16" y="2"/>
                    </a:lnTo>
                    <a:lnTo>
                      <a:pt x="16" y="2"/>
                    </a:lnTo>
                    <a:lnTo>
                      <a:pt x="24" y="1"/>
                    </a:lnTo>
                    <a:lnTo>
                      <a:pt x="34" y="0"/>
                    </a:lnTo>
                    <a:lnTo>
                      <a:pt x="43" y="1"/>
                    </a:lnTo>
                    <a:lnTo>
                      <a:pt x="54" y="4"/>
                    </a:lnTo>
                    <a:lnTo>
                      <a:pt x="75" y="10"/>
                    </a:lnTo>
                    <a:lnTo>
                      <a:pt x="97" y="18"/>
                    </a:lnTo>
                    <a:lnTo>
                      <a:pt x="116" y="26"/>
                    </a:lnTo>
                    <a:lnTo>
                      <a:pt x="132" y="35"/>
                    </a:lnTo>
                    <a:lnTo>
                      <a:pt x="146"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88"/>
              <p:cNvSpPr>
                <a:spLocks/>
              </p:cNvSpPr>
              <p:nvPr/>
            </p:nvSpPr>
            <p:spPr bwMode="auto">
              <a:xfrm>
                <a:off x="6628635" y="2121924"/>
                <a:ext cx="133255" cy="120859"/>
              </a:xfrm>
              <a:custGeom>
                <a:avLst/>
                <a:gdLst>
                  <a:gd name="T0" fmla="*/ 40 w 172"/>
                  <a:gd name="T1" fmla="*/ 156 h 156"/>
                  <a:gd name="T2" fmla="*/ 40 w 172"/>
                  <a:gd name="T3" fmla="*/ 156 h 156"/>
                  <a:gd name="T4" fmla="*/ 32 w 172"/>
                  <a:gd name="T5" fmla="*/ 134 h 156"/>
                  <a:gd name="T6" fmla="*/ 23 w 172"/>
                  <a:gd name="T7" fmla="*/ 111 h 156"/>
                  <a:gd name="T8" fmla="*/ 14 w 172"/>
                  <a:gd name="T9" fmla="*/ 85 h 156"/>
                  <a:gd name="T10" fmla="*/ 7 w 172"/>
                  <a:gd name="T11" fmla="*/ 58 h 156"/>
                  <a:gd name="T12" fmla="*/ 3 w 172"/>
                  <a:gd name="T13" fmla="*/ 45 h 156"/>
                  <a:gd name="T14" fmla="*/ 2 w 172"/>
                  <a:gd name="T15" fmla="*/ 33 h 156"/>
                  <a:gd name="T16" fmla="*/ 0 w 172"/>
                  <a:gd name="T17" fmla="*/ 23 h 156"/>
                  <a:gd name="T18" fmla="*/ 2 w 172"/>
                  <a:gd name="T19" fmla="*/ 13 h 156"/>
                  <a:gd name="T20" fmla="*/ 4 w 172"/>
                  <a:gd name="T21" fmla="*/ 7 h 156"/>
                  <a:gd name="T22" fmla="*/ 5 w 172"/>
                  <a:gd name="T23" fmla="*/ 5 h 156"/>
                  <a:gd name="T24" fmla="*/ 8 w 172"/>
                  <a:gd name="T25" fmla="*/ 4 h 156"/>
                  <a:gd name="T26" fmla="*/ 8 w 172"/>
                  <a:gd name="T27" fmla="*/ 4 h 156"/>
                  <a:gd name="T28" fmla="*/ 14 w 172"/>
                  <a:gd name="T29" fmla="*/ 1 h 156"/>
                  <a:gd name="T30" fmla="*/ 21 w 172"/>
                  <a:gd name="T31" fmla="*/ 0 h 156"/>
                  <a:gd name="T32" fmla="*/ 29 w 172"/>
                  <a:gd name="T33" fmla="*/ 0 h 156"/>
                  <a:gd name="T34" fmla="*/ 39 w 172"/>
                  <a:gd name="T35" fmla="*/ 1 h 156"/>
                  <a:gd name="T36" fmla="*/ 61 w 172"/>
                  <a:gd name="T37" fmla="*/ 5 h 156"/>
                  <a:gd name="T38" fmla="*/ 85 w 172"/>
                  <a:gd name="T39" fmla="*/ 12 h 156"/>
                  <a:gd name="T40" fmla="*/ 109 w 172"/>
                  <a:gd name="T41" fmla="*/ 20 h 156"/>
                  <a:gd name="T42" fmla="*/ 132 w 172"/>
                  <a:gd name="T43" fmla="*/ 29 h 156"/>
                  <a:gd name="T44" fmla="*/ 154 w 172"/>
                  <a:gd name="T45" fmla="*/ 39 h 156"/>
                  <a:gd name="T46" fmla="*/ 172 w 172"/>
                  <a:gd name="T47" fmla="*/ 47 h 156"/>
                  <a:gd name="T48" fmla="*/ 172 w 172"/>
                  <a:gd name="T49" fmla="*/ 47 h 156"/>
                  <a:gd name="T50" fmla="*/ 155 w 172"/>
                  <a:gd name="T51" fmla="*/ 54 h 156"/>
                  <a:gd name="T52" fmla="*/ 137 w 172"/>
                  <a:gd name="T53" fmla="*/ 63 h 156"/>
                  <a:gd name="T54" fmla="*/ 115 w 172"/>
                  <a:gd name="T55" fmla="*/ 75 h 156"/>
                  <a:gd name="T56" fmla="*/ 92 w 172"/>
                  <a:gd name="T57" fmla="*/ 91 h 156"/>
                  <a:gd name="T58" fmla="*/ 81 w 172"/>
                  <a:gd name="T59" fmla="*/ 100 h 156"/>
                  <a:gd name="T60" fmla="*/ 72 w 172"/>
                  <a:gd name="T61" fmla="*/ 110 h 156"/>
                  <a:gd name="T62" fmla="*/ 62 w 172"/>
                  <a:gd name="T63" fmla="*/ 120 h 156"/>
                  <a:gd name="T64" fmla="*/ 54 w 172"/>
                  <a:gd name="T65" fmla="*/ 132 h 156"/>
                  <a:gd name="T66" fmla="*/ 46 w 172"/>
                  <a:gd name="T67" fmla="*/ 144 h 156"/>
                  <a:gd name="T68" fmla="*/ 40 w 172"/>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2" h="156">
                    <a:moveTo>
                      <a:pt x="40" y="156"/>
                    </a:moveTo>
                    <a:lnTo>
                      <a:pt x="40" y="156"/>
                    </a:lnTo>
                    <a:lnTo>
                      <a:pt x="32" y="134"/>
                    </a:lnTo>
                    <a:lnTo>
                      <a:pt x="23" y="111"/>
                    </a:lnTo>
                    <a:lnTo>
                      <a:pt x="14" y="85"/>
                    </a:lnTo>
                    <a:lnTo>
                      <a:pt x="7" y="58"/>
                    </a:lnTo>
                    <a:lnTo>
                      <a:pt x="3" y="45"/>
                    </a:lnTo>
                    <a:lnTo>
                      <a:pt x="2" y="33"/>
                    </a:lnTo>
                    <a:lnTo>
                      <a:pt x="0" y="23"/>
                    </a:lnTo>
                    <a:lnTo>
                      <a:pt x="2" y="13"/>
                    </a:lnTo>
                    <a:lnTo>
                      <a:pt x="4" y="7"/>
                    </a:lnTo>
                    <a:lnTo>
                      <a:pt x="5" y="5"/>
                    </a:lnTo>
                    <a:lnTo>
                      <a:pt x="8" y="4"/>
                    </a:lnTo>
                    <a:lnTo>
                      <a:pt x="8" y="4"/>
                    </a:lnTo>
                    <a:lnTo>
                      <a:pt x="14" y="1"/>
                    </a:lnTo>
                    <a:lnTo>
                      <a:pt x="21" y="0"/>
                    </a:lnTo>
                    <a:lnTo>
                      <a:pt x="29" y="0"/>
                    </a:lnTo>
                    <a:lnTo>
                      <a:pt x="39" y="1"/>
                    </a:lnTo>
                    <a:lnTo>
                      <a:pt x="61" y="5"/>
                    </a:lnTo>
                    <a:lnTo>
                      <a:pt x="85" y="12"/>
                    </a:lnTo>
                    <a:lnTo>
                      <a:pt x="109" y="20"/>
                    </a:lnTo>
                    <a:lnTo>
                      <a:pt x="132" y="29"/>
                    </a:lnTo>
                    <a:lnTo>
                      <a:pt x="154" y="39"/>
                    </a:lnTo>
                    <a:lnTo>
                      <a:pt x="172" y="47"/>
                    </a:lnTo>
                    <a:lnTo>
                      <a:pt x="172" y="47"/>
                    </a:lnTo>
                    <a:lnTo>
                      <a:pt x="155" y="54"/>
                    </a:lnTo>
                    <a:lnTo>
                      <a:pt x="137" y="63"/>
                    </a:lnTo>
                    <a:lnTo>
                      <a:pt x="115" y="75"/>
                    </a:lnTo>
                    <a:lnTo>
                      <a:pt x="92" y="91"/>
                    </a:lnTo>
                    <a:lnTo>
                      <a:pt x="81" y="100"/>
                    </a:lnTo>
                    <a:lnTo>
                      <a:pt x="72" y="110"/>
                    </a:lnTo>
                    <a:lnTo>
                      <a:pt x="62" y="120"/>
                    </a:lnTo>
                    <a:lnTo>
                      <a:pt x="54" y="132"/>
                    </a:lnTo>
                    <a:lnTo>
                      <a:pt x="46" y="144"/>
                    </a:lnTo>
                    <a:lnTo>
                      <a:pt x="40" y="156"/>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89"/>
              <p:cNvSpPr>
                <a:spLocks/>
              </p:cNvSpPr>
              <p:nvPr/>
            </p:nvSpPr>
            <p:spPr bwMode="auto">
              <a:xfrm>
                <a:off x="6628635" y="2121924"/>
                <a:ext cx="133255" cy="120859"/>
              </a:xfrm>
              <a:custGeom>
                <a:avLst/>
                <a:gdLst>
                  <a:gd name="T0" fmla="*/ 40 w 172"/>
                  <a:gd name="T1" fmla="*/ 156 h 156"/>
                  <a:gd name="T2" fmla="*/ 40 w 172"/>
                  <a:gd name="T3" fmla="*/ 156 h 156"/>
                  <a:gd name="T4" fmla="*/ 32 w 172"/>
                  <a:gd name="T5" fmla="*/ 134 h 156"/>
                  <a:gd name="T6" fmla="*/ 23 w 172"/>
                  <a:gd name="T7" fmla="*/ 111 h 156"/>
                  <a:gd name="T8" fmla="*/ 14 w 172"/>
                  <a:gd name="T9" fmla="*/ 85 h 156"/>
                  <a:gd name="T10" fmla="*/ 7 w 172"/>
                  <a:gd name="T11" fmla="*/ 58 h 156"/>
                  <a:gd name="T12" fmla="*/ 3 w 172"/>
                  <a:gd name="T13" fmla="*/ 45 h 156"/>
                  <a:gd name="T14" fmla="*/ 2 w 172"/>
                  <a:gd name="T15" fmla="*/ 33 h 156"/>
                  <a:gd name="T16" fmla="*/ 0 w 172"/>
                  <a:gd name="T17" fmla="*/ 23 h 156"/>
                  <a:gd name="T18" fmla="*/ 2 w 172"/>
                  <a:gd name="T19" fmla="*/ 13 h 156"/>
                  <a:gd name="T20" fmla="*/ 4 w 172"/>
                  <a:gd name="T21" fmla="*/ 7 h 156"/>
                  <a:gd name="T22" fmla="*/ 5 w 172"/>
                  <a:gd name="T23" fmla="*/ 5 h 156"/>
                  <a:gd name="T24" fmla="*/ 8 w 172"/>
                  <a:gd name="T25" fmla="*/ 4 h 156"/>
                  <a:gd name="T26" fmla="*/ 8 w 172"/>
                  <a:gd name="T27" fmla="*/ 4 h 156"/>
                  <a:gd name="T28" fmla="*/ 14 w 172"/>
                  <a:gd name="T29" fmla="*/ 1 h 156"/>
                  <a:gd name="T30" fmla="*/ 21 w 172"/>
                  <a:gd name="T31" fmla="*/ 0 h 156"/>
                  <a:gd name="T32" fmla="*/ 29 w 172"/>
                  <a:gd name="T33" fmla="*/ 0 h 156"/>
                  <a:gd name="T34" fmla="*/ 39 w 172"/>
                  <a:gd name="T35" fmla="*/ 1 h 156"/>
                  <a:gd name="T36" fmla="*/ 61 w 172"/>
                  <a:gd name="T37" fmla="*/ 5 h 156"/>
                  <a:gd name="T38" fmla="*/ 85 w 172"/>
                  <a:gd name="T39" fmla="*/ 12 h 156"/>
                  <a:gd name="T40" fmla="*/ 109 w 172"/>
                  <a:gd name="T41" fmla="*/ 20 h 156"/>
                  <a:gd name="T42" fmla="*/ 132 w 172"/>
                  <a:gd name="T43" fmla="*/ 29 h 156"/>
                  <a:gd name="T44" fmla="*/ 154 w 172"/>
                  <a:gd name="T45" fmla="*/ 39 h 156"/>
                  <a:gd name="T46" fmla="*/ 172 w 172"/>
                  <a:gd name="T47" fmla="*/ 47 h 156"/>
                  <a:gd name="T48" fmla="*/ 172 w 172"/>
                  <a:gd name="T49" fmla="*/ 47 h 156"/>
                  <a:gd name="T50" fmla="*/ 155 w 172"/>
                  <a:gd name="T51" fmla="*/ 54 h 156"/>
                  <a:gd name="T52" fmla="*/ 137 w 172"/>
                  <a:gd name="T53" fmla="*/ 63 h 156"/>
                  <a:gd name="T54" fmla="*/ 115 w 172"/>
                  <a:gd name="T55" fmla="*/ 75 h 156"/>
                  <a:gd name="T56" fmla="*/ 92 w 172"/>
                  <a:gd name="T57" fmla="*/ 91 h 156"/>
                  <a:gd name="T58" fmla="*/ 81 w 172"/>
                  <a:gd name="T59" fmla="*/ 100 h 156"/>
                  <a:gd name="T60" fmla="*/ 72 w 172"/>
                  <a:gd name="T61" fmla="*/ 110 h 156"/>
                  <a:gd name="T62" fmla="*/ 62 w 172"/>
                  <a:gd name="T63" fmla="*/ 120 h 156"/>
                  <a:gd name="T64" fmla="*/ 54 w 172"/>
                  <a:gd name="T65" fmla="*/ 132 h 156"/>
                  <a:gd name="T66" fmla="*/ 46 w 172"/>
                  <a:gd name="T67" fmla="*/ 144 h 156"/>
                  <a:gd name="T68" fmla="*/ 40 w 172"/>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2" h="156">
                    <a:moveTo>
                      <a:pt x="40" y="156"/>
                    </a:moveTo>
                    <a:lnTo>
                      <a:pt x="40" y="156"/>
                    </a:lnTo>
                    <a:lnTo>
                      <a:pt x="32" y="134"/>
                    </a:lnTo>
                    <a:lnTo>
                      <a:pt x="23" y="111"/>
                    </a:lnTo>
                    <a:lnTo>
                      <a:pt x="14" y="85"/>
                    </a:lnTo>
                    <a:lnTo>
                      <a:pt x="7" y="58"/>
                    </a:lnTo>
                    <a:lnTo>
                      <a:pt x="3" y="45"/>
                    </a:lnTo>
                    <a:lnTo>
                      <a:pt x="2" y="33"/>
                    </a:lnTo>
                    <a:lnTo>
                      <a:pt x="0" y="23"/>
                    </a:lnTo>
                    <a:lnTo>
                      <a:pt x="2" y="13"/>
                    </a:lnTo>
                    <a:lnTo>
                      <a:pt x="4" y="7"/>
                    </a:lnTo>
                    <a:lnTo>
                      <a:pt x="5" y="5"/>
                    </a:lnTo>
                    <a:lnTo>
                      <a:pt x="8" y="4"/>
                    </a:lnTo>
                    <a:lnTo>
                      <a:pt x="8" y="4"/>
                    </a:lnTo>
                    <a:lnTo>
                      <a:pt x="14" y="1"/>
                    </a:lnTo>
                    <a:lnTo>
                      <a:pt x="21" y="0"/>
                    </a:lnTo>
                    <a:lnTo>
                      <a:pt x="29" y="0"/>
                    </a:lnTo>
                    <a:lnTo>
                      <a:pt x="39" y="1"/>
                    </a:lnTo>
                    <a:lnTo>
                      <a:pt x="61" y="5"/>
                    </a:lnTo>
                    <a:lnTo>
                      <a:pt x="85" y="12"/>
                    </a:lnTo>
                    <a:lnTo>
                      <a:pt x="109" y="20"/>
                    </a:lnTo>
                    <a:lnTo>
                      <a:pt x="132" y="29"/>
                    </a:lnTo>
                    <a:lnTo>
                      <a:pt x="154" y="39"/>
                    </a:lnTo>
                    <a:lnTo>
                      <a:pt x="172" y="47"/>
                    </a:lnTo>
                    <a:lnTo>
                      <a:pt x="172" y="47"/>
                    </a:lnTo>
                    <a:lnTo>
                      <a:pt x="155" y="54"/>
                    </a:lnTo>
                    <a:lnTo>
                      <a:pt x="137" y="63"/>
                    </a:lnTo>
                    <a:lnTo>
                      <a:pt x="115" y="75"/>
                    </a:lnTo>
                    <a:lnTo>
                      <a:pt x="92" y="91"/>
                    </a:lnTo>
                    <a:lnTo>
                      <a:pt x="81" y="100"/>
                    </a:lnTo>
                    <a:lnTo>
                      <a:pt x="72" y="110"/>
                    </a:lnTo>
                    <a:lnTo>
                      <a:pt x="62" y="120"/>
                    </a:lnTo>
                    <a:lnTo>
                      <a:pt x="54" y="132"/>
                    </a:lnTo>
                    <a:lnTo>
                      <a:pt x="46" y="144"/>
                    </a:lnTo>
                    <a:lnTo>
                      <a:pt x="40"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90"/>
              <p:cNvSpPr>
                <a:spLocks/>
              </p:cNvSpPr>
              <p:nvPr/>
            </p:nvSpPr>
            <p:spPr bwMode="auto">
              <a:xfrm>
                <a:off x="6467491" y="2261377"/>
                <a:ext cx="30989" cy="61978"/>
              </a:xfrm>
              <a:custGeom>
                <a:avLst/>
                <a:gdLst>
                  <a:gd name="T0" fmla="*/ 41 w 41"/>
                  <a:gd name="T1" fmla="*/ 60 h 82"/>
                  <a:gd name="T2" fmla="*/ 41 w 41"/>
                  <a:gd name="T3" fmla="*/ 60 h 82"/>
                  <a:gd name="T4" fmla="*/ 41 w 41"/>
                  <a:gd name="T5" fmla="*/ 65 h 82"/>
                  <a:gd name="T6" fmla="*/ 40 w 41"/>
                  <a:gd name="T7" fmla="*/ 69 h 82"/>
                  <a:gd name="T8" fmla="*/ 38 w 41"/>
                  <a:gd name="T9" fmla="*/ 72 h 82"/>
                  <a:gd name="T10" fmla="*/ 36 w 41"/>
                  <a:gd name="T11" fmla="*/ 75 h 82"/>
                  <a:gd name="T12" fmla="*/ 32 w 41"/>
                  <a:gd name="T13" fmla="*/ 77 h 82"/>
                  <a:gd name="T14" fmla="*/ 30 w 41"/>
                  <a:gd name="T15" fmla="*/ 79 h 82"/>
                  <a:gd name="T16" fmla="*/ 25 w 41"/>
                  <a:gd name="T17" fmla="*/ 81 h 82"/>
                  <a:gd name="T18" fmla="*/ 21 w 41"/>
                  <a:gd name="T19" fmla="*/ 82 h 82"/>
                  <a:gd name="T20" fmla="*/ 21 w 41"/>
                  <a:gd name="T21" fmla="*/ 82 h 82"/>
                  <a:gd name="T22" fmla="*/ 18 w 41"/>
                  <a:gd name="T23" fmla="*/ 81 h 82"/>
                  <a:gd name="T24" fmla="*/ 13 w 41"/>
                  <a:gd name="T25" fmla="*/ 81 h 82"/>
                  <a:gd name="T26" fmla="*/ 11 w 41"/>
                  <a:gd name="T27" fmla="*/ 78 h 82"/>
                  <a:gd name="T28" fmla="*/ 7 w 41"/>
                  <a:gd name="T29" fmla="*/ 76 h 82"/>
                  <a:gd name="T30" fmla="*/ 5 w 41"/>
                  <a:gd name="T31" fmla="*/ 73 h 82"/>
                  <a:gd name="T32" fmla="*/ 2 w 41"/>
                  <a:gd name="T33" fmla="*/ 70 h 82"/>
                  <a:gd name="T34" fmla="*/ 1 w 41"/>
                  <a:gd name="T35" fmla="*/ 66 h 82"/>
                  <a:gd name="T36" fmla="*/ 1 w 41"/>
                  <a:gd name="T37" fmla="*/ 61 h 82"/>
                  <a:gd name="T38" fmla="*/ 0 w 41"/>
                  <a:gd name="T39" fmla="*/ 20 h 82"/>
                  <a:gd name="T40" fmla="*/ 0 w 41"/>
                  <a:gd name="T41" fmla="*/ 20 h 82"/>
                  <a:gd name="T42" fmla="*/ 0 w 41"/>
                  <a:gd name="T43" fmla="*/ 17 h 82"/>
                  <a:gd name="T44" fmla="*/ 1 w 41"/>
                  <a:gd name="T45" fmla="*/ 13 h 82"/>
                  <a:gd name="T46" fmla="*/ 2 w 41"/>
                  <a:gd name="T47" fmla="*/ 9 h 82"/>
                  <a:gd name="T48" fmla="*/ 5 w 41"/>
                  <a:gd name="T49" fmla="*/ 6 h 82"/>
                  <a:gd name="T50" fmla="*/ 8 w 41"/>
                  <a:gd name="T51" fmla="*/ 3 h 82"/>
                  <a:gd name="T52" fmla="*/ 11 w 41"/>
                  <a:gd name="T53" fmla="*/ 2 h 82"/>
                  <a:gd name="T54" fmla="*/ 15 w 41"/>
                  <a:gd name="T55" fmla="*/ 1 h 82"/>
                  <a:gd name="T56" fmla="*/ 19 w 41"/>
                  <a:gd name="T57" fmla="*/ 0 h 82"/>
                  <a:gd name="T58" fmla="*/ 19 w 41"/>
                  <a:gd name="T59" fmla="*/ 0 h 82"/>
                  <a:gd name="T60" fmla="*/ 23 w 41"/>
                  <a:gd name="T61" fmla="*/ 0 h 82"/>
                  <a:gd name="T62" fmla="*/ 28 w 41"/>
                  <a:gd name="T63" fmla="*/ 1 h 82"/>
                  <a:gd name="T64" fmla="*/ 30 w 41"/>
                  <a:gd name="T65" fmla="*/ 3 h 82"/>
                  <a:gd name="T66" fmla="*/ 34 w 41"/>
                  <a:gd name="T67" fmla="*/ 6 h 82"/>
                  <a:gd name="T68" fmla="*/ 36 w 41"/>
                  <a:gd name="T69" fmla="*/ 8 h 82"/>
                  <a:gd name="T70" fmla="*/ 38 w 41"/>
                  <a:gd name="T71" fmla="*/ 12 h 82"/>
                  <a:gd name="T72" fmla="*/ 40 w 41"/>
                  <a:gd name="T73" fmla="*/ 15 h 82"/>
                  <a:gd name="T74" fmla="*/ 40 w 41"/>
                  <a:gd name="T75" fmla="*/ 19 h 82"/>
                  <a:gd name="T76" fmla="*/ 41 w 41"/>
                  <a:gd name="T7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82">
                    <a:moveTo>
                      <a:pt x="41" y="60"/>
                    </a:moveTo>
                    <a:lnTo>
                      <a:pt x="41" y="60"/>
                    </a:lnTo>
                    <a:lnTo>
                      <a:pt x="41" y="65"/>
                    </a:lnTo>
                    <a:lnTo>
                      <a:pt x="40" y="69"/>
                    </a:lnTo>
                    <a:lnTo>
                      <a:pt x="38" y="72"/>
                    </a:lnTo>
                    <a:lnTo>
                      <a:pt x="36" y="75"/>
                    </a:lnTo>
                    <a:lnTo>
                      <a:pt x="32" y="77"/>
                    </a:lnTo>
                    <a:lnTo>
                      <a:pt x="30" y="79"/>
                    </a:lnTo>
                    <a:lnTo>
                      <a:pt x="25" y="81"/>
                    </a:lnTo>
                    <a:lnTo>
                      <a:pt x="21" y="82"/>
                    </a:lnTo>
                    <a:lnTo>
                      <a:pt x="21" y="82"/>
                    </a:lnTo>
                    <a:lnTo>
                      <a:pt x="18" y="81"/>
                    </a:lnTo>
                    <a:lnTo>
                      <a:pt x="13" y="81"/>
                    </a:lnTo>
                    <a:lnTo>
                      <a:pt x="11" y="78"/>
                    </a:lnTo>
                    <a:lnTo>
                      <a:pt x="7" y="76"/>
                    </a:lnTo>
                    <a:lnTo>
                      <a:pt x="5" y="73"/>
                    </a:lnTo>
                    <a:lnTo>
                      <a:pt x="2" y="70"/>
                    </a:lnTo>
                    <a:lnTo>
                      <a:pt x="1" y="66"/>
                    </a:lnTo>
                    <a:lnTo>
                      <a:pt x="1" y="61"/>
                    </a:lnTo>
                    <a:lnTo>
                      <a:pt x="0" y="20"/>
                    </a:lnTo>
                    <a:lnTo>
                      <a:pt x="0" y="20"/>
                    </a:lnTo>
                    <a:lnTo>
                      <a:pt x="0" y="17"/>
                    </a:lnTo>
                    <a:lnTo>
                      <a:pt x="1" y="13"/>
                    </a:lnTo>
                    <a:lnTo>
                      <a:pt x="2" y="9"/>
                    </a:lnTo>
                    <a:lnTo>
                      <a:pt x="5" y="6"/>
                    </a:lnTo>
                    <a:lnTo>
                      <a:pt x="8" y="3"/>
                    </a:lnTo>
                    <a:lnTo>
                      <a:pt x="11" y="2"/>
                    </a:lnTo>
                    <a:lnTo>
                      <a:pt x="15" y="1"/>
                    </a:lnTo>
                    <a:lnTo>
                      <a:pt x="19" y="0"/>
                    </a:lnTo>
                    <a:lnTo>
                      <a:pt x="19" y="0"/>
                    </a:lnTo>
                    <a:lnTo>
                      <a:pt x="23" y="0"/>
                    </a:lnTo>
                    <a:lnTo>
                      <a:pt x="28" y="1"/>
                    </a:lnTo>
                    <a:lnTo>
                      <a:pt x="30" y="3"/>
                    </a:lnTo>
                    <a:lnTo>
                      <a:pt x="34" y="6"/>
                    </a:lnTo>
                    <a:lnTo>
                      <a:pt x="36" y="8"/>
                    </a:lnTo>
                    <a:lnTo>
                      <a:pt x="38" y="12"/>
                    </a:lnTo>
                    <a:lnTo>
                      <a:pt x="40" y="15"/>
                    </a:lnTo>
                    <a:lnTo>
                      <a:pt x="40" y="19"/>
                    </a:lnTo>
                    <a:lnTo>
                      <a:pt x="4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91"/>
              <p:cNvSpPr>
                <a:spLocks/>
              </p:cNvSpPr>
              <p:nvPr/>
            </p:nvSpPr>
            <p:spPr bwMode="auto">
              <a:xfrm>
                <a:off x="6575952" y="2295464"/>
                <a:ext cx="30989" cy="61978"/>
              </a:xfrm>
              <a:custGeom>
                <a:avLst/>
                <a:gdLst>
                  <a:gd name="T0" fmla="*/ 42 w 42"/>
                  <a:gd name="T1" fmla="*/ 61 h 81"/>
                  <a:gd name="T2" fmla="*/ 42 w 42"/>
                  <a:gd name="T3" fmla="*/ 61 h 81"/>
                  <a:gd name="T4" fmla="*/ 41 w 42"/>
                  <a:gd name="T5" fmla="*/ 64 h 81"/>
                  <a:gd name="T6" fmla="*/ 41 w 42"/>
                  <a:gd name="T7" fmla="*/ 69 h 81"/>
                  <a:gd name="T8" fmla="*/ 38 w 42"/>
                  <a:gd name="T9" fmla="*/ 73 h 81"/>
                  <a:gd name="T10" fmla="*/ 36 w 42"/>
                  <a:gd name="T11" fmla="*/ 75 h 81"/>
                  <a:gd name="T12" fmla="*/ 33 w 42"/>
                  <a:gd name="T13" fmla="*/ 78 h 81"/>
                  <a:gd name="T14" fmla="*/ 30 w 42"/>
                  <a:gd name="T15" fmla="*/ 80 h 81"/>
                  <a:gd name="T16" fmla="*/ 26 w 42"/>
                  <a:gd name="T17" fmla="*/ 81 h 81"/>
                  <a:gd name="T18" fmla="*/ 21 w 42"/>
                  <a:gd name="T19" fmla="*/ 81 h 81"/>
                  <a:gd name="T20" fmla="*/ 21 w 42"/>
                  <a:gd name="T21" fmla="*/ 81 h 81"/>
                  <a:gd name="T22" fmla="*/ 18 w 42"/>
                  <a:gd name="T23" fmla="*/ 81 h 81"/>
                  <a:gd name="T24" fmla="*/ 14 w 42"/>
                  <a:gd name="T25" fmla="*/ 80 h 81"/>
                  <a:gd name="T26" fmla="*/ 10 w 42"/>
                  <a:gd name="T27" fmla="*/ 79 h 81"/>
                  <a:gd name="T28" fmla="*/ 7 w 42"/>
                  <a:gd name="T29" fmla="*/ 77 h 81"/>
                  <a:gd name="T30" fmla="*/ 4 w 42"/>
                  <a:gd name="T31" fmla="*/ 73 h 81"/>
                  <a:gd name="T32" fmla="*/ 2 w 42"/>
                  <a:gd name="T33" fmla="*/ 71 h 81"/>
                  <a:gd name="T34" fmla="*/ 1 w 42"/>
                  <a:gd name="T35" fmla="*/ 66 h 81"/>
                  <a:gd name="T36" fmla="*/ 1 w 42"/>
                  <a:gd name="T37" fmla="*/ 62 h 81"/>
                  <a:gd name="T38" fmla="*/ 0 w 42"/>
                  <a:gd name="T39" fmla="*/ 21 h 81"/>
                  <a:gd name="T40" fmla="*/ 0 w 42"/>
                  <a:gd name="T41" fmla="*/ 21 h 81"/>
                  <a:gd name="T42" fmla="*/ 0 w 42"/>
                  <a:gd name="T43" fmla="*/ 17 h 81"/>
                  <a:gd name="T44" fmla="*/ 1 w 42"/>
                  <a:gd name="T45" fmla="*/ 14 h 81"/>
                  <a:gd name="T46" fmla="*/ 2 w 42"/>
                  <a:gd name="T47" fmla="*/ 10 h 81"/>
                  <a:gd name="T48" fmla="*/ 4 w 42"/>
                  <a:gd name="T49" fmla="*/ 6 h 81"/>
                  <a:gd name="T50" fmla="*/ 8 w 42"/>
                  <a:gd name="T51" fmla="*/ 4 h 81"/>
                  <a:gd name="T52" fmla="*/ 12 w 42"/>
                  <a:gd name="T53" fmla="*/ 2 h 81"/>
                  <a:gd name="T54" fmla="*/ 15 w 42"/>
                  <a:gd name="T55" fmla="*/ 0 h 81"/>
                  <a:gd name="T56" fmla="*/ 19 w 42"/>
                  <a:gd name="T57" fmla="*/ 0 h 81"/>
                  <a:gd name="T58" fmla="*/ 19 w 42"/>
                  <a:gd name="T59" fmla="*/ 0 h 81"/>
                  <a:gd name="T60" fmla="*/ 24 w 42"/>
                  <a:gd name="T61" fmla="*/ 0 h 81"/>
                  <a:gd name="T62" fmla="*/ 27 w 42"/>
                  <a:gd name="T63" fmla="*/ 2 h 81"/>
                  <a:gd name="T64" fmla="*/ 31 w 42"/>
                  <a:gd name="T65" fmla="*/ 3 h 81"/>
                  <a:gd name="T66" fmla="*/ 33 w 42"/>
                  <a:gd name="T67" fmla="*/ 5 h 81"/>
                  <a:gd name="T68" fmla="*/ 36 w 42"/>
                  <a:gd name="T69" fmla="*/ 9 h 81"/>
                  <a:gd name="T70" fmla="*/ 38 w 42"/>
                  <a:gd name="T71" fmla="*/ 12 h 81"/>
                  <a:gd name="T72" fmla="*/ 39 w 42"/>
                  <a:gd name="T73" fmla="*/ 16 h 81"/>
                  <a:gd name="T74" fmla="*/ 41 w 42"/>
                  <a:gd name="T75" fmla="*/ 20 h 81"/>
                  <a:gd name="T76" fmla="*/ 42 w 42"/>
                  <a:gd name="T77" fmla="*/ 6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81">
                    <a:moveTo>
                      <a:pt x="42" y="61"/>
                    </a:moveTo>
                    <a:lnTo>
                      <a:pt x="42" y="61"/>
                    </a:lnTo>
                    <a:lnTo>
                      <a:pt x="41" y="64"/>
                    </a:lnTo>
                    <a:lnTo>
                      <a:pt x="41" y="69"/>
                    </a:lnTo>
                    <a:lnTo>
                      <a:pt x="38" y="73"/>
                    </a:lnTo>
                    <a:lnTo>
                      <a:pt x="36" y="75"/>
                    </a:lnTo>
                    <a:lnTo>
                      <a:pt x="33" y="78"/>
                    </a:lnTo>
                    <a:lnTo>
                      <a:pt x="30" y="80"/>
                    </a:lnTo>
                    <a:lnTo>
                      <a:pt x="26" y="81"/>
                    </a:lnTo>
                    <a:lnTo>
                      <a:pt x="21" y="81"/>
                    </a:lnTo>
                    <a:lnTo>
                      <a:pt x="21" y="81"/>
                    </a:lnTo>
                    <a:lnTo>
                      <a:pt x="18" y="81"/>
                    </a:lnTo>
                    <a:lnTo>
                      <a:pt x="14" y="80"/>
                    </a:lnTo>
                    <a:lnTo>
                      <a:pt x="10" y="79"/>
                    </a:lnTo>
                    <a:lnTo>
                      <a:pt x="7" y="77"/>
                    </a:lnTo>
                    <a:lnTo>
                      <a:pt x="4" y="73"/>
                    </a:lnTo>
                    <a:lnTo>
                      <a:pt x="2" y="71"/>
                    </a:lnTo>
                    <a:lnTo>
                      <a:pt x="1" y="66"/>
                    </a:lnTo>
                    <a:lnTo>
                      <a:pt x="1" y="62"/>
                    </a:lnTo>
                    <a:lnTo>
                      <a:pt x="0" y="21"/>
                    </a:lnTo>
                    <a:lnTo>
                      <a:pt x="0" y="21"/>
                    </a:lnTo>
                    <a:lnTo>
                      <a:pt x="0" y="17"/>
                    </a:lnTo>
                    <a:lnTo>
                      <a:pt x="1" y="14"/>
                    </a:lnTo>
                    <a:lnTo>
                      <a:pt x="2" y="10"/>
                    </a:lnTo>
                    <a:lnTo>
                      <a:pt x="4" y="6"/>
                    </a:lnTo>
                    <a:lnTo>
                      <a:pt x="8" y="4"/>
                    </a:lnTo>
                    <a:lnTo>
                      <a:pt x="12" y="2"/>
                    </a:lnTo>
                    <a:lnTo>
                      <a:pt x="15" y="0"/>
                    </a:lnTo>
                    <a:lnTo>
                      <a:pt x="19" y="0"/>
                    </a:lnTo>
                    <a:lnTo>
                      <a:pt x="19" y="0"/>
                    </a:lnTo>
                    <a:lnTo>
                      <a:pt x="24" y="0"/>
                    </a:lnTo>
                    <a:lnTo>
                      <a:pt x="27" y="2"/>
                    </a:lnTo>
                    <a:lnTo>
                      <a:pt x="31" y="3"/>
                    </a:lnTo>
                    <a:lnTo>
                      <a:pt x="33" y="5"/>
                    </a:lnTo>
                    <a:lnTo>
                      <a:pt x="36" y="9"/>
                    </a:lnTo>
                    <a:lnTo>
                      <a:pt x="38" y="12"/>
                    </a:lnTo>
                    <a:lnTo>
                      <a:pt x="39" y="16"/>
                    </a:lnTo>
                    <a:lnTo>
                      <a:pt x="41" y="20"/>
                    </a:lnTo>
                    <a:lnTo>
                      <a:pt x="42" y="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592"/>
              <p:cNvSpPr>
                <a:spLocks/>
              </p:cNvSpPr>
              <p:nvPr/>
            </p:nvSpPr>
            <p:spPr bwMode="auto">
              <a:xfrm>
                <a:off x="6386919" y="2354344"/>
                <a:ext cx="201431" cy="207629"/>
              </a:xfrm>
              <a:custGeom>
                <a:avLst/>
                <a:gdLst>
                  <a:gd name="T0" fmla="*/ 259 w 259"/>
                  <a:gd name="T1" fmla="*/ 127 h 268"/>
                  <a:gd name="T2" fmla="*/ 259 w 259"/>
                  <a:gd name="T3" fmla="*/ 153 h 268"/>
                  <a:gd name="T4" fmla="*/ 255 w 259"/>
                  <a:gd name="T5" fmla="*/ 178 h 268"/>
                  <a:gd name="T6" fmla="*/ 247 w 259"/>
                  <a:gd name="T7" fmla="*/ 199 h 268"/>
                  <a:gd name="T8" fmla="*/ 235 w 259"/>
                  <a:gd name="T9" fmla="*/ 219 h 268"/>
                  <a:gd name="T10" fmla="*/ 216 w 259"/>
                  <a:gd name="T11" fmla="*/ 237 h 268"/>
                  <a:gd name="T12" fmla="*/ 192 w 259"/>
                  <a:gd name="T13" fmla="*/ 250 h 268"/>
                  <a:gd name="T14" fmla="*/ 161 w 259"/>
                  <a:gd name="T15" fmla="*/ 261 h 268"/>
                  <a:gd name="T16" fmla="*/ 121 w 259"/>
                  <a:gd name="T17" fmla="*/ 267 h 268"/>
                  <a:gd name="T18" fmla="*/ 110 w 259"/>
                  <a:gd name="T19" fmla="*/ 268 h 268"/>
                  <a:gd name="T20" fmla="*/ 91 w 259"/>
                  <a:gd name="T21" fmla="*/ 266 h 268"/>
                  <a:gd name="T22" fmla="*/ 75 w 259"/>
                  <a:gd name="T23" fmla="*/ 260 h 268"/>
                  <a:gd name="T24" fmla="*/ 63 w 259"/>
                  <a:gd name="T25" fmla="*/ 250 h 268"/>
                  <a:gd name="T26" fmla="*/ 52 w 259"/>
                  <a:gd name="T27" fmla="*/ 236 h 268"/>
                  <a:gd name="T28" fmla="*/ 46 w 259"/>
                  <a:gd name="T29" fmla="*/ 219 h 268"/>
                  <a:gd name="T30" fmla="*/ 39 w 259"/>
                  <a:gd name="T31" fmla="*/ 186 h 268"/>
                  <a:gd name="T32" fmla="*/ 37 w 259"/>
                  <a:gd name="T33" fmla="*/ 162 h 268"/>
                  <a:gd name="T34" fmla="*/ 33 w 259"/>
                  <a:gd name="T35" fmla="*/ 134 h 268"/>
                  <a:gd name="T36" fmla="*/ 22 w 259"/>
                  <a:gd name="T37" fmla="*/ 107 h 268"/>
                  <a:gd name="T38" fmla="*/ 5 w 259"/>
                  <a:gd name="T39" fmla="*/ 69 h 268"/>
                  <a:gd name="T40" fmla="*/ 0 w 259"/>
                  <a:gd name="T41" fmla="*/ 46 h 268"/>
                  <a:gd name="T42" fmla="*/ 2 w 259"/>
                  <a:gd name="T43" fmla="*/ 30 h 268"/>
                  <a:gd name="T44" fmla="*/ 8 w 259"/>
                  <a:gd name="T45" fmla="*/ 22 h 268"/>
                  <a:gd name="T46" fmla="*/ 17 w 259"/>
                  <a:gd name="T47" fmla="*/ 14 h 268"/>
                  <a:gd name="T48" fmla="*/ 30 w 259"/>
                  <a:gd name="T49" fmla="*/ 8 h 268"/>
                  <a:gd name="T50" fmla="*/ 60 w 259"/>
                  <a:gd name="T51" fmla="*/ 2 h 268"/>
                  <a:gd name="T52" fmla="*/ 87 w 259"/>
                  <a:gd name="T53" fmla="*/ 0 h 268"/>
                  <a:gd name="T54" fmla="*/ 127 w 259"/>
                  <a:gd name="T55" fmla="*/ 2 h 268"/>
                  <a:gd name="T56" fmla="*/ 162 w 259"/>
                  <a:gd name="T57" fmla="*/ 8 h 268"/>
                  <a:gd name="T58" fmla="*/ 191 w 259"/>
                  <a:gd name="T59" fmla="*/ 20 h 268"/>
                  <a:gd name="T60" fmla="*/ 215 w 259"/>
                  <a:gd name="T61" fmla="*/ 36 h 268"/>
                  <a:gd name="T62" fmla="*/ 233 w 259"/>
                  <a:gd name="T63" fmla="*/ 55 h 268"/>
                  <a:gd name="T64" fmla="*/ 247 w 259"/>
                  <a:gd name="T65" fmla="*/ 77 h 268"/>
                  <a:gd name="T66" fmla="*/ 255 w 259"/>
                  <a:gd name="T67" fmla="*/ 101 h 268"/>
                  <a:gd name="T68" fmla="*/ 259 w 259"/>
                  <a:gd name="T69" fmla="*/ 12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9" h="268">
                    <a:moveTo>
                      <a:pt x="259" y="127"/>
                    </a:moveTo>
                    <a:lnTo>
                      <a:pt x="259" y="127"/>
                    </a:lnTo>
                    <a:lnTo>
                      <a:pt x="259" y="140"/>
                    </a:lnTo>
                    <a:lnTo>
                      <a:pt x="259" y="153"/>
                    </a:lnTo>
                    <a:lnTo>
                      <a:pt x="257" y="165"/>
                    </a:lnTo>
                    <a:lnTo>
                      <a:pt x="255" y="178"/>
                    </a:lnTo>
                    <a:lnTo>
                      <a:pt x="251" y="188"/>
                    </a:lnTo>
                    <a:lnTo>
                      <a:pt x="247" y="199"/>
                    </a:lnTo>
                    <a:lnTo>
                      <a:pt x="242" y="209"/>
                    </a:lnTo>
                    <a:lnTo>
                      <a:pt x="235" y="219"/>
                    </a:lnTo>
                    <a:lnTo>
                      <a:pt x="226" y="228"/>
                    </a:lnTo>
                    <a:lnTo>
                      <a:pt x="216" y="237"/>
                    </a:lnTo>
                    <a:lnTo>
                      <a:pt x="205" y="244"/>
                    </a:lnTo>
                    <a:lnTo>
                      <a:pt x="192" y="250"/>
                    </a:lnTo>
                    <a:lnTo>
                      <a:pt x="178" y="256"/>
                    </a:lnTo>
                    <a:lnTo>
                      <a:pt x="161" y="261"/>
                    </a:lnTo>
                    <a:lnTo>
                      <a:pt x="141" y="265"/>
                    </a:lnTo>
                    <a:lnTo>
                      <a:pt x="121" y="267"/>
                    </a:lnTo>
                    <a:lnTo>
                      <a:pt x="121" y="267"/>
                    </a:lnTo>
                    <a:lnTo>
                      <a:pt x="110" y="268"/>
                    </a:lnTo>
                    <a:lnTo>
                      <a:pt x="100" y="268"/>
                    </a:lnTo>
                    <a:lnTo>
                      <a:pt x="91" y="266"/>
                    </a:lnTo>
                    <a:lnTo>
                      <a:pt x="82" y="263"/>
                    </a:lnTo>
                    <a:lnTo>
                      <a:pt x="75" y="260"/>
                    </a:lnTo>
                    <a:lnTo>
                      <a:pt x="68" y="255"/>
                    </a:lnTo>
                    <a:lnTo>
                      <a:pt x="63" y="250"/>
                    </a:lnTo>
                    <a:lnTo>
                      <a:pt x="57" y="243"/>
                    </a:lnTo>
                    <a:lnTo>
                      <a:pt x="52" y="236"/>
                    </a:lnTo>
                    <a:lnTo>
                      <a:pt x="48" y="227"/>
                    </a:lnTo>
                    <a:lnTo>
                      <a:pt x="46" y="219"/>
                    </a:lnTo>
                    <a:lnTo>
                      <a:pt x="42" y="209"/>
                    </a:lnTo>
                    <a:lnTo>
                      <a:pt x="39" y="186"/>
                    </a:lnTo>
                    <a:lnTo>
                      <a:pt x="37" y="162"/>
                    </a:lnTo>
                    <a:lnTo>
                      <a:pt x="37" y="162"/>
                    </a:lnTo>
                    <a:lnTo>
                      <a:pt x="36" y="148"/>
                    </a:lnTo>
                    <a:lnTo>
                      <a:pt x="33" y="134"/>
                    </a:lnTo>
                    <a:lnTo>
                      <a:pt x="28" y="121"/>
                    </a:lnTo>
                    <a:lnTo>
                      <a:pt x="22" y="107"/>
                    </a:lnTo>
                    <a:lnTo>
                      <a:pt x="10" y="81"/>
                    </a:lnTo>
                    <a:lnTo>
                      <a:pt x="5" y="69"/>
                    </a:lnTo>
                    <a:lnTo>
                      <a:pt x="1" y="57"/>
                    </a:lnTo>
                    <a:lnTo>
                      <a:pt x="0" y="46"/>
                    </a:lnTo>
                    <a:lnTo>
                      <a:pt x="1" y="35"/>
                    </a:lnTo>
                    <a:lnTo>
                      <a:pt x="2" y="30"/>
                    </a:lnTo>
                    <a:lnTo>
                      <a:pt x="5" y="25"/>
                    </a:lnTo>
                    <a:lnTo>
                      <a:pt x="8" y="22"/>
                    </a:lnTo>
                    <a:lnTo>
                      <a:pt x="12" y="18"/>
                    </a:lnTo>
                    <a:lnTo>
                      <a:pt x="17" y="14"/>
                    </a:lnTo>
                    <a:lnTo>
                      <a:pt x="23" y="11"/>
                    </a:lnTo>
                    <a:lnTo>
                      <a:pt x="30" y="8"/>
                    </a:lnTo>
                    <a:lnTo>
                      <a:pt x="40" y="6"/>
                    </a:lnTo>
                    <a:lnTo>
                      <a:pt x="60" y="2"/>
                    </a:lnTo>
                    <a:lnTo>
                      <a:pt x="87" y="0"/>
                    </a:lnTo>
                    <a:lnTo>
                      <a:pt x="87" y="0"/>
                    </a:lnTo>
                    <a:lnTo>
                      <a:pt x="108" y="1"/>
                    </a:lnTo>
                    <a:lnTo>
                      <a:pt x="127" y="2"/>
                    </a:lnTo>
                    <a:lnTo>
                      <a:pt x="145" y="5"/>
                    </a:lnTo>
                    <a:lnTo>
                      <a:pt x="162" y="8"/>
                    </a:lnTo>
                    <a:lnTo>
                      <a:pt x="176" y="14"/>
                    </a:lnTo>
                    <a:lnTo>
                      <a:pt x="191" y="20"/>
                    </a:lnTo>
                    <a:lnTo>
                      <a:pt x="203" y="28"/>
                    </a:lnTo>
                    <a:lnTo>
                      <a:pt x="215" y="36"/>
                    </a:lnTo>
                    <a:lnTo>
                      <a:pt x="225" y="46"/>
                    </a:lnTo>
                    <a:lnTo>
                      <a:pt x="233" y="55"/>
                    </a:lnTo>
                    <a:lnTo>
                      <a:pt x="241" y="66"/>
                    </a:lnTo>
                    <a:lnTo>
                      <a:pt x="247" y="77"/>
                    </a:lnTo>
                    <a:lnTo>
                      <a:pt x="251" y="89"/>
                    </a:lnTo>
                    <a:lnTo>
                      <a:pt x="255" y="101"/>
                    </a:lnTo>
                    <a:lnTo>
                      <a:pt x="257" y="115"/>
                    </a:lnTo>
                    <a:lnTo>
                      <a:pt x="259" y="127"/>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593"/>
              <p:cNvSpPr>
                <a:spLocks/>
              </p:cNvSpPr>
              <p:nvPr/>
            </p:nvSpPr>
            <p:spPr bwMode="auto">
              <a:xfrm>
                <a:off x="6386919" y="2354344"/>
                <a:ext cx="201431" cy="207629"/>
              </a:xfrm>
              <a:custGeom>
                <a:avLst/>
                <a:gdLst>
                  <a:gd name="T0" fmla="*/ 259 w 259"/>
                  <a:gd name="T1" fmla="*/ 127 h 268"/>
                  <a:gd name="T2" fmla="*/ 259 w 259"/>
                  <a:gd name="T3" fmla="*/ 153 h 268"/>
                  <a:gd name="T4" fmla="*/ 255 w 259"/>
                  <a:gd name="T5" fmla="*/ 178 h 268"/>
                  <a:gd name="T6" fmla="*/ 247 w 259"/>
                  <a:gd name="T7" fmla="*/ 199 h 268"/>
                  <a:gd name="T8" fmla="*/ 235 w 259"/>
                  <a:gd name="T9" fmla="*/ 219 h 268"/>
                  <a:gd name="T10" fmla="*/ 216 w 259"/>
                  <a:gd name="T11" fmla="*/ 237 h 268"/>
                  <a:gd name="T12" fmla="*/ 192 w 259"/>
                  <a:gd name="T13" fmla="*/ 250 h 268"/>
                  <a:gd name="T14" fmla="*/ 161 w 259"/>
                  <a:gd name="T15" fmla="*/ 261 h 268"/>
                  <a:gd name="T16" fmla="*/ 121 w 259"/>
                  <a:gd name="T17" fmla="*/ 267 h 268"/>
                  <a:gd name="T18" fmla="*/ 110 w 259"/>
                  <a:gd name="T19" fmla="*/ 268 h 268"/>
                  <a:gd name="T20" fmla="*/ 91 w 259"/>
                  <a:gd name="T21" fmla="*/ 266 h 268"/>
                  <a:gd name="T22" fmla="*/ 75 w 259"/>
                  <a:gd name="T23" fmla="*/ 260 h 268"/>
                  <a:gd name="T24" fmla="*/ 63 w 259"/>
                  <a:gd name="T25" fmla="*/ 250 h 268"/>
                  <a:gd name="T26" fmla="*/ 52 w 259"/>
                  <a:gd name="T27" fmla="*/ 236 h 268"/>
                  <a:gd name="T28" fmla="*/ 46 w 259"/>
                  <a:gd name="T29" fmla="*/ 219 h 268"/>
                  <a:gd name="T30" fmla="*/ 39 w 259"/>
                  <a:gd name="T31" fmla="*/ 186 h 268"/>
                  <a:gd name="T32" fmla="*/ 37 w 259"/>
                  <a:gd name="T33" fmla="*/ 162 h 268"/>
                  <a:gd name="T34" fmla="*/ 33 w 259"/>
                  <a:gd name="T35" fmla="*/ 134 h 268"/>
                  <a:gd name="T36" fmla="*/ 22 w 259"/>
                  <a:gd name="T37" fmla="*/ 107 h 268"/>
                  <a:gd name="T38" fmla="*/ 5 w 259"/>
                  <a:gd name="T39" fmla="*/ 69 h 268"/>
                  <a:gd name="T40" fmla="*/ 0 w 259"/>
                  <a:gd name="T41" fmla="*/ 46 h 268"/>
                  <a:gd name="T42" fmla="*/ 2 w 259"/>
                  <a:gd name="T43" fmla="*/ 30 h 268"/>
                  <a:gd name="T44" fmla="*/ 8 w 259"/>
                  <a:gd name="T45" fmla="*/ 22 h 268"/>
                  <a:gd name="T46" fmla="*/ 17 w 259"/>
                  <a:gd name="T47" fmla="*/ 14 h 268"/>
                  <a:gd name="T48" fmla="*/ 30 w 259"/>
                  <a:gd name="T49" fmla="*/ 8 h 268"/>
                  <a:gd name="T50" fmla="*/ 60 w 259"/>
                  <a:gd name="T51" fmla="*/ 2 h 268"/>
                  <a:gd name="T52" fmla="*/ 87 w 259"/>
                  <a:gd name="T53" fmla="*/ 0 h 268"/>
                  <a:gd name="T54" fmla="*/ 127 w 259"/>
                  <a:gd name="T55" fmla="*/ 2 h 268"/>
                  <a:gd name="T56" fmla="*/ 162 w 259"/>
                  <a:gd name="T57" fmla="*/ 8 h 268"/>
                  <a:gd name="T58" fmla="*/ 191 w 259"/>
                  <a:gd name="T59" fmla="*/ 20 h 268"/>
                  <a:gd name="T60" fmla="*/ 215 w 259"/>
                  <a:gd name="T61" fmla="*/ 36 h 268"/>
                  <a:gd name="T62" fmla="*/ 233 w 259"/>
                  <a:gd name="T63" fmla="*/ 55 h 268"/>
                  <a:gd name="T64" fmla="*/ 247 w 259"/>
                  <a:gd name="T65" fmla="*/ 77 h 268"/>
                  <a:gd name="T66" fmla="*/ 255 w 259"/>
                  <a:gd name="T67" fmla="*/ 101 h 268"/>
                  <a:gd name="T68" fmla="*/ 259 w 259"/>
                  <a:gd name="T69" fmla="*/ 12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9" h="268">
                    <a:moveTo>
                      <a:pt x="259" y="127"/>
                    </a:moveTo>
                    <a:lnTo>
                      <a:pt x="259" y="127"/>
                    </a:lnTo>
                    <a:lnTo>
                      <a:pt x="259" y="140"/>
                    </a:lnTo>
                    <a:lnTo>
                      <a:pt x="259" y="153"/>
                    </a:lnTo>
                    <a:lnTo>
                      <a:pt x="257" y="165"/>
                    </a:lnTo>
                    <a:lnTo>
                      <a:pt x="255" y="178"/>
                    </a:lnTo>
                    <a:lnTo>
                      <a:pt x="251" y="188"/>
                    </a:lnTo>
                    <a:lnTo>
                      <a:pt x="247" y="199"/>
                    </a:lnTo>
                    <a:lnTo>
                      <a:pt x="242" y="209"/>
                    </a:lnTo>
                    <a:lnTo>
                      <a:pt x="235" y="219"/>
                    </a:lnTo>
                    <a:lnTo>
                      <a:pt x="226" y="228"/>
                    </a:lnTo>
                    <a:lnTo>
                      <a:pt x="216" y="237"/>
                    </a:lnTo>
                    <a:lnTo>
                      <a:pt x="205" y="244"/>
                    </a:lnTo>
                    <a:lnTo>
                      <a:pt x="192" y="250"/>
                    </a:lnTo>
                    <a:lnTo>
                      <a:pt x="178" y="256"/>
                    </a:lnTo>
                    <a:lnTo>
                      <a:pt x="161" y="261"/>
                    </a:lnTo>
                    <a:lnTo>
                      <a:pt x="141" y="265"/>
                    </a:lnTo>
                    <a:lnTo>
                      <a:pt x="121" y="267"/>
                    </a:lnTo>
                    <a:lnTo>
                      <a:pt x="121" y="267"/>
                    </a:lnTo>
                    <a:lnTo>
                      <a:pt x="110" y="268"/>
                    </a:lnTo>
                    <a:lnTo>
                      <a:pt x="100" y="268"/>
                    </a:lnTo>
                    <a:lnTo>
                      <a:pt x="91" y="266"/>
                    </a:lnTo>
                    <a:lnTo>
                      <a:pt x="82" y="263"/>
                    </a:lnTo>
                    <a:lnTo>
                      <a:pt x="75" y="260"/>
                    </a:lnTo>
                    <a:lnTo>
                      <a:pt x="68" y="255"/>
                    </a:lnTo>
                    <a:lnTo>
                      <a:pt x="63" y="250"/>
                    </a:lnTo>
                    <a:lnTo>
                      <a:pt x="57" y="243"/>
                    </a:lnTo>
                    <a:lnTo>
                      <a:pt x="52" y="236"/>
                    </a:lnTo>
                    <a:lnTo>
                      <a:pt x="48" y="227"/>
                    </a:lnTo>
                    <a:lnTo>
                      <a:pt x="46" y="219"/>
                    </a:lnTo>
                    <a:lnTo>
                      <a:pt x="42" y="209"/>
                    </a:lnTo>
                    <a:lnTo>
                      <a:pt x="39" y="186"/>
                    </a:lnTo>
                    <a:lnTo>
                      <a:pt x="37" y="162"/>
                    </a:lnTo>
                    <a:lnTo>
                      <a:pt x="37" y="162"/>
                    </a:lnTo>
                    <a:lnTo>
                      <a:pt x="36" y="148"/>
                    </a:lnTo>
                    <a:lnTo>
                      <a:pt x="33" y="134"/>
                    </a:lnTo>
                    <a:lnTo>
                      <a:pt x="28" y="121"/>
                    </a:lnTo>
                    <a:lnTo>
                      <a:pt x="22" y="107"/>
                    </a:lnTo>
                    <a:lnTo>
                      <a:pt x="10" y="81"/>
                    </a:lnTo>
                    <a:lnTo>
                      <a:pt x="5" y="69"/>
                    </a:lnTo>
                    <a:lnTo>
                      <a:pt x="1" y="57"/>
                    </a:lnTo>
                    <a:lnTo>
                      <a:pt x="0" y="46"/>
                    </a:lnTo>
                    <a:lnTo>
                      <a:pt x="1" y="35"/>
                    </a:lnTo>
                    <a:lnTo>
                      <a:pt x="2" y="30"/>
                    </a:lnTo>
                    <a:lnTo>
                      <a:pt x="5" y="25"/>
                    </a:lnTo>
                    <a:lnTo>
                      <a:pt x="8" y="22"/>
                    </a:lnTo>
                    <a:lnTo>
                      <a:pt x="12" y="18"/>
                    </a:lnTo>
                    <a:lnTo>
                      <a:pt x="17" y="14"/>
                    </a:lnTo>
                    <a:lnTo>
                      <a:pt x="23" y="11"/>
                    </a:lnTo>
                    <a:lnTo>
                      <a:pt x="30" y="8"/>
                    </a:lnTo>
                    <a:lnTo>
                      <a:pt x="40" y="6"/>
                    </a:lnTo>
                    <a:lnTo>
                      <a:pt x="60" y="2"/>
                    </a:lnTo>
                    <a:lnTo>
                      <a:pt x="87" y="0"/>
                    </a:lnTo>
                    <a:lnTo>
                      <a:pt x="87" y="0"/>
                    </a:lnTo>
                    <a:lnTo>
                      <a:pt x="108" y="1"/>
                    </a:lnTo>
                    <a:lnTo>
                      <a:pt x="127" y="2"/>
                    </a:lnTo>
                    <a:lnTo>
                      <a:pt x="145" y="5"/>
                    </a:lnTo>
                    <a:lnTo>
                      <a:pt x="162" y="8"/>
                    </a:lnTo>
                    <a:lnTo>
                      <a:pt x="176" y="14"/>
                    </a:lnTo>
                    <a:lnTo>
                      <a:pt x="191" y="20"/>
                    </a:lnTo>
                    <a:lnTo>
                      <a:pt x="203" y="28"/>
                    </a:lnTo>
                    <a:lnTo>
                      <a:pt x="215" y="36"/>
                    </a:lnTo>
                    <a:lnTo>
                      <a:pt x="225" y="46"/>
                    </a:lnTo>
                    <a:lnTo>
                      <a:pt x="233" y="55"/>
                    </a:lnTo>
                    <a:lnTo>
                      <a:pt x="241" y="66"/>
                    </a:lnTo>
                    <a:lnTo>
                      <a:pt x="247" y="77"/>
                    </a:lnTo>
                    <a:lnTo>
                      <a:pt x="251" y="89"/>
                    </a:lnTo>
                    <a:lnTo>
                      <a:pt x="255" y="101"/>
                    </a:lnTo>
                    <a:lnTo>
                      <a:pt x="257" y="115"/>
                    </a:lnTo>
                    <a:lnTo>
                      <a:pt x="259" y="1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94"/>
              <p:cNvSpPr>
                <a:spLocks/>
              </p:cNvSpPr>
              <p:nvPr/>
            </p:nvSpPr>
            <p:spPr bwMode="auto">
              <a:xfrm>
                <a:off x="6343534" y="2354344"/>
                <a:ext cx="198331" cy="216924"/>
              </a:xfrm>
              <a:custGeom>
                <a:avLst/>
                <a:gdLst>
                  <a:gd name="T0" fmla="*/ 257 w 257"/>
                  <a:gd name="T1" fmla="*/ 135 h 278"/>
                  <a:gd name="T2" fmla="*/ 256 w 257"/>
                  <a:gd name="T3" fmla="*/ 163 h 278"/>
                  <a:gd name="T4" fmla="*/ 249 w 257"/>
                  <a:gd name="T5" fmla="*/ 190 h 278"/>
                  <a:gd name="T6" fmla="*/ 238 w 257"/>
                  <a:gd name="T7" fmla="*/ 213 h 278"/>
                  <a:gd name="T8" fmla="*/ 222 w 257"/>
                  <a:gd name="T9" fmla="*/ 235 h 278"/>
                  <a:gd name="T10" fmla="*/ 204 w 257"/>
                  <a:gd name="T11" fmla="*/ 251 h 278"/>
                  <a:gd name="T12" fmla="*/ 182 w 257"/>
                  <a:gd name="T13" fmla="*/ 266 h 278"/>
                  <a:gd name="T14" fmla="*/ 159 w 257"/>
                  <a:gd name="T15" fmla="*/ 274 h 278"/>
                  <a:gd name="T16" fmla="*/ 133 w 257"/>
                  <a:gd name="T17" fmla="*/ 278 h 278"/>
                  <a:gd name="T18" fmla="*/ 119 w 257"/>
                  <a:gd name="T19" fmla="*/ 278 h 278"/>
                  <a:gd name="T20" fmla="*/ 94 w 257"/>
                  <a:gd name="T21" fmla="*/ 273 h 278"/>
                  <a:gd name="T22" fmla="*/ 71 w 257"/>
                  <a:gd name="T23" fmla="*/ 264 h 278"/>
                  <a:gd name="T24" fmla="*/ 49 w 257"/>
                  <a:gd name="T25" fmla="*/ 249 h 278"/>
                  <a:gd name="T26" fmla="*/ 31 w 257"/>
                  <a:gd name="T27" fmla="*/ 231 h 278"/>
                  <a:gd name="T28" fmla="*/ 17 w 257"/>
                  <a:gd name="T29" fmla="*/ 209 h 278"/>
                  <a:gd name="T30" fmla="*/ 7 w 257"/>
                  <a:gd name="T31" fmla="*/ 184 h 278"/>
                  <a:gd name="T32" fmla="*/ 1 w 257"/>
                  <a:gd name="T33" fmla="*/ 157 h 278"/>
                  <a:gd name="T34" fmla="*/ 0 w 257"/>
                  <a:gd name="T35" fmla="*/ 143 h 278"/>
                  <a:gd name="T36" fmla="*/ 1 w 257"/>
                  <a:gd name="T37" fmla="*/ 115 h 278"/>
                  <a:gd name="T38" fmla="*/ 8 w 257"/>
                  <a:gd name="T39" fmla="*/ 88 h 278"/>
                  <a:gd name="T40" fmla="*/ 19 w 257"/>
                  <a:gd name="T41" fmla="*/ 64 h 278"/>
                  <a:gd name="T42" fmla="*/ 35 w 257"/>
                  <a:gd name="T43" fmla="*/ 44 h 278"/>
                  <a:gd name="T44" fmla="*/ 53 w 257"/>
                  <a:gd name="T45" fmla="*/ 27 h 278"/>
                  <a:gd name="T46" fmla="*/ 75 w 257"/>
                  <a:gd name="T47" fmla="*/ 12 h 278"/>
                  <a:gd name="T48" fmla="*/ 99 w 257"/>
                  <a:gd name="T49" fmla="*/ 4 h 278"/>
                  <a:gd name="T50" fmla="*/ 124 w 257"/>
                  <a:gd name="T51" fmla="*/ 0 h 278"/>
                  <a:gd name="T52" fmla="*/ 138 w 257"/>
                  <a:gd name="T53" fmla="*/ 0 h 278"/>
                  <a:gd name="T54" fmla="*/ 163 w 257"/>
                  <a:gd name="T55" fmla="*/ 5 h 278"/>
                  <a:gd name="T56" fmla="*/ 186 w 257"/>
                  <a:gd name="T57" fmla="*/ 14 h 278"/>
                  <a:gd name="T58" fmla="*/ 208 w 257"/>
                  <a:gd name="T59" fmla="*/ 29 h 278"/>
                  <a:gd name="T60" fmla="*/ 226 w 257"/>
                  <a:gd name="T61" fmla="*/ 47 h 278"/>
                  <a:gd name="T62" fmla="*/ 240 w 257"/>
                  <a:gd name="T63" fmla="*/ 69 h 278"/>
                  <a:gd name="T64" fmla="*/ 250 w 257"/>
                  <a:gd name="T65" fmla="*/ 94 h 278"/>
                  <a:gd name="T66" fmla="*/ 256 w 257"/>
                  <a:gd name="T67" fmla="*/ 12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78">
                    <a:moveTo>
                      <a:pt x="257" y="135"/>
                    </a:moveTo>
                    <a:lnTo>
                      <a:pt x="257" y="135"/>
                    </a:lnTo>
                    <a:lnTo>
                      <a:pt x="257" y="149"/>
                    </a:lnTo>
                    <a:lnTo>
                      <a:pt x="256" y="163"/>
                    </a:lnTo>
                    <a:lnTo>
                      <a:pt x="252" y="177"/>
                    </a:lnTo>
                    <a:lnTo>
                      <a:pt x="249" y="190"/>
                    </a:lnTo>
                    <a:lnTo>
                      <a:pt x="244" y="202"/>
                    </a:lnTo>
                    <a:lnTo>
                      <a:pt x="238" y="213"/>
                    </a:lnTo>
                    <a:lnTo>
                      <a:pt x="231" y="225"/>
                    </a:lnTo>
                    <a:lnTo>
                      <a:pt x="222" y="235"/>
                    </a:lnTo>
                    <a:lnTo>
                      <a:pt x="214" y="244"/>
                    </a:lnTo>
                    <a:lnTo>
                      <a:pt x="204" y="251"/>
                    </a:lnTo>
                    <a:lnTo>
                      <a:pt x="194" y="259"/>
                    </a:lnTo>
                    <a:lnTo>
                      <a:pt x="182" y="266"/>
                    </a:lnTo>
                    <a:lnTo>
                      <a:pt x="171" y="271"/>
                    </a:lnTo>
                    <a:lnTo>
                      <a:pt x="159" y="274"/>
                    </a:lnTo>
                    <a:lnTo>
                      <a:pt x="146" y="277"/>
                    </a:lnTo>
                    <a:lnTo>
                      <a:pt x="133" y="278"/>
                    </a:lnTo>
                    <a:lnTo>
                      <a:pt x="133" y="278"/>
                    </a:lnTo>
                    <a:lnTo>
                      <a:pt x="119" y="278"/>
                    </a:lnTo>
                    <a:lnTo>
                      <a:pt x="107" y="276"/>
                    </a:lnTo>
                    <a:lnTo>
                      <a:pt x="94" y="273"/>
                    </a:lnTo>
                    <a:lnTo>
                      <a:pt x="82" y="268"/>
                    </a:lnTo>
                    <a:lnTo>
                      <a:pt x="71" y="264"/>
                    </a:lnTo>
                    <a:lnTo>
                      <a:pt x="60" y="256"/>
                    </a:lnTo>
                    <a:lnTo>
                      <a:pt x="49" y="249"/>
                    </a:lnTo>
                    <a:lnTo>
                      <a:pt x="41" y="241"/>
                    </a:lnTo>
                    <a:lnTo>
                      <a:pt x="31" y="231"/>
                    </a:lnTo>
                    <a:lnTo>
                      <a:pt x="24" y="220"/>
                    </a:lnTo>
                    <a:lnTo>
                      <a:pt x="17" y="209"/>
                    </a:lnTo>
                    <a:lnTo>
                      <a:pt x="12" y="197"/>
                    </a:lnTo>
                    <a:lnTo>
                      <a:pt x="7" y="184"/>
                    </a:lnTo>
                    <a:lnTo>
                      <a:pt x="3" y="170"/>
                    </a:lnTo>
                    <a:lnTo>
                      <a:pt x="1" y="157"/>
                    </a:lnTo>
                    <a:lnTo>
                      <a:pt x="0" y="143"/>
                    </a:lnTo>
                    <a:lnTo>
                      <a:pt x="0" y="143"/>
                    </a:lnTo>
                    <a:lnTo>
                      <a:pt x="0" y="129"/>
                    </a:lnTo>
                    <a:lnTo>
                      <a:pt x="1" y="115"/>
                    </a:lnTo>
                    <a:lnTo>
                      <a:pt x="5" y="102"/>
                    </a:lnTo>
                    <a:lnTo>
                      <a:pt x="8" y="88"/>
                    </a:lnTo>
                    <a:lnTo>
                      <a:pt x="13" y="76"/>
                    </a:lnTo>
                    <a:lnTo>
                      <a:pt x="19" y="64"/>
                    </a:lnTo>
                    <a:lnTo>
                      <a:pt x="26" y="53"/>
                    </a:lnTo>
                    <a:lnTo>
                      <a:pt x="35" y="44"/>
                    </a:lnTo>
                    <a:lnTo>
                      <a:pt x="43" y="34"/>
                    </a:lnTo>
                    <a:lnTo>
                      <a:pt x="53" y="27"/>
                    </a:lnTo>
                    <a:lnTo>
                      <a:pt x="64" y="18"/>
                    </a:lnTo>
                    <a:lnTo>
                      <a:pt x="75" y="12"/>
                    </a:lnTo>
                    <a:lnTo>
                      <a:pt x="86" y="7"/>
                    </a:lnTo>
                    <a:lnTo>
                      <a:pt x="99" y="4"/>
                    </a:lnTo>
                    <a:lnTo>
                      <a:pt x="111" y="1"/>
                    </a:lnTo>
                    <a:lnTo>
                      <a:pt x="124" y="0"/>
                    </a:lnTo>
                    <a:lnTo>
                      <a:pt x="124" y="0"/>
                    </a:lnTo>
                    <a:lnTo>
                      <a:pt x="138" y="0"/>
                    </a:lnTo>
                    <a:lnTo>
                      <a:pt x="151" y="2"/>
                    </a:lnTo>
                    <a:lnTo>
                      <a:pt x="163" y="5"/>
                    </a:lnTo>
                    <a:lnTo>
                      <a:pt x="175" y="10"/>
                    </a:lnTo>
                    <a:lnTo>
                      <a:pt x="186" y="14"/>
                    </a:lnTo>
                    <a:lnTo>
                      <a:pt x="197" y="22"/>
                    </a:lnTo>
                    <a:lnTo>
                      <a:pt x="208" y="29"/>
                    </a:lnTo>
                    <a:lnTo>
                      <a:pt x="216" y="37"/>
                    </a:lnTo>
                    <a:lnTo>
                      <a:pt x="226" y="47"/>
                    </a:lnTo>
                    <a:lnTo>
                      <a:pt x="233" y="58"/>
                    </a:lnTo>
                    <a:lnTo>
                      <a:pt x="240" y="69"/>
                    </a:lnTo>
                    <a:lnTo>
                      <a:pt x="245" y="81"/>
                    </a:lnTo>
                    <a:lnTo>
                      <a:pt x="250" y="94"/>
                    </a:lnTo>
                    <a:lnTo>
                      <a:pt x="254" y="108"/>
                    </a:lnTo>
                    <a:lnTo>
                      <a:pt x="256" y="121"/>
                    </a:lnTo>
                    <a:lnTo>
                      <a:pt x="257" y="135"/>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95"/>
              <p:cNvSpPr>
                <a:spLocks/>
              </p:cNvSpPr>
              <p:nvPr/>
            </p:nvSpPr>
            <p:spPr bwMode="auto">
              <a:xfrm>
                <a:off x="6343534" y="2354344"/>
                <a:ext cx="198331" cy="216924"/>
              </a:xfrm>
              <a:custGeom>
                <a:avLst/>
                <a:gdLst>
                  <a:gd name="T0" fmla="*/ 257 w 257"/>
                  <a:gd name="T1" fmla="*/ 135 h 278"/>
                  <a:gd name="T2" fmla="*/ 256 w 257"/>
                  <a:gd name="T3" fmla="*/ 163 h 278"/>
                  <a:gd name="T4" fmla="*/ 249 w 257"/>
                  <a:gd name="T5" fmla="*/ 190 h 278"/>
                  <a:gd name="T6" fmla="*/ 238 w 257"/>
                  <a:gd name="T7" fmla="*/ 213 h 278"/>
                  <a:gd name="T8" fmla="*/ 222 w 257"/>
                  <a:gd name="T9" fmla="*/ 235 h 278"/>
                  <a:gd name="T10" fmla="*/ 204 w 257"/>
                  <a:gd name="T11" fmla="*/ 251 h 278"/>
                  <a:gd name="T12" fmla="*/ 182 w 257"/>
                  <a:gd name="T13" fmla="*/ 266 h 278"/>
                  <a:gd name="T14" fmla="*/ 159 w 257"/>
                  <a:gd name="T15" fmla="*/ 274 h 278"/>
                  <a:gd name="T16" fmla="*/ 133 w 257"/>
                  <a:gd name="T17" fmla="*/ 278 h 278"/>
                  <a:gd name="T18" fmla="*/ 119 w 257"/>
                  <a:gd name="T19" fmla="*/ 278 h 278"/>
                  <a:gd name="T20" fmla="*/ 94 w 257"/>
                  <a:gd name="T21" fmla="*/ 273 h 278"/>
                  <a:gd name="T22" fmla="*/ 71 w 257"/>
                  <a:gd name="T23" fmla="*/ 264 h 278"/>
                  <a:gd name="T24" fmla="*/ 49 w 257"/>
                  <a:gd name="T25" fmla="*/ 249 h 278"/>
                  <a:gd name="T26" fmla="*/ 31 w 257"/>
                  <a:gd name="T27" fmla="*/ 231 h 278"/>
                  <a:gd name="T28" fmla="*/ 17 w 257"/>
                  <a:gd name="T29" fmla="*/ 209 h 278"/>
                  <a:gd name="T30" fmla="*/ 7 w 257"/>
                  <a:gd name="T31" fmla="*/ 184 h 278"/>
                  <a:gd name="T32" fmla="*/ 1 w 257"/>
                  <a:gd name="T33" fmla="*/ 157 h 278"/>
                  <a:gd name="T34" fmla="*/ 0 w 257"/>
                  <a:gd name="T35" fmla="*/ 143 h 278"/>
                  <a:gd name="T36" fmla="*/ 1 w 257"/>
                  <a:gd name="T37" fmla="*/ 115 h 278"/>
                  <a:gd name="T38" fmla="*/ 8 w 257"/>
                  <a:gd name="T39" fmla="*/ 88 h 278"/>
                  <a:gd name="T40" fmla="*/ 19 w 257"/>
                  <a:gd name="T41" fmla="*/ 64 h 278"/>
                  <a:gd name="T42" fmla="*/ 35 w 257"/>
                  <a:gd name="T43" fmla="*/ 44 h 278"/>
                  <a:gd name="T44" fmla="*/ 53 w 257"/>
                  <a:gd name="T45" fmla="*/ 27 h 278"/>
                  <a:gd name="T46" fmla="*/ 75 w 257"/>
                  <a:gd name="T47" fmla="*/ 12 h 278"/>
                  <a:gd name="T48" fmla="*/ 99 w 257"/>
                  <a:gd name="T49" fmla="*/ 4 h 278"/>
                  <a:gd name="T50" fmla="*/ 124 w 257"/>
                  <a:gd name="T51" fmla="*/ 0 h 278"/>
                  <a:gd name="T52" fmla="*/ 138 w 257"/>
                  <a:gd name="T53" fmla="*/ 0 h 278"/>
                  <a:gd name="T54" fmla="*/ 163 w 257"/>
                  <a:gd name="T55" fmla="*/ 5 h 278"/>
                  <a:gd name="T56" fmla="*/ 186 w 257"/>
                  <a:gd name="T57" fmla="*/ 14 h 278"/>
                  <a:gd name="T58" fmla="*/ 208 w 257"/>
                  <a:gd name="T59" fmla="*/ 29 h 278"/>
                  <a:gd name="T60" fmla="*/ 226 w 257"/>
                  <a:gd name="T61" fmla="*/ 47 h 278"/>
                  <a:gd name="T62" fmla="*/ 240 w 257"/>
                  <a:gd name="T63" fmla="*/ 69 h 278"/>
                  <a:gd name="T64" fmla="*/ 250 w 257"/>
                  <a:gd name="T65" fmla="*/ 94 h 278"/>
                  <a:gd name="T66" fmla="*/ 256 w 257"/>
                  <a:gd name="T67" fmla="*/ 12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78">
                    <a:moveTo>
                      <a:pt x="257" y="135"/>
                    </a:moveTo>
                    <a:lnTo>
                      <a:pt x="257" y="135"/>
                    </a:lnTo>
                    <a:lnTo>
                      <a:pt x="257" y="149"/>
                    </a:lnTo>
                    <a:lnTo>
                      <a:pt x="256" y="163"/>
                    </a:lnTo>
                    <a:lnTo>
                      <a:pt x="252" y="177"/>
                    </a:lnTo>
                    <a:lnTo>
                      <a:pt x="249" y="190"/>
                    </a:lnTo>
                    <a:lnTo>
                      <a:pt x="244" y="202"/>
                    </a:lnTo>
                    <a:lnTo>
                      <a:pt x="238" y="213"/>
                    </a:lnTo>
                    <a:lnTo>
                      <a:pt x="231" y="225"/>
                    </a:lnTo>
                    <a:lnTo>
                      <a:pt x="222" y="235"/>
                    </a:lnTo>
                    <a:lnTo>
                      <a:pt x="214" y="244"/>
                    </a:lnTo>
                    <a:lnTo>
                      <a:pt x="204" y="251"/>
                    </a:lnTo>
                    <a:lnTo>
                      <a:pt x="194" y="259"/>
                    </a:lnTo>
                    <a:lnTo>
                      <a:pt x="182" y="266"/>
                    </a:lnTo>
                    <a:lnTo>
                      <a:pt x="171" y="271"/>
                    </a:lnTo>
                    <a:lnTo>
                      <a:pt x="159" y="274"/>
                    </a:lnTo>
                    <a:lnTo>
                      <a:pt x="146" y="277"/>
                    </a:lnTo>
                    <a:lnTo>
                      <a:pt x="133" y="278"/>
                    </a:lnTo>
                    <a:lnTo>
                      <a:pt x="133" y="278"/>
                    </a:lnTo>
                    <a:lnTo>
                      <a:pt x="119" y="278"/>
                    </a:lnTo>
                    <a:lnTo>
                      <a:pt x="107" y="276"/>
                    </a:lnTo>
                    <a:lnTo>
                      <a:pt x="94" y="273"/>
                    </a:lnTo>
                    <a:lnTo>
                      <a:pt x="82" y="268"/>
                    </a:lnTo>
                    <a:lnTo>
                      <a:pt x="71" y="264"/>
                    </a:lnTo>
                    <a:lnTo>
                      <a:pt x="60" y="256"/>
                    </a:lnTo>
                    <a:lnTo>
                      <a:pt x="49" y="249"/>
                    </a:lnTo>
                    <a:lnTo>
                      <a:pt x="41" y="241"/>
                    </a:lnTo>
                    <a:lnTo>
                      <a:pt x="31" y="231"/>
                    </a:lnTo>
                    <a:lnTo>
                      <a:pt x="24" y="220"/>
                    </a:lnTo>
                    <a:lnTo>
                      <a:pt x="17" y="209"/>
                    </a:lnTo>
                    <a:lnTo>
                      <a:pt x="12" y="197"/>
                    </a:lnTo>
                    <a:lnTo>
                      <a:pt x="7" y="184"/>
                    </a:lnTo>
                    <a:lnTo>
                      <a:pt x="3" y="170"/>
                    </a:lnTo>
                    <a:lnTo>
                      <a:pt x="1" y="157"/>
                    </a:lnTo>
                    <a:lnTo>
                      <a:pt x="0" y="143"/>
                    </a:lnTo>
                    <a:lnTo>
                      <a:pt x="0" y="143"/>
                    </a:lnTo>
                    <a:lnTo>
                      <a:pt x="0" y="129"/>
                    </a:lnTo>
                    <a:lnTo>
                      <a:pt x="1" y="115"/>
                    </a:lnTo>
                    <a:lnTo>
                      <a:pt x="5" y="102"/>
                    </a:lnTo>
                    <a:lnTo>
                      <a:pt x="8" y="88"/>
                    </a:lnTo>
                    <a:lnTo>
                      <a:pt x="13" y="76"/>
                    </a:lnTo>
                    <a:lnTo>
                      <a:pt x="19" y="64"/>
                    </a:lnTo>
                    <a:lnTo>
                      <a:pt x="26" y="53"/>
                    </a:lnTo>
                    <a:lnTo>
                      <a:pt x="35" y="44"/>
                    </a:lnTo>
                    <a:lnTo>
                      <a:pt x="43" y="34"/>
                    </a:lnTo>
                    <a:lnTo>
                      <a:pt x="53" y="27"/>
                    </a:lnTo>
                    <a:lnTo>
                      <a:pt x="64" y="18"/>
                    </a:lnTo>
                    <a:lnTo>
                      <a:pt x="75" y="12"/>
                    </a:lnTo>
                    <a:lnTo>
                      <a:pt x="86" y="7"/>
                    </a:lnTo>
                    <a:lnTo>
                      <a:pt x="99" y="4"/>
                    </a:lnTo>
                    <a:lnTo>
                      <a:pt x="111" y="1"/>
                    </a:lnTo>
                    <a:lnTo>
                      <a:pt x="124" y="0"/>
                    </a:lnTo>
                    <a:lnTo>
                      <a:pt x="124" y="0"/>
                    </a:lnTo>
                    <a:lnTo>
                      <a:pt x="138" y="0"/>
                    </a:lnTo>
                    <a:lnTo>
                      <a:pt x="151" y="2"/>
                    </a:lnTo>
                    <a:lnTo>
                      <a:pt x="163" y="5"/>
                    </a:lnTo>
                    <a:lnTo>
                      <a:pt x="175" y="10"/>
                    </a:lnTo>
                    <a:lnTo>
                      <a:pt x="186" y="14"/>
                    </a:lnTo>
                    <a:lnTo>
                      <a:pt x="197" y="22"/>
                    </a:lnTo>
                    <a:lnTo>
                      <a:pt x="208" y="29"/>
                    </a:lnTo>
                    <a:lnTo>
                      <a:pt x="216" y="37"/>
                    </a:lnTo>
                    <a:lnTo>
                      <a:pt x="226" y="47"/>
                    </a:lnTo>
                    <a:lnTo>
                      <a:pt x="233" y="58"/>
                    </a:lnTo>
                    <a:lnTo>
                      <a:pt x="240" y="69"/>
                    </a:lnTo>
                    <a:lnTo>
                      <a:pt x="245" y="81"/>
                    </a:lnTo>
                    <a:lnTo>
                      <a:pt x="250" y="94"/>
                    </a:lnTo>
                    <a:lnTo>
                      <a:pt x="254" y="108"/>
                    </a:lnTo>
                    <a:lnTo>
                      <a:pt x="256" y="121"/>
                    </a:lnTo>
                    <a:lnTo>
                      <a:pt x="257"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96"/>
              <p:cNvSpPr>
                <a:spLocks/>
              </p:cNvSpPr>
              <p:nvPr/>
            </p:nvSpPr>
            <p:spPr bwMode="auto">
              <a:xfrm>
                <a:off x="6390017" y="2441114"/>
                <a:ext cx="30989" cy="30989"/>
              </a:xfrm>
              <a:custGeom>
                <a:avLst/>
                <a:gdLst>
                  <a:gd name="T0" fmla="*/ 0 w 39"/>
                  <a:gd name="T1" fmla="*/ 16 h 41"/>
                  <a:gd name="T2" fmla="*/ 0 w 39"/>
                  <a:gd name="T3" fmla="*/ 16 h 41"/>
                  <a:gd name="T4" fmla="*/ 2 w 39"/>
                  <a:gd name="T5" fmla="*/ 12 h 41"/>
                  <a:gd name="T6" fmla="*/ 3 w 39"/>
                  <a:gd name="T7" fmla="*/ 8 h 41"/>
                  <a:gd name="T8" fmla="*/ 6 w 39"/>
                  <a:gd name="T9" fmla="*/ 6 h 41"/>
                  <a:gd name="T10" fmla="*/ 9 w 39"/>
                  <a:gd name="T11" fmla="*/ 3 h 41"/>
                  <a:gd name="T12" fmla="*/ 13 w 39"/>
                  <a:gd name="T13" fmla="*/ 1 h 41"/>
                  <a:gd name="T14" fmla="*/ 16 w 39"/>
                  <a:gd name="T15" fmla="*/ 1 h 41"/>
                  <a:gd name="T16" fmla="*/ 20 w 39"/>
                  <a:gd name="T17" fmla="*/ 0 h 41"/>
                  <a:gd name="T18" fmla="*/ 25 w 39"/>
                  <a:gd name="T19" fmla="*/ 1 h 41"/>
                  <a:gd name="T20" fmla="*/ 25 w 39"/>
                  <a:gd name="T21" fmla="*/ 1 h 41"/>
                  <a:gd name="T22" fmla="*/ 29 w 39"/>
                  <a:gd name="T23" fmla="*/ 2 h 41"/>
                  <a:gd name="T24" fmla="*/ 32 w 39"/>
                  <a:gd name="T25" fmla="*/ 5 h 41"/>
                  <a:gd name="T26" fmla="*/ 35 w 39"/>
                  <a:gd name="T27" fmla="*/ 7 h 41"/>
                  <a:gd name="T28" fmla="*/ 37 w 39"/>
                  <a:gd name="T29" fmla="*/ 11 h 41"/>
                  <a:gd name="T30" fmla="*/ 38 w 39"/>
                  <a:gd name="T31" fmla="*/ 13 h 41"/>
                  <a:gd name="T32" fmla="*/ 39 w 39"/>
                  <a:gd name="T33" fmla="*/ 18 h 41"/>
                  <a:gd name="T34" fmla="*/ 39 w 39"/>
                  <a:gd name="T35" fmla="*/ 22 h 41"/>
                  <a:gd name="T36" fmla="*/ 39 w 39"/>
                  <a:gd name="T37" fmla="*/ 25 h 41"/>
                  <a:gd name="T38" fmla="*/ 39 w 39"/>
                  <a:gd name="T39" fmla="*/ 25 h 41"/>
                  <a:gd name="T40" fmla="*/ 38 w 39"/>
                  <a:gd name="T41" fmla="*/ 29 h 41"/>
                  <a:gd name="T42" fmla="*/ 36 w 39"/>
                  <a:gd name="T43" fmla="*/ 32 h 41"/>
                  <a:gd name="T44" fmla="*/ 33 w 39"/>
                  <a:gd name="T45" fmla="*/ 36 h 41"/>
                  <a:gd name="T46" fmla="*/ 30 w 39"/>
                  <a:gd name="T47" fmla="*/ 38 h 41"/>
                  <a:gd name="T48" fmla="*/ 27 w 39"/>
                  <a:gd name="T49" fmla="*/ 40 h 41"/>
                  <a:gd name="T50" fmla="*/ 23 w 39"/>
                  <a:gd name="T51" fmla="*/ 41 h 41"/>
                  <a:gd name="T52" fmla="*/ 19 w 39"/>
                  <a:gd name="T53" fmla="*/ 41 h 41"/>
                  <a:gd name="T54" fmla="*/ 15 w 39"/>
                  <a:gd name="T55" fmla="*/ 41 h 41"/>
                  <a:gd name="T56" fmla="*/ 15 w 39"/>
                  <a:gd name="T57" fmla="*/ 41 h 41"/>
                  <a:gd name="T58" fmla="*/ 12 w 39"/>
                  <a:gd name="T59" fmla="*/ 38 h 41"/>
                  <a:gd name="T60" fmla="*/ 8 w 39"/>
                  <a:gd name="T61" fmla="*/ 37 h 41"/>
                  <a:gd name="T62" fmla="*/ 4 w 39"/>
                  <a:gd name="T63" fmla="*/ 35 h 41"/>
                  <a:gd name="T64" fmla="*/ 2 w 39"/>
                  <a:gd name="T65" fmla="*/ 31 h 41"/>
                  <a:gd name="T66" fmla="*/ 1 w 39"/>
                  <a:gd name="T67" fmla="*/ 28 h 41"/>
                  <a:gd name="T68" fmla="*/ 0 w 39"/>
                  <a:gd name="T69" fmla="*/ 24 h 41"/>
                  <a:gd name="T70" fmla="*/ 0 w 39"/>
                  <a:gd name="T71" fmla="*/ 20 h 41"/>
                  <a:gd name="T72" fmla="*/ 0 w 39"/>
                  <a:gd name="T73"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1">
                    <a:moveTo>
                      <a:pt x="0" y="16"/>
                    </a:moveTo>
                    <a:lnTo>
                      <a:pt x="0" y="16"/>
                    </a:lnTo>
                    <a:lnTo>
                      <a:pt x="2" y="12"/>
                    </a:lnTo>
                    <a:lnTo>
                      <a:pt x="3" y="8"/>
                    </a:lnTo>
                    <a:lnTo>
                      <a:pt x="6" y="6"/>
                    </a:lnTo>
                    <a:lnTo>
                      <a:pt x="9" y="3"/>
                    </a:lnTo>
                    <a:lnTo>
                      <a:pt x="13" y="1"/>
                    </a:lnTo>
                    <a:lnTo>
                      <a:pt x="16" y="1"/>
                    </a:lnTo>
                    <a:lnTo>
                      <a:pt x="20" y="0"/>
                    </a:lnTo>
                    <a:lnTo>
                      <a:pt x="25" y="1"/>
                    </a:lnTo>
                    <a:lnTo>
                      <a:pt x="25" y="1"/>
                    </a:lnTo>
                    <a:lnTo>
                      <a:pt x="29" y="2"/>
                    </a:lnTo>
                    <a:lnTo>
                      <a:pt x="32" y="5"/>
                    </a:lnTo>
                    <a:lnTo>
                      <a:pt x="35" y="7"/>
                    </a:lnTo>
                    <a:lnTo>
                      <a:pt x="37" y="11"/>
                    </a:lnTo>
                    <a:lnTo>
                      <a:pt x="38" y="13"/>
                    </a:lnTo>
                    <a:lnTo>
                      <a:pt x="39" y="18"/>
                    </a:lnTo>
                    <a:lnTo>
                      <a:pt x="39" y="22"/>
                    </a:lnTo>
                    <a:lnTo>
                      <a:pt x="39" y="25"/>
                    </a:lnTo>
                    <a:lnTo>
                      <a:pt x="39" y="25"/>
                    </a:lnTo>
                    <a:lnTo>
                      <a:pt x="38" y="29"/>
                    </a:lnTo>
                    <a:lnTo>
                      <a:pt x="36" y="32"/>
                    </a:lnTo>
                    <a:lnTo>
                      <a:pt x="33" y="36"/>
                    </a:lnTo>
                    <a:lnTo>
                      <a:pt x="30" y="38"/>
                    </a:lnTo>
                    <a:lnTo>
                      <a:pt x="27" y="40"/>
                    </a:lnTo>
                    <a:lnTo>
                      <a:pt x="23" y="41"/>
                    </a:lnTo>
                    <a:lnTo>
                      <a:pt x="19" y="41"/>
                    </a:lnTo>
                    <a:lnTo>
                      <a:pt x="15" y="41"/>
                    </a:lnTo>
                    <a:lnTo>
                      <a:pt x="15" y="41"/>
                    </a:lnTo>
                    <a:lnTo>
                      <a:pt x="12" y="38"/>
                    </a:lnTo>
                    <a:lnTo>
                      <a:pt x="8" y="37"/>
                    </a:lnTo>
                    <a:lnTo>
                      <a:pt x="4" y="35"/>
                    </a:lnTo>
                    <a:lnTo>
                      <a:pt x="2" y="31"/>
                    </a:lnTo>
                    <a:lnTo>
                      <a:pt x="1" y="28"/>
                    </a:lnTo>
                    <a:lnTo>
                      <a:pt x="0" y="24"/>
                    </a:lnTo>
                    <a:lnTo>
                      <a:pt x="0" y="20"/>
                    </a:ln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597"/>
              <p:cNvSpPr>
                <a:spLocks/>
              </p:cNvSpPr>
              <p:nvPr/>
            </p:nvSpPr>
            <p:spPr bwMode="auto">
              <a:xfrm>
                <a:off x="6390017" y="2441114"/>
                <a:ext cx="30989" cy="30989"/>
              </a:xfrm>
              <a:custGeom>
                <a:avLst/>
                <a:gdLst>
                  <a:gd name="T0" fmla="*/ 0 w 39"/>
                  <a:gd name="T1" fmla="*/ 16 h 41"/>
                  <a:gd name="T2" fmla="*/ 0 w 39"/>
                  <a:gd name="T3" fmla="*/ 16 h 41"/>
                  <a:gd name="T4" fmla="*/ 2 w 39"/>
                  <a:gd name="T5" fmla="*/ 12 h 41"/>
                  <a:gd name="T6" fmla="*/ 3 w 39"/>
                  <a:gd name="T7" fmla="*/ 8 h 41"/>
                  <a:gd name="T8" fmla="*/ 6 w 39"/>
                  <a:gd name="T9" fmla="*/ 6 h 41"/>
                  <a:gd name="T10" fmla="*/ 9 w 39"/>
                  <a:gd name="T11" fmla="*/ 3 h 41"/>
                  <a:gd name="T12" fmla="*/ 13 w 39"/>
                  <a:gd name="T13" fmla="*/ 1 h 41"/>
                  <a:gd name="T14" fmla="*/ 16 w 39"/>
                  <a:gd name="T15" fmla="*/ 1 h 41"/>
                  <a:gd name="T16" fmla="*/ 20 w 39"/>
                  <a:gd name="T17" fmla="*/ 0 h 41"/>
                  <a:gd name="T18" fmla="*/ 25 w 39"/>
                  <a:gd name="T19" fmla="*/ 1 h 41"/>
                  <a:gd name="T20" fmla="*/ 25 w 39"/>
                  <a:gd name="T21" fmla="*/ 1 h 41"/>
                  <a:gd name="T22" fmla="*/ 29 w 39"/>
                  <a:gd name="T23" fmla="*/ 2 h 41"/>
                  <a:gd name="T24" fmla="*/ 32 w 39"/>
                  <a:gd name="T25" fmla="*/ 5 h 41"/>
                  <a:gd name="T26" fmla="*/ 35 w 39"/>
                  <a:gd name="T27" fmla="*/ 7 h 41"/>
                  <a:gd name="T28" fmla="*/ 37 w 39"/>
                  <a:gd name="T29" fmla="*/ 11 h 41"/>
                  <a:gd name="T30" fmla="*/ 38 w 39"/>
                  <a:gd name="T31" fmla="*/ 13 h 41"/>
                  <a:gd name="T32" fmla="*/ 39 w 39"/>
                  <a:gd name="T33" fmla="*/ 18 h 41"/>
                  <a:gd name="T34" fmla="*/ 39 w 39"/>
                  <a:gd name="T35" fmla="*/ 22 h 41"/>
                  <a:gd name="T36" fmla="*/ 39 w 39"/>
                  <a:gd name="T37" fmla="*/ 25 h 41"/>
                  <a:gd name="T38" fmla="*/ 39 w 39"/>
                  <a:gd name="T39" fmla="*/ 25 h 41"/>
                  <a:gd name="T40" fmla="*/ 38 w 39"/>
                  <a:gd name="T41" fmla="*/ 29 h 41"/>
                  <a:gd name="T42" fmla="*/ 36 w 39"/>
                  <a:gd name="T43" fmla="*/ 32 h 41"/>
                  <a:gd name="T44" fmla="*/ 33 w 39"/>
                  <a:gd name="T45" fmla="*/ 36 h 41"/>
                  <a:gd name="T46" fmla="*/ 30 w 39"/>
                  <a:gd name="T47" fmla="*/ 38 h 41"/>
                  <a:gd name="T48" fmla="*/ 27 w 39"/>
                  <a:gd name="T49" fmla="*/ 40 h 41"/>
                  <a:gd name="T50" fmla="*/ 23 w 39"/>
                  <a:gd name="T51" fmla="*/ 41 h 41"/>
                  <a:gd name="T52" fmla="*/ 19 w 39"/>
                  <a:gd name="T53" fmla="*/ 41 h 41"/>
                  <a:gd name="T54" fmla="*/ 15 w 39"/>
                  <a:gd name="T55" fmla="*/ 41 h 41"/>
                  <a:gd name="T56" fmla="*/ 15 w 39"/>
                  <a:gd name="T57" fmla="*/ 41 h 41"/>
                  <a:gd name="T58" fmla="*/ 12 w 39"/>
                  <a:gd name="T59" fmla="*/ 38 h 41"/>
                  <a:gd name="T60" fmla="*/ 8 w 39"/>
                  <a:gd name="T61" fmla="*/ 37 h 41"/>
                  <a:gd name="T62" fmla="*/ 4 w 39"/>
                  <a:gd name="T63" fmla="*/ 35 h 41"/>
                  <a:gd name="T64" fmla="*/ 2 w 39"/>
                  <a:gd name="T65" fmla="*/ 31 h 41"/>
                  <a:gd name="T66" fmla="*/ 1 w 39"/>
                  <a:gd name="T67" fmla="*/ 28 h 41"/>
                  <a:gd name="T68" fmla="*/ 0 w 39"/>
                  <a:gd name="T69" fmla="*/ 24 h 41"/>
                  <a:gd name="T70" fmla="*/ 0 w 39"/>
                  <a:gd name="T71" fmla="*/ 20 h 41"/>
                  <a:gd name="T72" fmla="*/ 0 w 39"/>
                  <a:gd name="T73"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1">
                    <a:moveTo>
                      <a:pt x="0" y="16"/>
                    </a:moveTo>
                    <a:lnTo>
                      <a:pt x="0" y="16"/>
                    </a:lnTo>
                    <a:lnTo>
                      <a:pt x="2" y="12"/>
                    </a:lnTo>
                    <a:lnTo>
                      <a:pt x="3" y="8"/>
                    </a:lnTo>
                    <a:lnTo>
                      <a:pt x="6" y="6"/>
                    </a:lnTo>
                    <a:lnTo>
                      <a:pt x="9" y="3"/>
                    </a:lnTo>
                    <a:lnTo>
                      <a:pt x="13" y="1"/>
                    </a:lnTo>
                    <a:lnTo>
                      <a:pt x="16" y="1"/>
                    </a:lnTo>
                    <a:lnTo>
                      <a:pt x="20" y="0"/>
                    </a:lnTo>
                    <a:lnTo>
                      <a:pt x="25" y="1"/>
                    </a:lnTo>
                    <a:lnTo>
                      <a:pt x="25" y="1"/>
                    </a:lnTo>
                    <a:lnTo>
                      <a:pt x="29" y="2"/>
                    </a:lnTo>
                    <a:lnTo>
                      <a:pt x="32" y="5"/>
                    </a:lnTo>
                    <a:lnTo>
                      <a:pt x="35" y="7"/>
                    </a:lnTo>
                    <a:lnTo>
                      <a:pt x="37" y="11"/>
                    </a:lnTo>
                    <a:lnTo>
                      <a:pt x="38" y="13"/>
                    </a:lnTo>
                    <a:lnTo>
                      <a:pt x="39" y="18"/>
                    </a:lnTo>
                    <a:lnTo>
                      <a:pt x="39" y="22"/>
                    </a:lnTo>
                    <a:lnTo>
                      <a:pt x="39" y="25"/>
                    </a:lnTo>
                    <a:lnTo>
                      <a:pt x="39" y="25"/>
                    </a:lnTo>
                    <a:lnTo>
                      <a:pt x="38" y="29"/>
                    </a:lnTo>
                    <a:lnTo>
                      <a:pt x="36" y="32"/>
                    </a:lnTo>
                    <a:lnTo>
                      <a:pt x="33" y="36"/>
                    </a:lnTo>
                    <a:lnTo>
                      <a:pt x="30" y="38"/>
                    </a:lnTo>
                    <a:lnTo>
                      <a:pt x="27" y="40"/>
                    </a:lnTo>
                    <a:lnTo>
                      <a:pt x="23" y="41"/>
                    </a:lnTo>
                    <a:lnTo>
                      <a:pt x="19" y="41"/>
                    </a:lnTo>
                    <a:lnTo>
                      <a:pt x="15" y="41"/>
                    </a:lnTo>
                    <a:lnTo>
                      <a:pt x="15" y="41"/>
                    </a:lnTo>
                    <a:lnTo>
                      <a:pt x="12" y="38"/>
                    </a:lnTo>
                    <a:lnTo>
                      <a:pt x="8" y="37"/>
                    </a:lnTo>
                    <a:lnTo>
                      <a:pt x="4" y="35"/>
                    </a:lnTo>
                    <a:lnTo>
                      <a:pt x="2" y="31"/>
                    </a:lnTo>
                    <a:lnTo>
                      <a:pt x="1" y="28"/>
                    </a:lnTo>
                    <a:lnTo>
                      <a:pt x="0" y="24"/>
                    </a:lnTo>
                    <a:lnTo>
                      <a:pt x="0" y="20"/>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8"/>
              <p:cNvSpPr>
                <a:spLocks/>
              </p:cNvSpPr>
              <p:nvPr/>
            </p:nvSpPr>
            <p:spPr bwMode="auto">
              <a:xfrm>
                <a:off x="6451995" y="2456608"/>
                <a:ext cx="30989" cy="30989"/>
              </a:xfrm>
              <a:custGeom>
                <a:avLst/>
                <a:gdLst>
                  <a:gd name="T0" fmla="*/ 0 w 40"/>
                  <a:gd name="T1" fmla="*/ 16 h 41"/>
                  <a:gd name="T2" fmla="*/ 0 w 40"/>
                  <a:gd name="T3" fmla="*/ 16 h 41"/>
                  <a:gd name="T4" fmla="*/ 1 w 40"/>
                  <a:gd name="T5" fmla="*/ 12 h 41"/>
                  <a:gd name="T6" fmla="*/ 4 w 40"/>
                  <a:gd name="T7" fmla="*/ 9 h 41"/>
                  <a:gd name="T8" fmla="*/ 6 w 40"/>
                  <a:gd name="T9" fmla="*/ 6 h 41"/>
                  <a:gd name="T10" fmla="*/ 10 w 40"/>
                  <a:gd name="T11" fmla="*/ 4 h 41"/>
                  <a:gd name="T12" fmla="*/ 13 w 40"/>
                  <a:gd name="T13" fmla="*/ 1 h 41"/>
                  <a:gd name="T14" fmla="*/ 17 w 40"/>
                  <a:gd name="T15" fmla="*/ 0 h 41"/>
                  <a:gd name="T16" fmla="*/ 21 w 40"/>
                  <a:gd name="T17" fmla="*/ 0 h 41"/>
                  <a:gd name="T18" fmla="*/ 24 w 40"/>
                  <a:gd name="T19" fmla="*/ 1 h 41"/>
                  <a:gd name="T20" fmla="*/ 24 w 40"/>
                  <a:gd name="T21" fmla="*/ 1 h 41"/>
                  <a:gd name="T22" fmla="*/ 29 w 40"/>
                  <a:gd name="T23" fmla="*/ 3 h 41"/>
                  <a:gd name="T24" fmla="*/ 32 w 40"/>
                  <a:gd name="T25" fmla="*/ 5 h 41"/>
                  <a:gd name="T26" fmla="*/ 35 w 40"/>
                  <a:gd name="T27" fmla="*/ 7 h 41"/>
                  <a:gd name="T28" fmla="*/ 38 w 40"/>
                  <a:gd name="T29" fmla="*/ 10 h 41"/>
                  <a:gd name="T30" fmla="*/ 39 w 40"/>
                  <a:gd name="T31" fmla="*/ 13 h 41"/>
                  <a:gd name="T32" fmla="*/ 40 w 40"/>
                  <a:gd name="T33" fmla="*/ 17 h 41"/>
                  <a:gd name="T34" fmla="*/ 40 w 40"/>
                  <a:gd name="T35" fmla="*/ 22 h 41"/>
                  <a:gd name="T36" fmla="*/ 40 w 40"/>
                  <a:gd name="T37" fmla="*/ 26 h 41"/>
                  <a:gd name="T38" fmla="*/ 40 w 40"/>
                  <a:gd name="T39" fmla="*/ 26 h 41"/>
                  <a:gd name="T40" fmla="*/ 39 w 40"/>
                  <a:gd name="T41" fmla="*/ 29 h 41"/>
                  <a:gd name="T42" fmla="*/ 36 w 40"/>
                  <a:gd name="T43" fmla="*/ 33 h 41"/>
                  <a:gd name="T44" fmla="*/ 34 w 40"/>
                  <a:gd name="T45" fmla="*/ 35 h 41"/>
                  <a:gd name="T46" fmla="*/ 30 w 40"/>
                  <a:gd name="T47" fmla="*/ 38 h 41"/>
                  <a:gd name="T48" fmla="*/ 27 w 40"/>
                  <a:gd name="T49" fmla="*/ 40 h 41"/>
                  <a:gd name="T50" fmla="*/ 23 w 40"/>
                  <a:gd name="T51" fmla="*/ 41 h 41"/>
                  <a:gd name="T52" fmla="*/ 19 w 40"/>
                  <a:gd name="T53" fmla="*/ 41 h 41"/>
                  <a:gd name="T54" fmla="*/ 15 w 40"/>
                  <a:gd name="T55" fmla="*/ 40 h 41"/>
                  <a:gd name="T56" fmla="*/ 15 w 40"/>
                  <a:gd name="T57" fmla="*/ 40 h 41"/>
                  <a:gd name="T58" fmla="*/ 11 w 40"/>
                  <a:gd name="T59" fmla="*/ 39 h 41"/>
                  <a:gd name="T60" fmla="*/ 7 w 40"/>
                  <a:gd name="T61" fmla="*/ 38 h 41"/>
                  <a:gd name="T62" fmla="*/ 5 w 40"/>
                  <a:gd name="T63" fmla="*/ 34 h 41"/>
                  <a:gd name="T64" fmla="*/ 3 w 40"/>
                  <a:gd name="T65" fmla="*/ 32 h 41"/>
                  <a:gd name="T66" fmla="*/ 1 w 40"/>
                  <a:gd name="T67" fmla="*/ 28 h 41"/>
                  <a:gd name="T68" fmla="*/ 0 w 40"/>
                  <a:gd name="T69" fmla="*/ 24 h 41"/>
                  <a:gd name="T70" fmla="*/ 0 w 40"/>
                  <a:gd name="T71" fmla="*/ 19 h 41"/>
                  <a:gd name="T72" fmla="*/ 0 w 40"/>
                  <a:gd name="T73"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0" y="16"/>
                    </a:moveTo>
                    <a:lnTo>
                      <a:pt x="0" y="16"/>
                    </a:lnTo>
                    <a:lnTo>
                      <a:pt x="1" y="12"/>
                    </a:lnTo>
                    <a:lnTo>
                      <a:pt x="4" y="9"/>
                    </a:lnTo>
                    <a:lnTo>
                      <a:pt x="6" y="6"/>
                    </a:lnTo>
                    <a:lnTo>
                      <a:pt x="10" y="4"/>
                    </a:lnTo>
                    <a:lnTo>
                      <a:pt x="13" y="1"/>
                    </a:lnTo>
                    <a:lnTo>
                      <a:pt x="17" y="0"/>
                    </a:lnTo>
                    <a:lnTo>
                      <a:pt x="21" y="0"/>
                    </a:lnTo>
                    <a:lnTo>
                      <a:pt x="24" y="1"/>
                    </a:lnTo>
                    <a:lnTo>
                      <a:pt x="24" y="1"/>
                    </a:lnTo>
                    <a:lnTo>
                      <a:pt x="29" y="3"/>
                    </a:lnTo>
                    <a:lnTo>
                      <a:pt x="32" y="5"/>
                    </a:lnTo>
                    <a:lnTo>
                      <a:pt x="35" y="7"/>
                    </a:lnTo>
                    <a:lnTo>
                      <a:pt x="38" y="10"/>
                    </a:lnTo>
                    <a:lnTo>
                      <a:pt x="39" y="13"/>
                    </a:lnTo>
                    <a:lnTo>
                      <a:pt x="40" y="17"/>
                    </a:lnTo>
                    <a:lnTo>
                      <a:pt x="40" y="22"/>
                    </a:lnTo>
                    <a:lnTo>
                      <a:pt x="40" y="26"/>
                    </a:lnTo>
                    <a:lnTo>
                      <a:pt x="40" y="26"/>
                    </a:lnTo>
                    <a:lnTo>
                      <a:pt x="39" y="29"/>
                    </a:lnTo>
                    <a:lnTo>
                      <a:pt x="36" y="33"/>
                    </a:lnTo>
                    <a:lnTo>
                      <a:pt x="34" y="35"/>
                    </a:lnTo>
                    <a:lnTo>
                      <a:pt x="30" y="38"/>
                    </a:lnTo>
                    <a:lnTo>
                      <a:pt x="27" y="40"/>
                    </a:lnTo>
                    <a:lnTo>
                      <a:pt x="23" y="41"/>
                    </a:lnTo>
                    <a:lnTo>
                      <a:pt x="19" y="41"/>
                    </a:lnTo>
                    <a:lnTo>
                      <a:pt x="15" y="40"/>
                    </a:lnTo>
                    <a:lnTo>
                      <a:pt x="15" y="40"/>
                    </a:lnTo>
                    <a:lnTo>
                      <a:pt x="11" y="39"/>
                    </a:lnTo>
                    <a:lnTo>
                      <a:pt x="7" y="38"/>
                    </a:lnTo>
                    <a:lnTo>
                      <a:pt x="5" y="34"/>
                    </a:lnTo>
                    <a:lnTo>
                      <a:pt x="3" y="32"/>
                    </a:lnTo>
                    <a:lnTo>
                      <a:pt x="1" y="28"/>
                    </a:lnTo>
                    <a:lnTo>
                      <a:pt x="0" y="24"/>
                    </a:lnTo>
                    <a:lnTo>
                      <a:pt x="0" y="19"/>
                    </a:lnTo>
                    <a:lnTo>
                      <a:pt x="0"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599"/>
              <p:cNvSpPr>
                <a:spLocks/>
              </p:cNvSpPr>
              <p:nvPr/>
            </p:nvSpPr>
            <p:spPr bwMode="auto">
              <a:xfrm>
                <a:off x="6451995" y="2456608"/>
                <a:ext cx="30989" cy="30989"/>
              </a:xfrm>
              <a:custGeom>
                <a:avLst/>
                <a:gdLst>
                  <a:gd name="T0" fmla="*/ 0 w 40"/>
                  <a:gd name="T1" fmla="*/ 16 h 41"/>
                  <a:gd name="T2" fmla="*/ 0 w 40"/>
                  <a:gd name="T3" fmla="*/ 16 h 41"/>
                  <a:gd name="T4" fmla="*/ 1 w 40"/>
                  <a:gd name="T5" fmla="*/ 12 h 41"/>
                  <a:gd name="T6" fmla="*/ 4 w 40"/>
                  <a:gd name="T7" fmla="*/ 9 h 41"/>
                  <a:gd name="T8" fmla="*/ 6 w 40"/>
                  <a:gd name="T9" fmla="*/ 6 h 41"/>
                  <a:gd name="T10" fmla="*/ 10 w 40"/>
                  <a:gd name="T11" fmla="*/ 4 h 41"/>
                  <a:gd name="T12" fmla="*/ 13 w 40"/>
                  <a:gd name="T13" fmla="*/ 1 h 41"/>
                  <a:gd name="T14" fmla="*/ 17 w 40"/>
                  <a:gd name="T15" fmla="*/ 0 h 41"/>
                  <a:gd name="T16" fmla="*/ 21 w 40"/>
                  <a:gd name="T17" fmla="*/ 0 h 41"/>
                  <a:gd name="T18" fmla="*/ 24 w 40"/>
                  <a:gd name="T19" fmla="*/ 1 h 41"/>
                  <a:gd name="T20" fmla="*/ 24 w 40"/>
                  <a:gd name="T21" fmla="*/ 1 h 41"/>
                  <a:gd name="T22" fmla="*/ 29 w 40"/>
                  <a:gd name="T23" fmla="*/ 3 h 41"/>
                  <a:gd name="T24" fmla="*/ 32 w 40"/>
                  <a:gd name="T25" fmla="*/ 5 h 41"/>
                  <a:gd name="T26" fmla="*/ 35 w 40"/>
                  <a:gd name="T27" fmla="*/ 7 h 41"/>
                  <a:gd name="T28" fmla="*/ 38 w 40"/>
                  <a:gd name="T29" fmla="*/ 10 h 41"/>
                  <a:gd name="T30" fmla="*/ 39 w 40"/>
                  <a:gd name="T31" fmla="*/ 13 h 41"/>
                  <a:gd name="T32" fmla="*/ 40 w 40"/>
                  <a:gd name="T33" fmla="*/ 17 h 41"/>
                  <a:gd name="T34" fmla="*/ 40 w 40"/>
                  <a:gd name="T35" fmla="*/ 22 h 41"/>
                  <a:gd name="T36" fmla="*/ 40 w 40"/>
                  <a:gd name="T37" fmla="*/ 26 h 41"/>
                  <a:gd name="T38" fmla="*/ 40 w 40"/>
                  <a:gd name="T39" fmla="*/ 26 h 41"/>
                  <a:gd name="T40" fmla="*/ 39 w 40"/>
                  <a:gd name="T41" fmla="*/ 29 h 41"/>
                  <a:gd name="T42" fmla="*/ 36 w 40"/>
                  <a:gd name="T43" fmla="*/ 33 h 41"/>
                  <a:gd name="T44" fmla="*/ 34 w 40"/>
                  <a:gd name="T45" fmla="*/ 35 h 41"/>
                  <a:gd name="T46" fmla="*/ 30 w 40"/>
                  <a:gd name="T47" fmla="*/ 38 h 41"/>
                  <a:gd name="T48" fmla="*/ 27 w 40"/>
                  <a:gd name="T49" fmla="*/ 40 h 41"/>
                  <a:gd name="T50" fmla="*/ 23 w 40"/>
                  <a:gd name="T51" fmla="*/ 41 h 41"/>
                  <a:gd name="T52" fmla="*/ 19 w 40"/>
                  <a:gd name="T53" fmla="*/ 41 h 41"/>
                  <a:gd name="T54" fmla="*/ 15 w 40"/>
                  <a:gd name="T55" fmla="*/ 40 h 41"/>
                  <a:gd name="T56" fmla="*/ 15 w 40"/>
                  <a:gd name="T57" fmla="*/ 40 h 41"/>
                  <a:gd name="T58" fmla="*/ 11 w 40"/>
                  <a:gd name="T59" fmla="*/ 39 h 41"/>
                  <a:gd name="T60" fmla="*/ 7 w 40"/>
                  <a:gd name="T61" fmla="*/ 38 h 41"/>
                  <a:gd name="T62" fmla="*/ 5 w 40"/>
                  <a:gd name="T63" fmla="*/ 34 h 41"/>
                  <a:gd name="T64" fmla="*/ 3 w 40"/>
                  <a:gd name="T65" fmla="*/ 32 h 41"/>
                  <a:gd name="T66" fmla="*/ 1 w 40"/>
                  <a:gd name="T67" fmla="*/ 28 h 41"/>
                  <a:gd name="T68" fmla="*/ 0 w 40"/>
                  <a:gd name="T69" fmla="*/ 24 h 41"/>
                  <a:gd name="T70" fmla="*/ 0 w 40"/>
                  <a:gd name="T71" fmla="*/ 19 h 41"/>
                  <a:gd name="T72" fmla="*/ 0 w 40"/>
                  <a:gd name="T73"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0" y="16"/>
                    </a:moveTo>
                    <a:lnTo>
                      <a:pt x="0" y="16"/>
                    </a:lnTo>
                    <a:lnTo>
                      <a:pt x="1" y="12"/>
                    </a:lnTo>
                    <a:lnTo>
                      <a:pt x="4" y="9"/>
                    </a:lnTo>
                    <a:lnTo>
                      <a:pt x="6" y="6"/>
                    </a:lnTo>
                    <a:lnTo>
                      <a:pt x="10" y="4"/>
                    </a:lnTo>
                    <a:lnTo>
                      <a:pt x="13" y="1"/>
                    </a:lnTo>
                    <a:lnTo>
                      <a:pt x="17" y="0"/>
                    </a:lnTo>
                    <a:lnTo>
                      <a:pt x="21" y="0"/>
                    </a:lnTo>
                    <a:lnTo>
                      <a:pt x="24" y="1"/>
                    </a:lnTo>
                    <a:lnTo>
                      <a:pt x="24" y="1"/>
                    </a:lnTo>
                    <a:lnTo>
                      <a:pt x="29" y="3"/>
                    </a:lnTo>
                    <a:lnTo>
                      <a:pt x="32" y="5"/>
                    </a:lnTo>
                    <a:lnTo>
                      <a:pt x="35" y="7"/>
                    </a:lnTo>
                    <a:lnTo>
                      <a:pt x="38" y="10"/>
                    </a:lnTo>
                    <a:lnTo>
                      <a:pt x="39" y="13"/>
                    </a:lnTo>
                    <a:lnTo>
                      <a:pt x="40" y="17"/>
                    </a:lnTo>
                    <a:lnTo>
                      <a:pt x="40" y="22"/>
                    </a:lnTo>
                    <a:lnTo>
                      <a:pt x="40" y="26"/>
                    </a:lnTo>
                    <a:lnTo>
                      <a:pt x="40" y="26"/>
                    </a:lnTo>
                    <a:lnTo>
                      <a:pt x="39" y="29"/>
                    </a:lnTo>
                    <a:lnTo>
                      <a:pt x="36" y="33"/>
                    </a:lnTo>
                    <a:lnTo>
                      <a:pt x="34" y="35"/>
                    </a:lnTo>
                    <a:lnTo>
                      <a:pt x="30" y="38"/>
                    </a:lnTo>
                    <a:lnTo>
                      <a:pt x="27" y="40"/>
                    </a:lnTo>
                    <a:lnTo>
                      <a:pt x="23" y="41"/>
                    </a:lnTo>
                    <a:lnTo>
                      <a:pt x="19" y="41"/>
                    </a:lnTo>
                    <a:lnTo>
                      <a:pt x="15" y="40"/>
                    </a:lnTo>
                    <a:lnTo>
                      <a:pt x="15" y="40"/>
                    </a:lnTo>
                    <a:lnTo>
                      <a:pt x="11" y="39"/>
                    </a:lnTo>
                    <a:lnTo>
                      <a:pt x="7" y="38"/>
                    </a:lnTo>
                    <a:lnTo>
                      <a:pt x="5" y="34"/>
                    </a:lnTo>
                    <a:lnTo>
                      <a:pt x="3" y="32"/>
                    </a:lnTo>
                    <a:lnTo>
                      <a:pt x="1" y="28"/>
                    </a:lnTo>
                    <a:lnTo>
                      <a:pt x="0" y="24"/>
                    </a:lnTo>
                    <a:lnTo>
                      <a:pt x="0" y="19"/>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10"/>
              <p:cNvSpPr>
                <a:spLocks/>
              </p:cNvSpPr>
              <p:nvPr/>
            </p:nvSpPr>
            <p:spPr bwMode="auto">
              <a:xfrm>
                <a:off x="6730898" y="1911198"/>
                <a:ext cx="195233" cy="192133"/>
              </a:xfrm>
              <a:custGeom>
                <a:avLst/>
                <a:gdLst>
                  <a:gd name="T0" fmla="*/ 0 w 249"/>
                  <a:gd name="T1" fmla="*/ 126 h 251"/>
                  <a:gd name="T2" fmla="*/ 2 w 249"/>
                  <a:gd name="T3" fmla="*/ 101 h 251"/>
                  <a:gd name="T4" fmla="*/ 9 w 249"/>
                  <a:gd name="T5" fmla="*/ 78 h 251"/>
                  <a:gd name="T6" fmla="*/ 20 w 249"/>
                  <a:gd name="T7" fmla="*/ 56 h 251"/>
                  <a:gd name="T8" fmla="*/ 36 w 249"/>
                  <a:gd name="T9" fmla="*/ 38 h 251"/>
                  <a:gd name="T10" fmla="*/ 54 w 249"/>
                  <a:gd name="T11" fmla="*/ 22 h 251"/>
                  <a:gd name="T12" fmla="*/ 76 w 249"/>
                  <a:gd name="T13" fmla="*/ 11 h 251"/>
                  <a:gd name="T14" fmla="*/ 99 w 249"/>
                  <a:gd name="T15" fmla="*/ 4 h 251"/>
                  <a:gd name="T16" fmla="*/ 124 w 249"/>
                  <a:gd name="T17" fmla="*/ 0 h 251"/>
                  <a:gd name="T18" fmla="*/ 138 w 249"/>
                  <a:gd name="T19" fmla="*/ 2 h 251"/>
                  <a:gd name="T20" fmla="*/ 162 w 249"/>
                  <a:gd name="T21" fmla="*/ 7 h 251"/>
                  <a:gd name="T22" fmla="*/ 183 w 249"/>
                  <a:gd name="T23" fmla="*/ 16 h 251"/>
                  <a:gd name="T24" fmla="*/ 204 w 249"/>
                  <a:gd name="T25" fmla="*/ 29 h 251"/>
                  <a:gd name="T26" fmla="*/ 221 w 249"/>
                  <a:gd name="T27" fmla="*/ 46 h 251"/>
                  <a:gd name="T28" fmla="*/ 234 w 249"/>
                  <a:gd name="T29" fmla="*/ 67 h 251"/>
                  <a:gd name="T30" fmla="*/ 244 w 249"/>
                  <a:gd name="T31" fmla="*/ 89 h 251"/>
                  <a:gd name="T32" fmla="*/ 249 w 249"/>
                  <a:gd name="T33" fmla="*/ 113 h 251"/>
                  <a:gd name="T34" fmla="*/ 249 w 249"/>
                  <a:gd name="T35" fmla="*/ 126 h 251"/>
                  <a:gd name="T36" fmla="*/ 246 w 249"/>
                  <a:gd name="T37" fmla="*/ 152 h 251"/>
                  <a:gd name="T38" fmla="*/ 239 w 249"/>
                  <a:gd name="T39" fmla="*/ 175 h 251"/>
                  <a:gd name="T40" fmla="*/ 228 w 249"/>
                  <a:gd name="T41" fmla="*/ 196 h 251"/>
                  <a:gd name="T42" fmla="*/ 213 w 249"/>
                  <a:gd name="T43" fmla="*/ 214 h 251"/>
                  <a:gd name="T44" fmla="*/ 194 w 249"/>
                  <a:gd name="T45" fmla="*/ 230 h 251"/>
                  <a:gd name="T46" fmla="*/ 173 w 249"/>
                  <a:gd name="T47" fmla="*/ 241 h 251"/>
                  <a:gd name="T48" fmla="*/ 150 w 249"/>
                  <a:gd name="T49" fmla="*/ 248 h 251"/>
                  <a:gd name="T50" fmla="*/ 124 w 249"/>
                  <a:gd name="T51" fmla="*/ 251 h 251"/>
                  <a:gd name="T52" fmla="*/ 111 w 249"/>
                  <a:gd name="T53" fmla="*/ 251 h 251"/>
                  <a:gd name="T54" fmla="*/ 87 w 249"/>
                  <a:gd name="T55" fmla="*/ 246 h 251"/>
                  <a:gd name="T56" fmla="*/ 65 w 249"/>
                  <a:gd name="T57" fmla="*/ 236 h 251"/>
                  <a:gd name="T58" fmla="*/ 44 w 249"/>
                  <a:gd name="T59" fmla="*/ 223 h 251"/>
                  <a:gd name="T60" fmla="*/ 28 w 249"/>
                  <a:gd name="T61" fmla="*/ 206 h 251"/>
                  <a:gd name="T62" fmla="*/ 14 w 249"/>
                  <a:gd name="T63" fmla="*/ 185 h 251"/>
                  <a:gd name="T64" fmla="*/ 5 w 249"/>
                  <a:gd name="T65" fmla="*/ 164 h 251"/>
                  <a:gd name="T66" fmla="*/ 0 w 249"/>
                  <a:gd name="T67" fmla="*/ 13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9" h="251">
                    <a:moveTo>
                      <a:pt x="0" y="126"/>
                    </a:moveTo>
                    <a:lnTo>
                      <a:pt x="0" y="126"/>
                    </a:lnTo>
                    <a:lnTo>
                      <a:pt x="0" y="113"/>
                    </a:lnTo>
                    <a:lnTo>
                      <a:pt x="2" y="101"/>
                    </a:lnTo>
                    <a:lnTo>
                      <a:pt x="5" y="89"/>
                    </a:lnTo>
                    <a:lnTo>
                      <a:pt x="9" y="78"/>
                    </a:lnTo>
                    <a:lnTo>
                      <a:pt x="14" y="67"/>
                    </a:lnTo>
                    <a:lnTo>
                      <a:pt x="20" y="56"/>
                    </a:lnTo>
                    <a:lnTo>
                      <a:pt x="28" y="46"/>
                    </a:lnTo>
                    <a:lnTo>
                      <a:pt x="36" y="38"/>
                    </a:lnTo>
                    <a:lnTo>
                      <a:pt x="44" y="29"/>
                    </a:lnTo>
                    <a:lnTo>
                      <a:pt x="54" y="22"/>
                    </a:lnTo>
                    <a:lnTo>
                      <a:pt x="65" y="16"/>
                    </a:lnTo>
                    <a:lnTo>
                      <a:pt x="76" y="11"/>
                    </a:lnTo>
                    <a:lnTo>
                      <a:pt x="87" y="7"/>
                    </a:lnTo>
                    <a:lnTo>
                      <a:pt x="99" y="4"/>
                    </a:lnTo>
                    <a:lnTo>
                      <a:pt x="111" y="2"/>
                    </a:lnTo>
                    <a:lnTo>
                      <a:pt x="124" y="0"/>
                    </a:lnTo>
                    <a:lnTo>
                      <a:pt x="124" y="0"/>
                    </a:lnTo>
                    <a:lnTo>
                      <a:pt x="138" y="2"/>
                    </a:lnTo>
                    <a:lnTo>
                      <a:pt x="150" y="4"/>
                    </a:lnTo>
                    <a:lnTo>
                      <a:pt x="162" y="7"/>
                    </a:lnTo>
                    <a:lnTo>
                      <a:pt x="173" y="11"/>
                    </a:lnTo>
                    <a:lnTo>
                      <a:pt x="183" y="16"/>
                    </a:lnTo>
                    <a:lnTo>
                      <a:pt x="194" y="22"/>
                    </a:lnTo>
                    <a:lnTo>
                      <a:pt x="204" y="29"/>
                    </a:lnTo>
                    <a:lnTo>
                      <a:pt x="213" y="38"/>
                    </a:lnTo>
                    <a:lnTo>
                      <a:pt x="221" y="46"/>
                    </a:lnTo>
                    <a:lnTo>
                      <a:pt x="228" y="56"/>
                    </a:lnTo>
                    <a:lnTo>
                      <a:pt x="234" y="67"/>
                    </a:lnTo>
                    <a:lnTo>
                      <a:pt x="239" y="78"/>
                    </a:lnTo>
                    <a:lnTo>
                      <a:pt x="244" y="89"/>
                    </a:lnTo>
                    <a:lnTo>
                      <a:pt x="246" y="101"/>
                    </a:lnTo>
                    <a:lnTo>
                      <a:pt x="249" y="113"/>
                    </a:lnTo>
                    <a:lnTo>
                      <a:pt x="249" y="126"/>
                    </a:lnTo>
                    <a:lnTo>
                      <a:pt x="249" y="126"/>
                    </a:lnTo>
                    <a:lnTo>
                      <a:pt x="249" y="138"/>
                    </a:lnTo>
                    <a:lnTo>
                      <a:pt x="246" y="152"/>
                    </a:lnTo>
                    <a:lnTo>
                      <a:pt x="244" y="164"/>
                    </a:lnTo>
                    <a:lnTo>
                      <a:pt x="239" y="175"/>
                    </a:lnTo>
                    <a:lnTo>
                      <a:pt x="234" y="185"/>
                    </a:lnTo>
                    <a:lnTo>
                      <a:pt x="228" y="196"/>
                    </a:lnTo>
                    <a:lnTo>
                      <a:pt x="221" y="206"/>
                    </a:lnTo>
                    <a:lnTo>
                      <a:pt x="213" y="214"/>
                    </a:lnTo>
                    <a:lnTo>
                      <a:pt x="204" y="223"/>
                    </a:lnTo>
                    <a:lnTo>
                      <a:pt x="194" y="230"/>
                    </a:lnTo>
                    <a:lnTo>
                      <a:pt x="183" y="236"/>
                    </a:lnTo>
                    <a:lnTo>
                      <a:pt x="173" y="241"/>
                    </a:lnTo>
                    <a:lnTo>
                      <a:pt x="162" y="246"/>
                    </a:lnTo>
                    <a:lnTo>
                      <a:pt x="150" y="248"/>
                    </a:lnTo>
                    <a:lnTo>
                      <a:pt x="138" y="251"/>
                    </a:lnTo>
                    <a:lnTo>
                      <a:pt x="124" y="251"/>
                    </a:lnTo>
                    <a:lnTo>
                      <a:pt x="124" y="251"/>
                    </a:lnTo>
                    <a:lnTo>
                      <a:pt x="111" y="251"/>
                    </a:lnTo>
                    <a:lnTo>
                      <a:pt x="99" y="248"/>
                    </a:lnTo>
                    <a:lnTo>
                      <a:pt x="87" y="246"/>
                    </a:lnTo>
                    <a:lnTo>
                      <a:pt x="76" y="241"/>
                    </a:lnTo>
                    <a:lnTo>
                      <a:pt x="65" y="236"/>
                    </a:lnTo>
                    <a:lnTo>
                      <a:pt x="54" y="230"/>
                    </a:lnTo>
                    <a:lnTo>
                      <a:pt x="44" y="223"/>
                    </a:lnTo>
                    <a:lnTo>
                      <a:pt x="36" y="214"/>
                    </a:lnTo>
                    <a:lnTo>
                      <a:pt x="28" y="206"/>
                    </a:lnTo>
                    <a:lnTo>
                      <a:pt x="20" y="196"/>
                    </a:lnTo>
                    <a:lnTo>
                      <a:pt x="14" y="185"/>
                    </a:lnTo>
                    <a:lnTo>
                      <a:pt x="9" y="175"/>
                    </a:lnTo>
                    <a:lnTo>
                      <a:pt x="5" y="164"/>
                    </a:lnTo>
                    <a:lnTo>
                      <a:pt x="2" y="152"/>
                    </a:lnTo>
                    <a:lnTo>
                      <a:pt x="0" y="138"/>
                    </a:lnTo>
                    <a:lnTo>
                      <a:pt x="0" y="126"/>
                    </a:lnTo>
                    <a:close/>
                  </a:path>
                </a:pathLst>
              </a:custGeom>
              <a:solidFill>
                <a:srgbClr val="E089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11"/>
              <p:cNvSpPr>
                <a:spLocks/>
              </p:cNvSpPr>
              <p:nvPr/>
            </p:nvSpPr>
            <p:spPr bwMode="auto">
              <a:xfrm>
                <a:off x="6730898" y="1911198"/>
                <a:ext cx="195233" cy="192133"/>
              </a:xfrm>
              <a:custGeom>
                <a:avLst/>
                <a:gdLst>
                  <a:gd name="T0" fmla="*/ 0 w 249"/>
                  <a:gd name="T1" fmla="*/ 126 h 251"/>
                  <a:gd name="T2" fmla="*/ 2 w 249"/>
                  <a:gd name="T3" fmla="*/ 101 h 251"/>
                  <a:gd name="T4" fmla="*/ 9 w 249"/>
                  <a:gd name="T5" fmla="*/ 78 h 251"/>
                  <a:gd name="T6" fmla="*/ 20 w 249"/>
                  <a:gd name="T7" fmla="*/ 56 h 251"/>
                  <a:gd name="T8" fmla="*/ 36 w 249"/>
                  <a:gd name="T9" fmla="*/ 38 h 251"/>
                  <a:gd name="T10" fmla="*/ 54 w 249"/>
                  <a:gd name="T11" fmla="*/ 22 h 251"/>
                  <a:gd name="T12" fmla="*/ 76 w 249"/>
                  <a:gd name="T13" fmla="*/ 11 h 251"/>
                  <a:gd name="T14" fmla="*/ 99 w 249"/>
                  <a:gd name="T15" fmla="*/ 4 h 251"/>
                  <a:gd name="T16" fmla="*/ 124 w 249"/>
                  <a:gd name="T17" fmla="*/ 0 h 251"/>
                  <a:gd name="T18" fmla="*/ 138 w 249"/>
                  <a:gd name="T19" fmla="*/ 2 h 251"/>
                  <a:gd name="T20" fmla="*/ 162 w 249"/>
                  <a:gd name="T21" fmla="*/ 7 h 251"/>
                  <a:gd name="T22" fmla="*/ 183 w 249"/>
                  <a:gd name="T23" fmla="*/ 16 h 251"/>
                  <a:gd name="T24" fmla="*/ 204 w 249"/>
                  <a:gd name="T25" fmla="*/ 29 h 251"/>
                  <a:gd name="T26" fmla="*/ 221 w 249"/>
                  <a:gd name="T27" fmla="*/ 46 h 251"/>
                  <a:gd name="T28" fmla="*/ 234 w 249"/>
                  <a:gd name="T29" fmla="*/ 67 h 251"/>
                  <a:gd name="T30" fmla="*/ 244 w 249"/>
                  <a:gd name="T31" fmla="*/ 89 h 251"/>
                  <a:gd name="T32" fmla="*/ 249 w 249"/>
                  <a:gd name="T33" fmla="*/ 113 h 251"/>
                  <a:gd name="T34" fmla="*/ 249 w 249"/>
                  <a:gd name="T35" fmla="*/ 126 h 251"/>
                  <a:gd name="T36" fmla="*/ 246 w 249"/>
                  <a:gd name="T37" fmla="*/ 152 h 251"/>
                  <a:gd name="T38" fmla="*/ 239 w 249"/>
                  <a:gd name="T39" fmla="*/ 175 h 251"/>
                  <a:gd name="T40" fmla="*/ 228 w 249"/>
                  <a:gd name="T41" fmla="*/ 196 h 251"/>
                  <a:gd name="T42" fmla="*/ 213 w 249"/>
                  <a:gd name="T43" fmla="*/ 214 h 251"/>
                  <a:gd name="T44" fmla="*/ 194 w 249"/>
                  <a:gd name="T45" fmla="*/ 230 h 251"/>
                  <a:gd name="T46" fmla="*/ 173 w 249"/>
                  <a:gd name="T47" fmla="*/ 241 h 251"/>
                  <a:gd name="T48" fmla="*/ 150 w 249"/>
                  <a:gd name="T49" fmla="*/ 248 h 251"/>
                  <a:gd name="T50" fmla="*/ 124 w 249"/>
                  <a:gd name="T51" fmla="*/ 251 h 251"/>
                  <a:gd name="T52" fmla="*/ 111 w 249"/>
                  <a:gd name="T53" fmla="*/ 251 h 251"/>
                  <a:gd name="T54" fmla="*/ 87 w 249"/>
                  <a:gd name="T55" fmla="*/ 246 h 251"/>
                  <a:gd name="T56" fmla="*/ 65 w 249"/>
                  <a:gd name="T57" fmla="*/ 236 h 251"/>
                  <a:gd name="T58" fmla="*/ 44 w 249"/>
                  <a:gd name="T59" fmla="*/ 223 h 251"/>
                  <a:gd name="T60" fmla="*/ 28 w 249"/>
                  <a:gd name="T61" fmla="*/ 206 h 251"/>
                  <a:gd name="T62" fmla="*/ 14 w 249"/>
                  <a:gd name="T63" fmla="*/ 185 h 251"/>
                  <a:gd name="T64" fmla="*/ 5 w 249"/>
                  <a:gd name="T65" fmla="*/ 164 h 251"/>
                  <a:gd name="T66" fmla="*/ 0 w 249"/>
                  <a:gd name="T67" fmla="*/ 13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9" h="251">
                    <a:moveTo>
                      <a:pt x="0" y="126"/>
                    </a:moveTo>
                    <a:lnTo>
                      <a:pt x="0" y="126"/>
                    </a:lnTo>
                    <a:lnTo>
                      <a:pt x="0" y="113"/>
                    </a:lnTo>
                    <a:lnTo>
                      <a:pt x="2" y="101"/>
                    </a:lnTo>
                    <a:lnTo>
                      <a:pt x="5" y="89"/>
                    </a:lnTo>
                    <a:lnTo>
                      <a:pt x="9" y="78"/>
                    </a:lnTo>
                    <a:lnTo>
                      <a:pt x="14" y="67"/>
                    </a:lnTo>
                    <a:lnTo>
                      <a:pt x="20" y="56"/>
                    </a:lnTo>
                    <a:lnTo>
                      <a:pt x="28" y="46"/>
                    </a:lnTo>
                    <a:lnTo>
                      <a:pt x="36" y="38"/>
                    </a:lnTo>
                    <a:lnTo>
                      <a:pt x="44" y="29"/>
                    </a:lnTo>
                    <a:lnTo>
                      <a:pt x="54" y="22"/>
                    </a:lnTo>
                    <a:lnTo>
                      <a:pt x="65" y="16"/>
                    </a:lnTo>
                    <a:lnTo>
                      <a:pt x="76" y="11"/>
                    </a:lnTo>
                    <a:lnTo>
                      <a:pt x="87" y="7"/>
                    </a:lnTo>
                    <a:lnTo>
                      <a:pt x="99" y="4"/>
                    </a:lnTo>
                    <a:lnTo>
                      <a:pt x="111" y="2"/>
                    </a:lnTo>
                    <a:lnTo>
                      <a:pt x="124" y="0"/>
                    </a:lnTo>
                    <a:lnTo>
                      <a:pt x="124" y="0"/>
                    </a:lnTo>
                    <a:lnTo>
                      <a:pt x="138" y="2"/>
                    </a:lnTo>
                    <a:lnTo>
                      <a:pt x="150" y="4"/>
                    </a:lnTo>
                    <a:lnTo>
                      <a:pt x="162" y="7"/>
                    </a:lnTo>
                    <a:lnTo>
                      <a:pt x="173" y="11"/>
                    </a:lnTo>
                    <a:lnTo>
                      <a:pt x="183" y="16"/>
                    </a:lnTo>
                    <a:lnTo>
                      <a:pt x="194" y="22"/>
                    </a:lnTo>
                    <a:lnTo>
                      <a:pt x="204" y="29"/>
                    </a:lnTo>
                    <a:lnTo>
                      <a:pt x="213" y="38"/>
                    </a:lnTo>
                    <a:lnTo>
                      <a:pt x="221" y="46"/>
                    </a:lnTo>
                    <a:lnTo>
                      <a:pt x="228" y="56"/>
                    </a:lnTo>
                    <a:lnTo>
                      <a:pt x="234" y="67"/>
                    </a:lnTo>
                    <a:lnTo>
                      <a:pt x="239" y="78"/>
                    </a:lnTo>
                    <a:lnTo>
                      <a:pt x="244" y="89"/>
                    </a:lnTo>
                    <a:lnTo>
                      <a:pt x="246" y="101"/>
                    </a:lnTo>
                    <a:lnTo>
                      <a:pt x="249" y="113"/>
                    </a:lnTo>
                    <a:lnTo>
                      <a:pt x="249" y="126"/>
                    </a:lnTo>
                    <a:lnTo>
                      <a:pt x="249" y="126"/>
                    </a:lnTo>
                    <a:lnTo>
                      <a:pt x="249" y="138"/>
                    </a:lnTo>
                    <a:lnTo>
                      <a:pt x="246" y="152"/>
                    </a:lnTo>
                    <a:lnTo>
                      <a:pt x="244" y="164"/>
                    </a:lnTo>
                    <a:lnTo>
                      <a:pt x="239" y="175"/>
                    </a:lnTo>
                    <a:lnTo>
                      <a:pt x="234" y="185"/>
                    </a:lnTo>
                    <a:lnTo>
                      <a:pt x="228" y="196"/>
                    </a:lnTo>
                    <a:lnTo>
                      <a:pt x="221" y="206"/>
                    </a:lnTo>
                    <a:lnTo>
                      <a:pt x="213" y="214"/>
                    </a:lnTo>
                    <a:lnTo>
                      <a:pt x="204" y="223"/>
                    </a:lnTo>
                    <a:lnTo>
                      <a:pt x="194" y="230"/>
                    </a:lnTo>
                    <a:lnTo>
                      <a:pt x="183" y="236"/>
                    </a:lnTo>
                    <a:lnTo>
                      <a:pt x="173" y="241"/>
                    </a:lnTo>
                    <a:lnTo>
                      <a:pt x="162" y="246"/>
                    </a:lnTo>
                    <a:lnTo>
                      <a:pt x="150" y="248"/>
                    </a:lnTo>
                    <a:lnTo>
                      <a:pt x="138" y="251"/>
                    </a:lnTo>
                    <a:lnTo>
                      <a:pt x="124" y="251"/>
                    </a:lnTo>
                    <a:lnTo>
                      <a:pt x="124" y="251"/>
                    </a:lnTo>
                    <a:lnTo>
                      <a:pt x="111" y="251"/>
                    </a:lnTo>
                    <a:lnTo>
                      <a:pt x="99" y="248"/>
                    </a:lnTo>
                    <a:lnTo>
                      <a:pt x="87" y="246"/>
                    </a:lnTo>
                    <a:lnTo>
                      <a:pt x="76" y="241"/>
                    </a:lnTo>
                    <a:lnTo>
                      <a:pt x="65" y="236"/>
                    </a:lnTo>
                    <a:lnTo>
                      <a:pt x="54" y="230"/>
                    </a:lnTo>
                    <a:lnTo>
                      <a:pt x="44" y="223"/>
                    </a:lnTo>
                    <a:lnTo>
                      <a:pt x="36" y="214"/>
                    </a:lnTo>
                    <a:lnTo>
                      <a:pt x="28" y="206"/>
                    </a:lnTo>
                    <a:lnTo>
                      <a:pt x="20" y="196"/>
                    </a:lnTo>
                    <a:lnTo>
                      <a:pt x="14" y="185"/>
                    </a:lnTo>
                    <a:lnTo>
                      <a:pt x="9" y="175"/>
                    </a:lnTo>
                    <a:lnTo>
                      <a:pt x="5" y="164"/>
                    </a:lnTo>
                    <a:lnTo>
                      <a:pt x="2" y="152"/>
                    </a:lnTo>
                    <a:lnTo>
                      <a:pt x="0" y="138"/>
                    </a:lnTo>
                    <a:lnTo>
                      <a:pt x="0" y="1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12"/>
              <p:cNvSpPr>
                <a:spLocks/>
              </p:cNvSpPr>
              <p:nvPr/>
            </p:nvSpPr>
            <p:spPr bwMode="auto">
              <a:xfrm>
                <a:off x="6746394" y="1905000"/>
                <a:ext cx="192133" cy="192133"/>
              </a:xfrm>
              <a:custGeom>
                <a:avLst/>
                <a:gdLst>
                  <a:gd name="T0" fmla="*/ 0 w 250"/>
                  <a:gd name="T1" fmla="*/ 125 h 250"/>
                  <a:gd name="T2" fmla="*/ 2 w 250"/>
                  <a:gd name="T3" fmla="*/ 99 h 250"/>
                  <a:gd name="T4" fmla="*/ 9 w 250"/>
                  <a:gd name="T5" fmla="*/ 76 h 250"/>
                  <a:gd name="T6" fmla="*/ 21 w 250"/>
                  <a:gd name="T7" fmla="*/ 56 h 250"/>
                  <a:gd name="T8" fmla="*/ 36 w 250"/>
                  <a:gd name="T9" fmla="*/ 36 h 250"/>
                  <a:gd name="T10" fmla="*/ 55 w 250"/>
                  <a:gd name="T11" fmla="*/ 22 h 250"/>
                  <a:gd name="T12" fmla="*/ 76 w 250"/>
                  <a:gd name="T13" fmla="*/ 10 h 250"/>
                  <a:gd name="T14" fmla="*/ 100 w 250"/>
                  <a:gd name="T15" fmla="*/ 2 h 250"/>
                  <a:gd name="T16" fmla="*/ 124 w 250"/>
                  <a:gd name="T17" fmla="*/ 0 h 250"/>
                  <a:gd name="T18" fmla="*/ 137 w 250"/>
                  <a:gd name="T19" fmla="*/ 0 h 250"/>
                  <a:gd name="T20" fmla="*/ 162 w 250"/>
                  <a:gd name="T21" fmla="*/ 6 h 250"/>
                  <a:gd name="T22" fmla="*/ 185 w 250"/>
                  <a:gd name="T23" fmla="*/ 15 h 250"/>
                  <a:gd name="T24" fmla="*/ 204 w 250"/>
                  <a:gd name="T25" fmla="*/ 29 h 250"/>
                  <a:gd name="T26" fmla="*/ 221 w 250"/>
                  <a:gd name="T27" fmla="*/ 46 h 250"/>
                  <a:gd name="T28" fmla="*/ 234 w 250"/>
                  <a:gd name="T29" fmla="*/ 65 h 250"/>
                  <a:gd name="T30" fmla="*/ 244 w 250"/>
                  <a:gd name="T31" fmla="*/ 88 h 250"/>
                  <a:gd name="T32" fmla="*/ 249 w 250"/>
                  <a:gd name="T33" fmla="*/ 112 h 250"/>
                  <a:gd name="T34" fmla="*/ 250 w 250"/>
                  <a:gd name="T35" fmla="*/ 125 h 250"/>
                  <a:gd name="T36" fmla="*/ 247 w 250"/>
                  <a:gd name="T37" fmla="*/ 150 h 250"/>
                  <a:gd name="T38" fmla="*/ 240 w 250"/>
                  <a:gd name="T39" fmla="*/ 174 h 250"/>
                  <a:gd name="T40" fmla="*/ 228 w 250"/>
                  <a:gd name="T41" fmla="*/ 195 h 250"/>
                  <a:gd name="T42" fmla="*/ 214 w 250"/>
                  <a:gd name="T43" fmla="*/ 213 h 250"/>
                  <a:gd name="T44" fmla="*/ 194 w 250"/>
                  <a:gd name="T45" fmla="*/ 229 h 250"/>
                  <a:gd name="T46" fmla="*/ 174 w 250"/>
                  <a:gd name="T47" fmla="*/ 241 h 250"/>
                  <a:gd name="T48" fmla="*/ 150 w 250"/>
                  <a:gd name="T49" fmla="*/ 248 h 250"/>
                  <a:gd name="T50" fmla="*/ 124 w 250"/>
                  <a:gd name="T51" fmla="*/ 250 h 250"/>
                  <a:gd name="T52" fmla="*/ 112 w 250"/>
                  <a:gd name="T53" fmla="*/ 249 h 250"/>
                  <a:gd name="T54" fmla="*/ 88 w 250"/>
                  <a:gd name="T55" fmla="*/ 244 h 250"/>
                  <a:gd name="T56" fmla="*/ 65 w 250"/>
                  <a:gd name="T57" fmla="*/ 235 h 250"/>
                  <a:gd name="T58" fmla="*/ 46 w 250"/>
                  <a:gd name="T59" fmla="*/ 221 h 250"/>
                  <a:gd name="T60" fmla="*/ 29 w 250"/>
                  <a:gd name="T61" fmla="*/ 204 h 250"/>
                  <a:gd name="T62" fmla="*/ 15 w 250"/>
                  <a:gd name="T63" fmla="*/ 185 h 250"/>
                  <a:gd name="T64" fmla="*/ 6 w 250"/>
                  <a:gd name="T65" fmla="*/ 162 h 250"/>
                  <a:gd name="T66" fmla="*/ 1 w 250"/>
                  <a:gd name="T67" fmla="*/ 13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0" h="250">
                    <a:moveTo>
                      <a:pt x="0" y="125"/>
                    </a:moveTo>
                    <a:lnTo>
                      <a:pt x="0" y="125"/>
                    </a:lnTo>
                    <a:lnTo>
                      <a:pt x="1" y="112"/>
                    </a:lnTo>
                    <a:lnTo>
                      <a:pt x="2" y="99"/>
                    </a:lnTo>
                    <a:lnTo>
                      <a:pt x="6" y="88"/>
                    </a:lnTo>
                    <a:lnTo>
                      <a:pt x="9" y="76"/>
                    </a:lnTo>
                    <a:lnTo>
                      <a:pt x="15" y="65"/>
                    </a:lnTo>
                    <a:lnTo>
                      <a:pt x="21" y="56"/>
                    </a:lnTo>
                    <a:lnTo>
                      <a:pt x="29" y="46"/>
                    </a:lnTo>
                    <a:lnTo>
                      <a:pt x="36" y="36"/>
                    </a:lnTo>
                    <a:lnTo>
                      <a:pt x="46" y="29"/>
                    </a:lnTo>
                    <a:lnTo>
                      <a:pt x="55" y="22"/>
                    </a:lnTo>
                    <a:lnTo>
                      <a:pt x="65" y="15"/>
                    </a:lnTo>
                    <a:lnTo>
                      <a:pt x="76" y="10"/>
                    </a:lnTo>
                    <a:lnTo>
                      <a:pt x="88" y="6"/>
                    </a:lnTo>
                    <a:lnTo>
                      <a:pt x="100" y="2"/>
                    </a:lnTo>
                    <a:lnTo>
                      <a:pt x="112" y="0"/>
                    </a:lnTo>
                    <a:lnTo>
                      <a:pt x="124" y="0"/>
                    </a:lnTo>
                    <a:lnTo>
                      <a:pt x="124" y="0"/>
                    </a:lnTo>
                    <a:lnTo>
                      <a:pt x="137" y="0"/>
                    </a:lnTo>
                    <a:lnTo>
                      <a:pt x="150" y="2"/>
                    </a:lnTo>
                    <a:lnTo>
                      <a:pt x="162" y="6"/>
                    </a:lnTo>
                    <a:lnTo>
                      <a:pt x="174" y="10"/>
                    </a:lnTo>
                    <a:lnTo>
                      <a:pt x="185" y="15"/>
                    </a:lnTo>
                    <a:lnTo>
                      <a:pt x="194" y="22"/>
                    </a:lnTo>
                    <a:lnTo>
                      <a:pt x="204" y="29"/>
                    </a:lnTo>
                    <a:lnTo>
                      <a:pt x="214" y="36"/>
                    </a:lnTo>
                    <a:lnTo>
                      <a:pt x="221" y="46"/>
                    </a:lnTo>
                    <a:lnTo>
                      <a:pt x="228" y="56"/>
                    </a:lnTo>
                    <a:lnTo>
                      <a:pt x="234" y="65"/>
                    </a:lnTo>
                    <a:lnTo>
                      <a:pt x="240" y="76"/>
                    </a:lnTo>
                    <a:lnTo>
                      <a:pt x="244" y="88"/>
                    </a:lnTo>
                    <a:lnTo>
                      <a:pt x="247" y="99"/>
                    </a:lnTo>
                    <a:lnTo>
                      <a:pt x="249" y="112"/>
                    </a:lnTo>
                    <a:lnTo>
                      <a:pt x="250" y="125"/>
                    </a:lnTo>
                    <a:lnTo>
                      <a:pt x="250" y="125"/>
                    </a:lnTo>
                    <a:lnTo>
                      <a:pt x="249" y="138"/>
                    </a:lnTo>
                    <a:lnTo>
                      <a:pt x="247" y="150"/>
                    </a:lnTo>
                    <a:lnTo>
                      <a:pt x="244" y="162"/>
                    </a:lnTo>
                    <a:lnTo>
                      <a:pt x="240" y="174"/>
                    </a:lnTo>
                    <a:lnTo>
                      <a:pt x="234" y="185"/>
                    </a:lnTo>
                    <a:lnTo>
                      <a:pt x="228" y="195"/>
                    </a:lnTo>
                    <a:lnTo>
                      <a:pt x="221" y="204"/>
                    </a:lnTo>
                    <a:lnTo>
                      <a:pt x="214" y="213"/>
                    </a:lnTo>
                    <a:lnTo>
                      <a:pt x="204" y="221"/>
                    </a:lnTo>
                    <a:lnTo>
                      <a:pt x="194" y="229"/>
                    </a:lnTo>
                    <a:lnTo>
                      <a:pt x="185" y="235"/>
                    </a:lnTo>
                    <a:lnTo>
                      <a:pt x="174" y="241"/>
                    </a:lnTo>
                    <a:lnTo>
                      <a:pt x="162" y="244"/>
                    </a:lnTo>
                    <a:lnTo>
                      <a:pt x="150" y="248"/>
                    </a:lnTo>
                    <a:lnTo>
                      <a:pt x="137" y="249"/>
                    </a:lnTo>
                    <a:lnTo>
                      <a:pt x="124" y="250"/>
                    </a:lnTo>
                    <a:lnTo>
                      <a:pt x="124" y="250"/>
                    </a:lnTo>
                    <a:lnTo>
                      <a:pt x="112" y="249"/>
                    </a:lnTo>
                    <a:lnTo>
                      <a:pt x="100" y="248"/>
                    </a:lnTo>
                    <a:lnTo>
                      <a:pt x="88" y="244"/>
                    </a:lnTo>
                    <a:lnTo>
                      <a:pt x="76" y="241"/>
                    </a:lnTo>
                    <a:lnTo>
                      <a:pt x="65" y="235"/>
                    </a:lnTo>
                    <a:lnTo>
                      <a:pt x="55" y="229"/>
                    </a:lnTo>
                    <a:lnTo>
                      <a:pt x="46" y="221"/>
                    </a:lnTo>
                    <a:lnTo>
                      <a:pt x="36" y="213"/>
                    </a:lnTo>
                    <a:lnTo>
                      <a:pt x="29" y="204"/>
                    </a:lnTo>
                    <a:lnTo>
                      <a:pt x="21" y="195"/>
                    </a:lnTo>
                    <a:lnTo>
                      <a:pt x="15" y="185"/>
                    </a:lnTo>
                    <a:lnTo>
                      <a:pt x="9" y="174"/>
                    </a:lnTo>
                    <a:lnTo>
                      <a:pt x="6" y="162"/>
                    </a:lnTo>
                    <a:lnTo>
                      <a:pt x="2" y="150"/>
                    </a:lnTo>
                    <a:lnTo>
                      <a:pt x="1" y="138"/>
                    </a:lnTo>
                    <a:lnTo>
                      <a:pt x="0" y="125"/>
                    </a:lnTo>
                    <a:close/>
                  </a:path>
                </a:pathLst>
              </a:custGeom>
              <a:solidFill>
                <a:srgbClr val="FCD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13"/>
              <p:cNvSpPr>
                <a:spLocks/>
              </p:cNvSpPr>
              <p:nvPr/>
            </p:nvSpPr>
            <p:spPr bwMode="auto">
              <a:xfrm>
                <a:off x="6746394" y="1905000"/>
                <a:ext cx="192133" cy="192133"/>
              </a:xfrm>
              <a:custGeom>
                <a:avLst/>
                <a:gdLst>
                  <a:gd name="T0" fmla="*/ 0 w 250"/>
                  <a:gd name="T1" fmla="*/ 125 h 250"/>
                  <a:gd name="T2" fmla="*/ 2 w 250"/>
                  <a:gd name="T3" fmla="*/ 99 h 250"/>
                  <a:gd name="T4" fmla="*/ 9 w 250"/>
                  <a:gd name="T5" fmla="*/ 76 h 250"/>
                  <a:gd name="T6" fmla="*/ 21 w 250"/>
                  <a:gd name="T7" fmla="*/ 56 h 250"/>
                  <a:gd name="T8" fmla="*/ 36 w 250"/>
                  <a:gd name="T9" fmla="*/ 36 h 250"/>
                  <a:gd name="T10" fmla="*/ 55 w 250"/>
                  <a:gd name="T11" fmla="*/ 22 h 250"/>
                  <a:gd name="T12" fmla="*/ 76 w 250"/>
                  <a:gd name="T13" fmla="*/ 10 h 250"/>
                  <a:gd name="T14" fmla="*/ 100 w 250"/>
                  <a:gd name="T15" fmla="*/ 2 h 250"/>
                  <a:gd name="T16" fmla="*/ 124 w 250"/>
                  <a:gd name="T17" fmla="*/ 0 h 250"/>
                  <a:gd name="T18" fmla="*/ 137 w 250"/>
                  <a:gd name="T19" fmla="*/ 0 h 250"/>
                  <a:gd name="T20" fmla="*/ 162 w 250"/>
                  <a:gd name="T21" fmla="*/ 6 h 250"/>
                  <a:gd name="T22" fmla="*/ 185 w 250"/>
                  <a:gd name="T23" fmla="*/ 15 h 250"/>
                  <a:gd name="T24" fmla="*/ 204 w 250"/>
                  <a:gd name="T25" fmla="*/ 29 h 250"/>
                  <a:gd name="T26" fmla="*/ 221 w 250"/>
                  <a:gd name="T27" fmla="*/ 46 h 250"/>
                  <a:gd name="T28" fmla="*/ 234 w 250"/>
                  <a:gd name="T29" fmla="*/ 65 h 250"/>
                  <a:gd name="T30" fmla="*/ 244 w 250"/>
                  <a:gd name="T31" fmla="*/ 88 h 250"/>
                  <a:gd name="T32" fmla="*/ 249 w 250"/>
                  <a:gd name="T33" fmla="*/ 112 h 250"/>
                  <a:gd name="T34" fmla="*/ 250 w 250"/>
                  <a:gd name="T35" fmla="*/ 125 h 250"/>
                  <a:gd name="T36" fmla="*/ 247 w 250"/>
                  <a:gd name="T37" fmla="*/ 150 h 250"/>
                  <a:gd name="T38" fmla="*/ 240 w 250"/>
                  <a:gd name="T39" fmla="*/ 174 h 250"/>
                  <a:gd name="T40" fmla="*/ 228 w 250"/>
                  <a:gd name="T41" fmla="*/ 195 h 250"/>
                  <a:gd name="T42" fmla="*/ 214 w 250"/>
                  <a:gd name="T43" fmla="*/ 213 h 250"/>
                  <a:gd name="T44" fmla="*/ 194 w 250"/>
                  <a:gd name="T45" fmla="*/ 229 h 250"/>
                  <a:gd name="T46" fmla="*/ 174 w 250"/>
                  <a:gd name="T47" fmla="*/ 241 h 250"/>
                  <a:gd name="T48" fmla="*/ 150 w 250"/>
                  <a:gd name="T49" fmla="*/ 248 h 250"/>
                  <a:gd name="T50" fmla="*/ 124 w 250"/>
                  <a:gd name="T51" fmla="*/ 250 h 250"/>
                  <a:gd name="T52" fmla="*/ 112 w 250"/>
                  <a:gd name="T53" fmla="*/ 249 h 250"/>
                  <a:gd name="T54" fmla="*/ 88 w 250"/>
                  <a:gd name="T55" fmla="*/ 244 h 250"/>
                  <a:gd name="T56" fmla="*/ 65 w 250"/>
                  <a:gd name="T57" fmla="*/ 235 h 250"/>
                  <a:gd name="T58" fmla="*/ 46 w 250"/>
                  <a:gd name="T59" fmla="*/ 221 h 250"/>
                  <a:gd name="T60" fmla="*/ 29 w 250"/>
                  <a:gd name="T61" fmla="*/ 204 h 250"/>
                  <a:gd name="T62" fmla="*/ 15 w 250"/>
                  <a:gd name="T63" fmla="*/ 185 h 250"/>
                  <a:gd name="T64" fmla="*/ 6 w 250"/>
                  <a:gd name="T65" fmla="*/ 162 h 250"/>
                  <a:gd name="T66" fmla="*/ 1 w 250"/>
                  <a:gd name="T67" fmla="*/ 13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0" h="250">
                    <a:moveTo>
                      <a:pt x="0" y="125"/>
                    </a:moveTo>
                    <a:lnTo>
                      <a:pt x="0" y="125"/>
                    </a:lnTo>
                    <a:lnTo>
                      <a:pt x="1" y="112"/>
                    </a:lnTo>
                    <a:lnTo>
                      <a:pt x="2" y="99"/>
                    </a:lnTo>
                    <a:lnTo>
                      <a:pt x="6" y="88"/>
                    </a:lnTo>
                    <a:lnTo>
                      <a:pt x="9" y="76"/>
                    </a:lnTo>
                    <a:lnTo>
                      <a:pt x="15" y="65"/>
                    </a:lnTo>
                    <a:lnTo>
                      <a:pt x="21" y="56"/>
                    </a:lnTo>
                    <a:lnTo>
                      <a:pt x="29" y="46"/>
                    </a:lnTo>
                    <a:lnTo>
                      <a:pt x="36" y="36"/>
                    </a:lnTo>
                    <a:lnTo>
                      <a:pt x="46" y="29"/>
                    </a:lnTo>
                    <a:lnTo>
                      <a:pt x="55" y="22"/>
                    </a:lnTo>
                    <a:lnTo>
                      <a:pt x="65" y="15"/>
                    </a:lnTo>
                    <a:lnTo>
                      <a:pt x="76" y="10"/>
                    </a:lnTo>
                    <a:lnTo>
                      <a:pt x="88" y="6"/>
                    </a:lnTo>
                    <a:lnTo>
                      <a:pt x="100" y="2"/>
                    </a:lnTo>
                    <a:lnTo>
                      <a:pt x="112" y="0"/>
                    </a:lnTo>
                    <a:lnTo>
                      <a:pt x="124" y="0"/>
                    </a:lnTo>
                    <a:lnTo>
                      <a:pt x="124" y="0"/>
                    </a:lnTo>
                    <a:lnTo>
                      <a:pt x="137" y="0"/>
                    </a:lnTo>
                    <a:lnTo>
                      <a:pt x="150" y="2"/>
                    </a:lnTo>
                    <a:lnTo>
                      <a:pt x="162" y="6"/>
                    </a:lnTo>
                    <a:lnTo>
                      <a:pt x="174" y="10"/>
                    </a:lnTo>
                    <a:lnTo>
                      <a:pt x="185" y="15"/>
                    </a:lnTo>
                    <a:lnTo>
                      <a:pt x="194" y="22"/>
                    </a:lnTo>
                    <a:lnTo>
                      <a:pt x="204" y="29"/>
                    </a:lnTo>
                    <a:lnTo>
                      <a:pt x="214" y="36"/>
                    </a:lnTo>
                    <a:lnTo>
                      <a:pt x="221" y="46"/>
                    </a:lnTo>
                    <a:lnTo>
                      <a:pt x="228" y="56"/>
                    </a:lnTo>
                    <a:lnTo>
                      <a:pt x="234" y="65"/>
                    </a:lnTo>
                    <a:lnTo>
                      <a:pt x="240" y="76"/>
                    </a:lnTo>
                    <a:lnTo>
                      <a:pt x="244" y="88"/>
                    </a:lnTo>
                    <a:lnTo>
                      <a:pt x="247" y="99"/>
                    </a:lnTo>
                    <a:lnTo>
                      <a:pt x="249" y="112"/>
                    </a:lnTo>
                    <a:lnTo>
                      <a:pt x="250" y="125"/>
                    </a:lnTo>
                    <a:lnTo>
                      <a:pt x="250" y="125"/>
                    </a:lnTo>
                    <a:lnTo>
                      <a:pt x="249" y="138"/>
                    </a:lnTo>
                    <a:lnTo>
                      <a:pt x="247" y="150"/>
                    </a:lnTo>
                    <a:lnTo>
                      <a:pt x="244" y="162"/>
                    </a:lnTo>
                    <a:lnTo>
                      <a:pt x="240" y="174"/>
                    </a:lnTo>
                    <a:lnTo>
                      <a:pt x="234" y="185"/>
                    </a:lnTo>
                    <a:lnTo>
                      <a:pt x="228" y="195"/>
                    </a:lnTo>
                    <a:lnTo>
                      <a:pt x="221" y="204"/>
                    </a:lnTo>
                    <a:lnTo>
                      <a:pt x="214" y="213"/>
                    </a:lnTo>
                    <a:lnTo>
                      <a:pt x="204" y="221"/>
                    </a:lnTo>
                    <a:lnTo>
                      <a:pt x="194" y="229"/>
                    </a:lnTo>
                    <a:lnTo>
                      <a:pt x="185" y="235"/>
                    </a:lnTo>
                    <a:lnTo>
                      <a:pt x="174" y="241"/>
                    </a:lnTo>
                    <a:lnTo>
                      <a:pt x="162" y="244"/>
                    </a:lnTo>
                    <a:lnTo>
                      <a:pt x="150" y="248"/>
                    </a:lnTo>
                    <a:lnTo>
                      <a:pt x="137" y="249"/>
                    </a:lnTo>
                    <a:lnTo>
                      <a:pt x="124" y="250"/>
                    </a:lnTo>
                    <a:lnTo>
                      <a:pt x="124" y="250"/>
                    </a:lnTo>
                    <a:lnTo>
                      <a:pt x="112" y="249"/>
                    </a:lnTo>
                    <a:lnTo>
                      <a:pt x="100" y="248"/>
                    </a:lnTo>
                    <a:lnTo>
                      <a:pt x="88" y="244"/>
                    </a:lnTo>
                    <a:lnTo>
                      <a:pt x="76" y="241"/>
                    </a:lnTo>
                    <a:lnTo>
                      <a:pt x="65" y="235"/>
                    </a:lnTo>
                    <a:lnTo>
                      <a:pt x="55" y="229"/>
                    </a:lnTo>
                    <a:lnTo>
                      <a:pt x="46" y="221"/>
                    </a:lnTo>
                    <a:lnTo>
                      <a:pt x="36" y="213"/>
                    </a:lnTo>
                    <a:lnTo>
                      <a:pt x="29" y="204"/>
                    </a:lnTo>
                    <a:lnTo>
                      <a:pt x="21" y="195"/>
                    </a:lnTo>
                    <a:lnTo>
                      <a:pt x="15" y="185"/>
                    </a:lnTo>
                    <a:lnTo>
                      <a:pt x="9" y="174"/>
                    </a:lnTo>
                    <a:lnTo>
                      <a:pt x="6" y="162"/>
                    </a:lnTo>
                    <a:lnTo>
                      <a:pt x="2" y="150"/>
                    </a:lnTo>
                    <a:lnTo>
                      <a:pt x="1" y="138"/>
                    </a:lnTo>
                    <a:lnTo>
                      <a:pt x="0"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9" name="Picture 6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8372" y="1939089"/>
                <a:ext cx="68176" cy="127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Freeform 615"/>
              <p:cNvSpPr>
                <a:spLocks/>
              </p:cNvSpPr>
              <p:nvPr/>
            </p:nvSpPr>
            <p:spPr bwMode="auto">
              <a:xfrm>
                <a:off x="6811470" y="1939089"/>
                <a:ext cx="61978" cy="117759"/>
              </a:xfrm>
              <a:custGeom>
                <a:avLst/>
                <a:gdLst>
                  <a:gd name="T0" fmla="*/ 35 w 80"/>
                  <a:gd name="T1" fmla="*/ 104 h 153"/>
                  <a:gd name="T2" fmla="*/ 35 w 80"/>
                  <a:gd name="T3" fmla="*/ 110 h 153"/>
                  <a:gd name="T4" fmla="*/ 37 w 80"/>
                  <a:gd name="T5" fmla="*/ 121 h 153"/>
                  <a:gd name="T6" fmla="*/ 38 w 80"/>
                  <a:gd name="T7" fmla="*/ 122 h 153"/>
                  <a:gd name="T8" fmla="*/ 40 w 80"/>
                  <a:gd name="T9" fmla="*/ 123 h 153"/>
                  <a:gd name="T10" fmla="*/ 45 w 80"/>
                  <a:gd name="T11" fmla="*/ 121 h 153"/>
                  <a:gd name="T12" fmla="*/ 46 w 80"/>
                  <a:gd name="T13" fmla="*/ 119 h 153"/>
                  <a:gd name="T14" fmla="*/ 46 w 80"/>
                  <a:gd name="T15" fmla="*/ 115 h 153"/>
                  <a:gd name="T16" fmla="*/ 44 w 80"/>
                  <a:gd name="T17" fmla="*/ 104 h 153"/>
                  <a:gd name="T18" fmla="*/ 38 w 80"/>
                  <a:gd name="T19" fmla="*/ 99 h 153"/>
                  <a:gd name="T20" fmla="*/ 27 w 80"/>
                  <a:gd name="T21" fmla="*/ 92 h 153"/>
                  <a:gd name="T22" fmla="*/ 10 w 80"/>
                  <a:gd name="T23" fmla="*/ 80 h 153"/>
                  <a:gd name="T24" fmla="*/ 6 w 80"/>
                  <a:gd name="T25" fmla="*/ 75 h 153"/>
                  <a:gd name="T26" fmla="*/ 3 w 80"/>
                  <a:gd name="T27" fmla="*/ 69 h 153"/>
                  <a:gd name="T28" fmla="*/ 0 w 80"/>
                  <a:gd name="T29" fmla="*/ 51 h 153"/>
                  <a:gd name="T30" fmla="*/ 1 w 80"/>
                  <a:gd name="T31" fmla="*/ 42 h 153"/>
                  <a:gd name="T32" fmla="*/ 5 w 80"/>
                  <a:gd name="T33" fmla="*/ 29 h 153"/>
                  <a:gd name="T34" fmla="*/ 9 w 80"/>
                  <a:gd name="T35" fmla="*/ 24 h 153"/>
                  <a:gd name="T36" fmla="*/ 20 w 80"/>
                  <a:gd name="T37" fmla="*/ 17 h 153"/>
                  <a:gd name="T38" fmla="*/ 34 w 80"/>
                  <a:gd name="T39" fmla="*/ 12 h 153"/>
                  <a:gd name="T40" fmla="*/ 49 w 80"/>
                  <a:gd name="T41" fmla="*/ 1 h 153"/>
                  <a:gd name="T42" fmla="*/ 49 w 80"/>
                  <a:gd name="T43" fmla="*/ 13 h 153"/>
                  <a:gd name="T44" fmla="*/ 61 w 80"/>
                  <a:gd name="T45" fmla="*/ 17 h 153"/>
                  <a:gd name="T46" fmla="*/ 72 w 80"/>
                  <a:gd name="T47" fmla="*/ 23 h 153"/>
                  <a:gd name="T48" fmla="*/ 75 w 80"/>
                  <a:gd name="T49" fmla="*/ 29 h 153"/>
                  <a:gd name="T50" fmla="*/ 80 w 80"/>
                  <a:gd name="T51" fmla="*/ 44 h 153"/>
                  <a:gd name="T52" fmla="*/ 80 w 80"/>
                  <a:gd name="T53" fmla="*/ 61 h 153"/>
                  <a:gd name="T54" fmla="*/ 49 w 80"/>
                  <a:gd name="T55" fmla="*/ 52 h 153"/>
                  <a:gd name="T56" fmla="*/ 47 w 80"/>
                  <a:gd name="T57" fmla="*/ 41 h 153"/>
                  <a:gd name="T58" fmla="*/ 47 w 80"/>
                  <a:gd name="T59" fmla="*/ 35 h 153"/>
                  <a:gd name="T60" fmla="*/ 43 w 80"/>
                  <a:gd name="T61" fmla="*/ 33 h 153"/>
                  <a:gd name="T62" fmla="*/ 40 w 80"/>
                  <a:gd name="T63" fmla="*/ 33 h 153"/>
                  <a:gd name="T64" fmla="*/ 38 w 80"/>
                  <a:gd name="T65" fmla="*/ 34 h 153"/>
                  <a:gd name="T66" fmla="*/ 37 w 80"/>
                  <a:gd name="T67" fmla="*/ 41 h 153"/>
                  <a:gd name="T68" fmla="*/ 37 w 80"/>
                  <a:gd name="T69" fmla="*/ 50 h 153"/>
                  <a:gd name="T70" fmla="*/ 38 w 80"/>
                  <a:gd name="T71" fmla="*/ 56 h 153"/>
                  <a:gd name="T72" fmla="*/ 47 w 80"/>
                  <a:gd name="T73" fmla="*/ 67 h 153"/>
                  <a:gd name="T74" fmla="*/ 67 w 80"/>
                  <a:gd name="T75" fmla="*/ 80 h 153"/>
                  <a:gd name="T76" fmla="*/ 72 w 80"/>
                  <a:gd name="T77" fmla="*/ 86 h 153"/>
                  <a:gd name="T78" fmla="*/ 76 w 80"/>
                  <a:gd name="T79" fmla="*/ 93 h 153"/>
                  <a:gd name="T80" fmla="*/ 80 w 80"/>
                  <a:gd name="T81" fmla="*/ 110 h 153"/>
                  <a:gd name="T82" fmla="*/ 79 w 80"/>
                  <a:gd name="T83" fmla="*/ 117 h 153"/>
                  <a:gd name="T84" fmla="*/ 75 w 80"/>
                  <a:gd name="T85" fmla="*/ 128 h 153"/>
                  <a:gd name="T86" fmla="*/ 72 w 80"/>
                  <a:gd name="T87" fmla="*/ 133 h 153"/>
                  <a:gd name="T88" fmla="*/ 61 w 80"/>
                  <a:gd name="T89" fmla="*/ 139 h 153"/>
                  <a:gd name="T90" fmla="*/ 46 w 80"/>
                  <a:gd name="T91" fmla="*/ 143 h 153"/>
                  <a:gd name="T92" fmla="*/ 32 w 80"/>
                  <a:gd name="T93" fmla="*/ 153 h 153"/>
                  <a:gd name="T94" fmla="*/ 32 w 80"/>
                  <a:gd name="T95" fmla="*/ 143 h 153"/>
                  <a:gd name="T96" fmla="*/ 18 w 80"/>
                  <a:gd name="T97" fmla="*/ 139 h 153"/>
                  <a:gd name="T98" fmla="*/ 10 w 80"/>
                  <a:gd name="T99" fmla="*/ 132 h 153"/>
                  <a:gd name="T100" fmla="*/ 6 w 80"/>
                  <a:gd name="T101" fmla="*/ 127 h 153"/>
                  <a:gd name="T102" fmla="*/ 3 w 80"/>
                  <a:gd name="T103" fmla="*/ 116 h 153"/>
                  <a:gd name="T104" fmla="*/ 3 w 80"/>
                  <a:gd name="T10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53">
                    <a:moveTo>
                      <a:pt x="3" y="104"/>
                    </a:moveTo>
                    <a:lnTo>
                      <a:pt x="35" y="104"/>
                    </a:lnTo>
                    <a:lnTo>
                      <a:pt x="35" y="110"/>
                    </a:lnTo>
                    <a:lnTo>
                      <a:pt x="35" y="110"/>
                    </a:lnTo>
                    <a:lnTo>
                      <a:pt x="35" y="116"/>
                    </a:lnTo>
                    <a:lnTo>
                      <a:pt x="37" y="121"/>
                    </a:lnTo>
                    <a:lnTo>
                      <a:pt x="37" y="121"/>
                    </a:lnTo>
                    <a:lnTo>
                      <a:pt x="38" y="122"/>
                    </a:lnTo>
                    <a:lnTo>
                      <a:pt x="40" y="123"/>
                    </a:lnTo>
                    <a:lnTo>
                      <a:pt x="40" y="123"/>
                    </a:lnTo>
                    <a:lnTo>
                      <a:pt x="44" y="123"/>
                    </a:lnTo>
                    <a:lnTo>
                      <a:pt x="45" y="121"/>
                    </a:lnTo>
                    <a:lnTo>
                      <a:pt x="45" y="121"/>
                    </a:lnTo>
                    <a:lnTo>
                      <a:pt x="46" y="119"/>
                    </a:lnTo>
                    <a:lnTo>
                      <a:pt x="46" y="115"/>
                    </a:lnTo>
                    <a:lnTo>
                      <a:pt x="46" y="115"/>
                    </a:lnTo>
                    <a:lnTo>
                      <a:pt x="46" y="108"/>
                    </a:lnTo>
                    <a:lnTo>
                      <a:pt x="44" y="104"/>
                    </a:lnTo>
                    <a:lnTo>
                      <a:pt x="44" y="104"/>
                    </a:lnTo>
                    <a:lnTo>
                      <a:pt x="38" y="99"/>
                    </a:lnTo>
                    <a:lnTo>
                      <a:pt x="27" y="92"/>
                    </a:lnTo>
                    <a:lnTo>
                      <a:pt x="27" y="92"/>
                    </a:lnTo>
                    <a:lnTo>
                      <a:pt x="17" y="85"/>
                    </a:lnTo>
                    <a:lnTo>
                      <a:pt x="10" y="80"/>
                    </a:lnTo>
                    <a:lnTo>
                      <a:pt x="10" y="80"/>
                    </a:lnTo>
                    <a:lnTo>
                      <a:pt x="6" y="75"/>
                    </a:lnTo>
                    <a:lnTo>
                      <a:pt x="3" y="69"/>
                    </a:lnTo>
                    <a:lnTo>
                      <a:pt x="3" y="69"/>
                    </a:lnTo>
                    <a:lnTo>
                      <a:pt x="1" y="61"/>
                    </a:lnTo>
                    <a:lnTo>
                      <a:pt x="0" y="51"/>
                    </a:lnTo>
                    <a:lnTo>
                      <a:pt x="0" y="51"/>
                    </a:lnTo>
                    <a:lnTo>
                      <a:pt x="1" y="42"/>
                    </a:lnTo>
                    <a:lnTo>
                      <a:pt x="3" y="35"/>
                    </a:lnTo>
                    <a:lnTo>
                      <a:pt x="5" y="29"/>
                    </a:lnTo>
                    <a:lnTo>
                      <a:pt x="9" y="24"/>
                    </a:lnTo>
                    <a:lnTo>
                      <a:pt x="9" y="24"/>
                    </a:lnTo>
                    <a:lnTo>
                      <a:pt x="14" y="20"/>
                    </a:lnTo>
                    <a:lnTo>
                      <a:pt x="20" y="17"/>
                    </a:lnTo>
                    <a:lnTo>
                      <a:pt x="26" y="15"/>
                    </a:lnTo>
                    <a:lnTo>
                      <a:pt x="34" y="12"/>
                    </a:lnTo>
                    <a:lnTo>
                      <a:pt x="34" y="0"/>
                    </a:lnTo>
                    <a:lnTo>
                      <a:pt x="49" y="1"/>
                    </a:lnTo>
                    <a:lnTo>
                      <a:pt x="49" y="13"/>
                    </a:lnTo>
                    <a:lnTo>
                      <a:pt x="49" y="13"/>
                    </a:lnTo>
                    <a:lnTo>
                      <a:pt x="55" y="15"/>
                    </a:lnTo>
                    <a:lnTo>
                      <a:pt x="61" y="17"/>
                    </a:lnTo>
                    <a:lnTo>
                      <a:pt x="66" y="20"/>
                    </a:lnTo>
                    <a:lnTo>
                      <a:pt x="72" y="23"/>
                    </a:lnTo>
                    <a:lnTo>
                      <a:pt x="72" y="23"/>
                    </a:lnTo>
                    <a:lnTo>
                      <a:pt x="75" y="29"/>
                    </a:lnTo>
                    <a:lnTo>
                      <a:pt x="78" y="35"/>
                    </a:lnTo>
                    <a:lnTo>
                      <a:pt x="80" y="44"/>
                    </a:lnTo>
                    <a:lnTo>
                      <a:pt x="80" y="53"/>
                    </a:lnTo>
                    <a:lnTo>
                      <a:pt x="80" y="61"/>
                    </a:lnTo>
                    <a:lnTo>
                      <a:pt x="47" y="59"/>
                    </a:lnTo>
                    <a:lnTo>
                      <a:pt x="49" y="52"/>
                    </a:lnTo>
                    <a:lnTo>
                      <a:pt x="49" y="52"/>
                    </a:lnTo>
                    <a:lnTo>
                      <a:pt x="47" y="41"/>
                    </a:lnTo>
                    <a:lnTo>
                      <a:pt x="47" y="35"/>
                    </a:lnTo>
                    <a:lnTo>
                      <a:pt x="47" y="35"/>
                    </a:lnTo>
                    <a:lnTo>
                      <a:pt x="46" y="33"/>
                    </a:lnTo>
                    <a:lnTo>
                      <a:pt x="43" y="33"/>
                    </a:lnTo>
                    <a:lnTo>
                      <a:pt x="43" y="33"/>
                    </a:lnTo>
                    <a:lnTo>
                      <a:pt x="40" y="33"/>
                    </a:lnTo>
                    <a:lnTo>
                      <a:pt x="38" y="34"/>
                    </a:lnTo>
                    <a:lnTo>
                      <a:pt x="38" y="34"/>
                    </a:lnTo>
                    <a:lnTo>
                      <a:pt x="37" y="38"/>
                    </a:lnTo>
                    <a:lnTo>
                      <a:pt x="37" y="41"/>
                    </a:lnTo>
                    <a:lnTo>
                      <a:pt x="37" y="41"/>
                    </a:lnTo>
                    <a:lnTo>
                      <a:pt x="37" y="50"/>
                    </a:lnTo>
                    <a:lnTo>
                      <a:pt x="38" y="56"/>
                    </a:lnTo>
                    <a:lnTo>
                      <a:pt x="38" y="56"/>
                    </a:lnTo>
                    <a:lnTo>
                      <a:pt x="40" y="62"/>
                    </a:lnTo>
                    <a:lnTo>
                      <a:pt x="47" y="67"/>
                    </a:lnTo>
                    <a:lnTo>
                      <a:pt x="47" y="67"/>
                    </a:lnTo>
                    <a:lnTo>
                      <a:pt x="67" y="80"/>
                    </a:lnTo>
                    <a:lnTo>
                      <a:pt x="67" y="80"/>
                    </a:lnTo>
                    <a:lnTo>
                      <a:pt x="72" y="86"/>
                    </a:lnTo>
                    <a:lnTo>
                      <a:pt x="76" y="93"/>
                    </a:lnTo>
                    <a:lnTo>
                      <a:pt x="76" y="93"/>
                    </a:lnTo>
                    <a:lnTo>
                      <a:pt x="79" y="102"/>
                    </a:lnTo>
                    <a:lnTo>
                      <a:pt x="80" y="110"/>
                    </a:lnTo>
                    <a:lnTo>
                      <a:pt x="80" y="110"/>
                    </a:lnTo>
                    <a:lnTo>
                      <a:pt x="79" y="117"/>
                    </a:lnTo>
                    <a:lnTo>
                      <a:pt x="78" y="123"/>
                    </a:lnTo>
                    <a:lnTo>
                      <a:pt x="75" y="128"/>
                    </a:lnTo>
                    <a:lnTo>
                      <a:pt x="72" y="133"/>
                    </a:lnTo>
                    <a:lnTo>
                      <a:pt x="72" y="133"/>
                    </a:lnTo>
                    <a:lnTo>
                      <a:pt x="67" y="137"/>
                    </a:lnTo>
                    <a:lnTo>
                      <a:pt x="61" y="139"/>
                    </a:lnTo>
                    <a:lnTo>
                      <a:pt x="55" y="142"/>
                    </a:lnTo>
                    <a:lnTo>
                      <a:pt x="46" y="143"/>
                    </a:lnTo>
                    <a:lnTo>
                      <a:pt x="46" y="153"/>
                    </a:lnTo>
                    <a:lnTo>
                      <a:pt x="32" y="153"/>
                    </a:lnTo>
                    <a:lnTo>
                      <a:pt x="32" y="143"/>
                    </a:lnTo>
                    <a:lnTo>
                      <a:pt x="32" y="143"/>
                    </a:lnTo>
                    <a:lnTo>
                      <a:pt x="24" y="142"/>
                    </a:lnTo>
                    <a:lnTo>
                      <a:pt x="18" y="139"/>
                    </a:lnTo>
                    <a:lnTo>
                      <a:pt x="14" y="136"/>
                    </a:lnTo>
                    <a:lnTo>
                      <a:pt x="10" y="132"/>
                    </a:lnTo>
                    <a:lnTo>
                      <a:pt x="10" y="132"/>
                    </a:lnTo>
                    <a:lnTo>
                      <a:pt x="6" y="127"/>
                    </a:lnTo>
                    <a:lnTo>
                      <a:pt x="4" y="122"/>
                    </a:lnTo>
                    <a:lnTo>
                      <a:pt x="3" y="116"/>
                    </a:lnTo>
                    <a:lnTo>
                      <a:pt x="3" y="110"/>
                    </a:lnTo>
                    <a:lnTo>
                      <a:pt x="3" y="110"/>
                    </a:lnTo>
                    <a:lnTo>
                      <a:pt x="3" y="104"/>
                    </a:lnTo>
                    <a:close/>
                  </a:path>
                </a:pathLst>
              </a:custGeom>
              <a:solidFill>
                <a:srgbClr val="E49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16"/>
              <p:cNvSpPr>
                <a:spLocks/>
              </p:cNvSpPr>
              <p:nvPr/>
            </p:nvSpPr>
            <p:spPr bwMode="auto">
              <a:xfrm>
                <a:off x="6811470" y="1939089"/>
                <a:ext cx="61978" cy="117759"/>
              </a:xfrm>
              <a:custGeom>
                <a:avLst/>
                <a:gdLst>
                  <a:gd name="T0" fmla="*/ 35 w 80"/>
                  <a:gd name="T1" fmla="*/ 104 h 153"/>
                  <a:gd name="T2" fmla="*/ 35 w 80"/>
                  <a:gd name="T3" fmla="*/ 110 h 153"/>
                  <a:gd name="T4" fmla="*/ 37 w 80"/>
                  <a:gd name="T5" fmla="*/ 121 h 153"/>
                  <a:gd name="T6" fmla="*/ 38 w 80"/>
                  <a:gd name="T7" fmla="*/ 122 h 153"/>
                  <a:gd name="T8" fmla="*/ 40 w 80"/>
                  <a:gd name="T9" fmla="*/ 123 h 153"/>
                  <a:gd name="T10" fmla="*/ 45 w 80"/>
                  <a:gd name="T11" fmla="*/ 121 h 153"/>
                  <a:gd name="T12" fmla="*/ 46 w 80"/>
                  <a:gd name="T13" fmla="*/ 119 h 153"/>
                  <a:gd name="T14" fmla="*/ 46 w 80"/>
                  <a:gd name="T15" fmla="*/ 115 h 153"/>
                  <a:gd name="T16" fmla="*/ 44 w 80"/>
                  <a:gd name="T17" fmla="*/ 104 h 153"/>
                  <a:gd name="T18" fmla="*/ 38 w 80"/>
                  <a:gd name="T19" fmla="*/ 99 h 153"/>
                  <a:gd name="T20" fmla="*/ 27 w 80"/>
                  <a:gd name="T21" fmla="*/ 92 h 153"/>
                  <a:gd name="T22" fmla="*/ 10 w 80"/>
                  <a:gd name="T23" fmla="*/ 80 h 153"/>
                  <a:gd name="T24" fmla="*/ 6 w 80"/>
                  <a:gd name="T25" fmla="*/ 75 h 153"/>
                  <a:gd name="T26" fmla="*/ 3 w 80"/>
                  <a:gd name="T27" fmla="*/ 69 h 153"/>
                  <a:gd name="T28" fmla="*/ 0 w 80"/>
                  <a:gd name="T29" fmla="*/ 51 h 153"/>
                  <a:gd name="T30" fmla="*/ 1 w 80"/>
                  <a:gd name="T31" fmla="*/ 42 h 153"/>
                  <a:gd name="T32" fmla="*/ 5 w 80"/>
                  <a:gd name="T33" fmla="*/ 29 h 153"/>
                  <a:gd name="T34" fmla="*/ 9 w 80"/>
                  <a:gd name="T35" fmla="*/ 24 h 153"/>
                  <a:gd name="T36" fmla="*/ 20 w 80"/>
                  <a:gd name="T37" fmla="*/ 17 h 153"/>
                  <a:gd name="T38" fmla="*/ 34 w 80"/>
                  <a:gd name="T39" fmla="*/ 12 h 153"/>
                  <a:gd name="T40" fmla="*/ 49 w 80"/>
                  <a:gd name="T41" fmla="*/ 1 h 153"/>
                  <a:gd name="T42" fmla="*/ 49 w 80"/>
                  <a:gd name="T43" fmla="*/ 13 h 153"/>
                  <a:gd name="T44" fmla="*/ 61 w 80"/>
                  <a:gd name="T45" fmla="*/ 17 h 153"/>
                  <a:gd name="T46" fmla="*/ 72 w 80"/>
                  <a:gd name="T47" fmla="*/ 23 h 153"/>
                  <a:gd name="T48" fmla="*/ 75 w 80"/>
                  <a:gd name="T49" fmla="*/ 29 h 153"/>
                  <a:gd name="T50" fmla="*/ 80 w 80"/>
                  <a:gd name="T51" fmla="*/ 44 h 153"/>
                  <a:gd name="T52" fmla="*/ 80 w 80"/>
                  <a:gd name="T53" fmla="*/ 61 h 153"/>
                  <a:gd name="T54" fmla="*/ 49 w 80"/>
                  <a:gd name="T55" fmla="*/ 52 h 153"/>
                  <a:gd name="T56" fmla="*/ 47 w 80"/>
                  <a:gd name="T57" fmla="*/ 41 h 153"/>
                  <a:gd name="T58" fmla="*/ 47 w 80"/>
                  <a:gd name="T59" fmla="*/ 35 h 153"/>
                  <a:gd name="T60" fmla="*/ 43 w 80"/>
                  <a:gd name="T61" fmla="*/ 33 h 153"/>
                  <a:gd name="T62" fmla="*/ 40 w 80"/>
                  <a:gd name="T63" fmla="*/ 33 h 153"/>
                  <a:gd name="T64" fmla="*/ 38 w 80"/>
                  <a:gd name="T65" fmla="*/ 34 h 153"/>
                  <a:gd name="T66" fmla="*/ 37 w 80"/>
                  <a:gd name="T67" fmla="*/ 41 h 153"/>
                  <a:gd name="T68" fmla="*/ 37 w 80"/>
                  <a:gd name="T69" fmla="*/ 50 h 153"/>
                  <a:gd name="T70" fmla="*/ 38 w 80"/>
                  <a:gd name="T71" fmla="*/ 56 h 153"/>
                  <a:gd name="T72" fmla="*/ 47 w 80"/>
                  <a:gd name="T73" fmla="*/ 67 h 153"/>
                  <a:gd name="T74" fmla="*/ 67 w 80"/>
                  <a:gd name="T75" fmla="*/ 80 h 153"/>
                  <a:gd name="T76" fmla="*/ 72 w 80"/>
                  <a:gd name="T77" fmla="*/ 86 h 153"/>
                  <a:gd name="T78" fmla="*/ 76 w 80"/>
                  <a:gd name="T79" fmla="*/ 93 h 153"/>
                  <a:gd name="T80" fmla="*/ 80 w 80"/>
                  <a:gd name="T81" fmla="*/ 110 h 153"/>
                  <a:gd name="T82" fmla="*/ 79 w 80"/>
                  <a:gd name="T83" fmla="*/ 117 h 153"/>
                  <a:gd name="T84" fmla="*/ 75 w 80"/>
                  <a:gd name="T85" fmla="*/ 128 h 153"/>
                  <a:gd name="T86" fmla="*/ 72 w 80"/>
                  <a:gd name="T87" fmla="*/ 133 h 153"/>
                  <a:gd name="T88" fmla="*/ 61 w 80"/>
                  <a:gd name="T89" fmla="*/ 139 h 153"/>
                  <a:gd name="T90" fmla="*/ 46 w 80"/>
                  <a:gd name="T91" fmla="*/ 143 h 153"/>
                  <a:gd name="T92" fmla="*/ 32 w 80"/>
                  <a:gd name="T93" fmla="*/ 153 h 153"/>
                  <a:gd name="T94" fmla="*/ 32 w 80"/>
                  <a:gd name="T95" fmla="*/ 143 h 153"/>
                  <a:gd name="T96" fmla="*/ 18 w 80"/>
                  <a:gd name="T97" fmla="*/ 139 h 153"/>
                  <a:gd name="T98" fmla="*/ 10 w 80"/>
                  <a:gd name="T99" fmla="*/ 132 h 153"/>
                  <a:gd name="T100" fmla="*/ 6 w 80"/>
                  <a:gd name="T101" fmla="*/ 127 h 153"/>
                  <a:gd name="T102" fmla="*/ 3 w 80"/>
                  <a:gd name="T103" fmla="*/ 116 h 153"/>
                  <a:gd name="T104" fmla="*/ 3 w 80"/>
                  <a:gd name="T10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53">
                    <a:moveTo>
                      <a:pt x="3" y="104"/>
                    </a:moveTo>
                    <a:lnTo>
                      <a:pt x="35" y="104"/>
                    </a:lnTo>
                    <a:lnTo>
                      <a:pt x="35" y="110"/>
                    </a:lnTo>
                    <a:lnTo>
                      <a:pt x="35" y="110"/>
                    </a:lnTo>
                    <a:lnTo>
                      <a:pt x="35" y="116"/>
                    </a:lnTo>
                    <a:lnTo>
                      <a:pt x="37" y="121"/>
                    </a:lnTo>
                    <a:lnTo>
                      <a:pt x="37" y="121"/>
                    </a:lnTo>
                    <a:lnTo>
                      <a:pt x="38" y="122"/>
                    </a:lnTo>
                    <a:lnTo>
                      <a:pt x="40" y="123"/>
                    </a:lnTo>
                    <a:lnTo>
                      <a:pt x="40" y="123"/>
                    </a:lnTo>
                    <a:lnTo>
                      <a:pt x="44" y="123"/>
                    </a:lnTo>
                    <a:lnTo>
                      <a:pt x="45" y="121"/>
                    </a:lnTo>
                    <a:lnTo>
                      <a:pt x="45" y="121"/>
                    </a:lnTo>
                    <a:lnTo>
                      <a:pt x="46" y="119"/>
                    </a:lnTo>
                    <a:lnTo>
                      <a:pt x="46" y="115"/>
                    </a:lnTo>
                    <a:lnTo>
                      <a:pt x="46" y="115"/>
                    </a:lnTo>
                    <a:lnTo>
                      <a:pt x="46" y="108"/>
                    </a:lnTo>
                    <a:lnTo>
                      <a:pt x="44" y="104"/>
                    </a:lnTo>
                    <a:lnTo>
                      <a:pt x="44" y="104"/>
                    </a:lnTo>
                    <a:lnTo>
                      <a:pt x="38" y="99"/>
                    </a:lnTo>
                    <a:lnTo>
                      <a:pt x="27" y="92"/>
                    </a:lnTo>
                    <a:lnTo>
                      <a:pt x="27" y="92"/>
                    </a:lnTo>
                    <a:lnTo>
                      <a:pt x="17" y="85"/>
                    </a:lnTo>
                    <a:lnTo>
                      <a:pt x="10" y="80"/>
                    </a:lnTo>
                    <a:lnTo>
                      <a:pt x="10" y="80"/>
                    </a:lnTo>
                    <a:lnTo>
                      <a:pt x="6" y="75"/>
                    </a:lnTo>
                    <a:lnTo>
                      <a:pt x="3" y="69"/>
                    </a:lnTo>
                    <a:lnTo>
                      <a:pt x="3" y="69"/>
                    </a:lnTo>
                    <a:lnTo>
                      <a:pt x="1" y="61"/>
                    </a:lnTo>
                    <a:lnTo>
                      <a:pt x="0" y="51"/>
                    </a:lnTo>
                    <a:lnTo>
                      <a:pt x="0" y="51"/>
                    </a:lnTo>
                    <a:lnTo>
                      <a:pt x="1" y="42"/>
                    </a:lnTo>
                    <a:lnTo>
                      <a:pt x="3" y="35"/>
                    </a:lnTo>
                    <a:lnTo>
                      <a:pt x="5" y="29"/>
                    </a:lnTo>
                    <a:lnTo>
                      <a:pt x="9" y="24"/>
                    </a:lnTo>
                    <a:lnTo>
                      <a:pt x="9" y="24"/>
                    </a:lnTo>
                    <a:lnTo>
                      <a:pt x="14" y="20"/>
                    </a:lnTo>
                    <a:lnTo>
                      <a:pt x="20" y="17"/>
                    </a:lnTo>
                    <a:lnTo>
                      <a:pt x="26" y="15"/>
                    </a:lnTo>
                    <a:lnTo>
                      <a:pt x="34" y="12"/>
                    </a:lnTo>
                    <a:lnTo>
                      <a:pt x="34" y="0"/>
                    </a:lnTo>
                    <a:lnTo>
                      <a:pt x="49" y="1"/>
                    </a:lnTo>
                    <a:lnTo>
                      <a:pt x="49" y="13"/>
                    </a:lnTo>
                    <a:lnTo>
                      <a:pt x="49" y="13"/>
                    </a:lnTo>
                    <a:lnTo>
                      <a:pt x="55" y="15"/>
                    </a:lnTo>
                    <a:lnTo>
                      <a:pt x="61" y="17"/>
                    </a:lnTo>
                    <a:lnTo>
                      <a:pt x="66" y="20"/>
                    </a:lnTo>
                    <a:lnTo>
                      <a:pt x="72" y="23"/>
                    </a:lnTo>
                    <a:lnTo>
                      <a:pt x="72" y="23"/>
                    </a:lnTo>
                    <a:lnTo>
                      <a:pt x="75" y="29"/>
                    </a:lnTo>
                    <a:lnTo>
                      <a:pt x="78" y="35"/>
                    </a:lnTo>
                    <a:lnTo>
                      <a:pt x="80" y="44"/>
                    </a:lnTo>
                    <a:lnTo>
                      <a:pt x="80" y="53"/>
                    </a:lnTo>
                    <a:lnTo>
                      <a:pt x="80" y="61"/>
                    </a:lnTo>
                    <a:lnTo>
                      <a:pt x="47" y="59"/>
                    </a:lnTo>
                    <a:lnTo>
                      <a:pt x="49" y="52"/>
                    </a:lnTo>
                    <a:lnTo>
                      <a:pt x="49" y="52"/>
                    </a:lnTo>
                    <a:lnTo>
                      <a:pt x="47" y="41"/>
                    </a:lnTo>
                    <a:lnTo>
                      <a:pt x="47" y="35"/>
                    </a:lnTo>
                    <a:lnTo>
                      <a:pt x="47" y="35"/>
                    </a:lnTo>
                    <a:lnTo>
                      <a:pt x="46" y="33"/>
                    </a:lnTo>
                    <a:lnTo>
                      <a:pt x="43" y="33"/>
                    </a:lnTo>
                    <a:lnTo>
                      <a:pt x="43" y="33"/>
                    </a:lnTo>
                    <a:lnTo>
                      <a:pt x="40" y="33"/>
                    </a:lnTo>
                    <a:lnTo>
                      <a:pt x="38" y="34"/>
                    </a:lnTo>
                    <a:lnTo>
                      <a:pt x="38" y="34"/>
                    </a:lnTo>
                    <a:lnTo>
                      <a:pt x="37" y="38"/>
                    </a:lnTo>
                    <a:lnTo>
                      <a:pt x="37" y="41"/>
                    </a:lnTo>
                    <a:lnTo>
                      <a:pt x="37" y="41"/>
                    </a:lnTo>
                    <a:lnTo>
                      <a:pt x="37" y="50"/>
                    </a:lnTo>
                    <a:lnTo>
                      <a:pt x="38" y="56"/>
                    </a:lnTo>
                    <a:lnTo>
                      <a:pt x="38" y="56"/>
                    </a:lnTo>
                    <a:lnTo>
                      <a:pt x="40" y="62"/>
                    </a:lnTo>
                    <a:lnTo>
                      <a:pt x="47" y="67"/>
                    </a:lnTo>
                    <a:lnTo>
                      <a:pt x="47" y="67"/>
                    </a:lnTo>
                    <a:lnTo>
                      <a:pt x="67" y="80"/>
                    </a:lnTo>
                    <a:lnTo>
                      <a:pt x="67" y="80"/>
                    </a:lnTo>
                    <a:lnTo>
                      <a:pt x="72" y="86"/>
                    </a:lnTo>
                    <a:lnTo>
                      <a:pt x="76" y="93"/>
                    </a:lnTo>
                    <a:lnTo>
                      <a:pt x="76" y="93"/>
                    </a:lnTo>
                    <a:lnTo>
                      <a:pt x="79" y="102"/>
                    </a:lnTo>
                    <a:lnTo>
                      <a:pt x="80" y="110"/>
                    </a:lnTo>
                    <a:lnTo>
                      <a:pt x="80" y="110"/>
                    </a:lnTo>
                    <a:lnTo>
                      <a:pt x="79" y="117"/>
                    </a:lnTo>
                    <a:lnTo>
                      <a:pt x="78" y="123"/>
                    </a:lnTo>
                    <a:lnTo>
                      <a:pt x="75" y="128"/>
                    </a:lnTo>
                    <a:lnTo>
                      <a:pt x="72" y="133"/>
                    </a:lnTo>
                    <a:lnTo>
                      <a:pt x="72" y="133"/>
                    </a:lnTo>
                    <a:lnTo>
                      <a:pt x="67" y="137"/>
                    </a:lnTo>
                    <a:lnTo>
                      <a:pt x="61" y="139"/>
                    </a:lnTo>
                    <a:lnTo>
                      <a:pt x="55" y="142"/>
                    </a:lnTo>
                    <a:lnTo>
                      <a:pt x="46" y="143"/>
                    </a:lnTo>
                    <a:lnTo>
                      <a:pt x="46" y="153"/>
                    </a:lnTo>
                    <a:lnTo>
                      <a:pt x="32" y="153"/>
                    </a:lnTo>
                    <a:lnTo>
                      <a:pt x="32" y="143"/>
                    </a:lnTo>
                    <a:lnTo>
                      <a:pt x="32" y="143"/>
                    </a:lnTo>
                    <a:lnTo>
                      <a:pt x="24" y="142"/>
                    </a:lnTo>
                    <a:lnTo>
                      <a:pt x="18" y="139"/>
                    </a:lnTo>
                    <a:lnTo>
                      <a:pt x="14" y="136"/>
                    </a:lnTo>
                    <a:lnTo>
                      <a:pt x="10" y="132"/>
                    </a:lnTo>
                    <a:lnTo>
                      <a:pt x="10" y="132"/>
                    </a:lnTo>
                    <a:lnTo>
                      <a:pt x="6" y="127"/>
                    </a:lnTo>
                    <a:lnTo>
                      <a:pt x="4" y="122"/>
                    </a:lnTo>
                    <a:lnTo>
                      <a:pt x="3" y="116"/>
                    </a:lnTo>
                    <a:lnTo>
                      <a:pt x="3" y="110"/>
                    </a:lnTo>
                    <a:lnTo>
                      <a:pt x="3" y="110"/>
                    </a:lnTo>
                    <a:lnTo>
                      <a:pt x="3"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25"/>
              <p:cNvSpPr>
                <a:spLocks/>
              </p:cNvSpPr>
              <p:nvPr/>
            </p:nvSpPr>
            <p:spPr bwMode="auto">
              <a:xfrm>
                <a:off x="6703009" y="2078540"/>
                <a:ext cx="244816" cy="77474"/>
              </a:xfrm>
              <a:custGeom>
                <a:avLst/>
                <a:gdLst>
                  <a:gd name="T0" fmla="*/ 0 w 316"/>
                  <a:gd name="T1" fmla="*/ 28 h 97"/>
                  <a:gd name="T2" fmla="*/ 0 w 316"/>
                  <a:gd name="T3" fmla="*/ 28 h 97"/>
                  <a:gd name="T4" fmla="*/ 6 w 316"/>
                  <a:gd name="T5" fmla="*/ 26 h 97"/>
                  <a:gd name="T6" fmla="*/ 25 w 316"/>
                  <a:gd name="T7" fmla="*/ 20 h 97"/>
                  <a:gd name="T8" fmla="*/ 54 w 316"/>
                  <a:gd name="T9" fmla="*/ 12 h 97"/>
                  <a:gd name="T10" fmla="*/ 72 w 316"/>
                  <a:gd name="T11" fmla="*/ 9 h 97"/>
                  <a:gd name="T12" fmla="*/ 91 w 316"/>
                  <a:gd name="T13" fmla="*/ 5 h 97"/>
                  <a:gd name="T14" fmla="*/ 114 w 316"/>
                  <a:gd name="T15" fmla="*/ 3 h 97"/>
                  <a:gd name="T16" fmla="*/ 138 w 316"/>
                  <a:gd name="T17" fmla="*/ 2 h 97"/>
                  <a:gd name="T18" fmla="*/ 164 w 316"/>
                  <a:gd name="T19" fmla="*/ 0 h 97"/>
                  <a:gd name="T20" fmla="*/ 191 w 316"/>
                  <a:gd name="T21" fmla="*/ 2 h 97"/>
                  <a:gd name="T22" fmla="*/ 220 w 316"/>
                  <a:gd name="T23" fmla="*/ 4 h 97"/>
                  <a:gd name="T24" fmla="*/ 251 w 316"/>
                  <a:gd name="T25" fmla="*/ 9 h 97"/>
                  <a:gd name="T26" fmla="*/ 282 w 316"/>
                  <a:gd name="T27" fmla="*/ 15 h 97"/>
                  <a:gd name="T28" fmla="*/ 314 w 316"/>
                  <a:gd name="T29" fmla="*/ 24 h 97"/>
                  <a:gd name="T30" fmla="*/ 316 w 316"/>
                  <a:gd name="T31" fmla="*/ 97 h 97"/>
                  <a:gd name="T32" fmla="*/ 0 w 316"/>
                  <a:gd name="T33" fmla="*/ 2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6" h="97">
                    <a:moveTo>
                      <a:pt x="0" y="28"/>
                    </a:moveTo>
                    <a:lnTo>
                      <a:pt x="0" y="28"/>
                    </a:lnTo>
                    <a:lnTo>
                      <a:pt x="6" y="26"/>
                    </a:lnTo>
                    <a:lnTo>
                      <a:pt x="25" y="20"/>
                    </a:lnTo>
                    <a:lnTo>
                      <a:pt x="54" y="12"/>
                    </a:lnTo>
                    <a:lnTo>
                      <a:pt x="72" y="9"/>
                    </a:lnTo>
                    <a:lnTo>
                      <a:pt x="91" y="5"/>
                    </a:lnTo>
                    <a:lnTo>
                      <a:pt x="114" y="3"/>
                    </a:lnTo>
                    <a:lnTo>
                      <a:pt x="138" y="2"/>
                    </a:lnTo>
                    <a:lnTo>
                      <a:pt x="164" y="0"/>
                    </a:lnTo>
                    <a:lnTo>
                      <a:pt x="191" y="2"/>
                    </a:lnTo>
                    <a:lnTo>
                      <a:pt x="220" y="4"/>
                    </a:lnTo>
                    <a:lnTo>
                      <a:pt x="251" y="9"/>
                    </a:lnTo>
                    <a:lnTo>
                      <a:pt x="282" y="15"/>
                    </a:lnTo>
                    <a:lnTo>
                      <a:pt x="314" y="24"/>
                    </a:lnTo>
                    <a:lnTo>
                      <a:pt x="316" y="97"/>
                    </a:lnTo>
                    <a:lnTo>
                      <a:pt x="0" y="28"/>
                    </a:lnTo>
                    <a:close/>
                  </a:path>
                </a:pathLst>
              </a:custGeom>
              <a:gradFill>
                <a:gsLst>
                  <a:gs pos="0">
                    <a:schemeClr val="accent1"/>
                  </a:gs>
                  <a:gs pos="100000">
                    <a:schemeClr val="accent2"/>
                  </a:gs>
                </a:gsLst>
                <a:lin ang="81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626"/>
              <p:cNvSpPr>
                <a:spLocks/>
              </p:cNvSpPr>
              <p:nvPr/>
            </p:nvSpPr>
            <p:spPr bwMode="auto">
              <a:xfrm>
                <a:off x="6703009" y="2078540"/>
                <a:ext cx="244816" cy="77474"/>
              </a:xfrm>
              <a:custGeom>
                <a:avLst/>
                <a:gdLst>
                  <a:gd name="T0" fmla="*/ 0 w 316"/>
                  <a:gd name="T1" fmla="*/ 28 h 97"/>
                  <a:gd name="T2" fmla="*/ 0 w 316"/>
                  <a:gd name="T3" fmla="*/ 28 h 97"/>
                  <a:gd name="T4" fmla="*/ 6 w 316"/>
                  <a:gd name="T5" fmla="*/ 26 h 97"/>
                  <a:gd name="T6" fmla="*/ 25 w 316"/>
                  <a:gd name="T7" fmla="*/ 20 h 97"/>
                  <a:gd name="T8" fmla="*/ 54 w 316"/>
                  <a:gd name="T9" fmla="*/ 12 h 97"/>
                  <a:gd name="T10" fmla="*/ 72 w 316"/>
                  <a:gd name="T11" fmla="*/ 9 h 97"/>
                  <a:gd name="T12" fmla="*/ 91 w 316"/>
                  <a:gd name="T13" fmla="*/ 5 h 97"/>
                  <a:gd name="T14" fmla="*/ 114 w 316"/>
                  <a:gd name="T15" fmla="*/ 3 h 97"/>
                  <a:gd name="T16" fmla="*/ 138 w 316"/>
                  <a:gd name="T17" fmla="*/ 2 h 97"/>
                  <a:gd name="T18" fmla="*/ 164 w 316"/>
                  <a:gd name="T19" fmla="*/ 0 h 97"/>
                  <a:gd name="T20" fmla="*/ 191 w 316"/>
                  <a:gd name="T21" fmla="*/ 2 h 97"/>
                  <a:gd name="T22" fmla="*/ 220 w 316"/>
                  <a:gd name="T23" fmla="*/ 4 h 97"/>
                  <a:gd name="T24" fmla="*/ 251 w 316"/>
                  <a:gd name="T25" fmla="*/ 9 h 97"/>
                  <a:gd name="T26" fmla="*/ 282 w 316"/>
                  <a:gd name="T27" fmla="*/ 15 h 97"/>
                  <a:gd name="T28" fmla="*/ 314 w 316"/>
                  <a:gd name="T29" fmla="*/ 24 h 97"/>
                  <a:gd name="T30" fmla="*/ 316 w 316"/>
                  <a:gd name="T3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97">
                    <a:moveTo>
                      <a:pt x="0" y="28"/>
                    </a:moveTo>
                    <a:lnTo>
                      <a:pt x="0" y="28"/>
                    </a:lnTo>
                    <a:lnTo>
                      <a:pt x="6" y="26"/>
                    </a:lnTo>
                    <a:lnTo>
                      <a:pt x="25" y="20"/>
                    </a:lnTo>
                    <a:lnTo>
                      <a:pt x="54" y="12"/>
                    </a:lnTo>
                    <a:lnTo>
                      <a:pt x="72" y="9"/>
                    </a:lnTo>
                    <a:lnTo>
                      <a:pt x="91" y="5"/>
                    </a:lnTo>
                    <a:lnTo>
                      <a:pt x="114" y="3"/>
                    </a:lnTo>
                    <a:lnTo>
                      <a:pt x="138" y="2"/>
                    </a:lnTo>
                    <a:lnTo>
                      <a:pt x="164" y="0"/>
                    </a:lnTo>
                    <a:lnTo>
                      <a:pt x="191" y="2"/>
                    </a:lnTo>
                    <a:lnTo>
                      <a:pt x="220" y="4"/>
                    </a:lnTo>
                    <a:lnTo>
                      <a:pt x="251" y="9"/>
                    </a:lnTo>
                    <a:lnTo>
                      <a:pt x="282" y="15"/>
                    </a:lnTo>
                    <a:lnTo>
                      <a:pt x="314" y="24"/>
                    </a:lnTo>
                    <a:lnTo>
                      <a:pt x="316" y="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p:cNvGrpSpPr/>
            <p:nvPr/>
          </p:nvGrpSpPr>
          <p:grpSpPr>
            <a:xfrm>
              <a:off x="6239294" y="3375865"/>
              <a:ext cx="247275" cy="140427"/>
              <a:chOff x="6239294" y="3375865"/>
              <a:chExt cx="247275" cy="140427"/>
            </a:xfrm>
          </p:grpSpPr>
          <p:sp>
            <p:nvSpPr>
              <p:cNvPr id="85" name="Freeform 627"/>
              <p:cNvSpPr>
                <a:spLocks/>
              </p:cNvSpPr>
              <p:nvPr/>
            </p:nvSpPr>
            <p:spPr bwMode="auto">
              <a:xfrm>
                <a:off x="6239294" y="3406392"/>
                <a:ext cx="247275" cy="109900"/>
              </a:xfrm>
              <a:custGeom>
                <a:avLst/>
                <a:gdLst>
                  <a:gd name="T0" fmla="*/ 322 w 322"/>
                  <a:gd name="T1" fmla="*/ 53 h 140"/>
                  <a:gd name="T2" fmla="*/ 321 w 322"/>
                  <a:gd name="T3" fmla="*/ 53 h 140"/>
                  <a:gd name="T4" fmla="*/ 316 w 322"/>
                  <a:gd name="T5" fmla="*/ 42 h 140"/>
                  <a:gd name="T6" fmla="*/ 306 w 322"/>
                  <a:gd name="T7" fmla="*/ 33 h 140"/>
                  <a:gd name="T8" fmla="*/ 291 w 322"/>
                  <a:gd name="T9" fmla="*/ 23 h 140"/>
                  <a:gd name="T10" fmla="*/ 248 w 322"/>
                  <a:gd name="T11" fmla="*/ 8 h 140"/>
                  <a:gd name="T12" fmla="*/ 191 w 322"/>
                  <a:gd name="T13" fmla="*/ 1 h 140"/>
                  <a:gd name="T14" fmla="*/ 161 w 322"/>
                  <a:gd name="T15" fmla="*/ 0 h 140"/>
                  <a:gd name="T16" fmla="*/ 99 w 322"/>
                  <a:gd name="T17" fmla="*/ 4 h 140"/>
                  <a:gd name="T18" fmla="*/ 49 w 322"/>
                  <a:gd name="T19" fmla="*/ 16 h 140"/>
                  <a:gd name="T20" fmla="*/ 21 w 322"/>
                  <a:gd name="T21" fmla="*/ 29 h 140"/>
                  <a:gd name="T22" fmla="*/ 9 w 322"/>
                  <a:gd name="T23" fmla="*/ 39 h 140"/>
                  <a:gd name="T24" fmla="*/ 2 w 322"/>
                  <a:gd name="T25" fmla="*/ 49 h 140"/>
                  <a:gd name="T26" fmla="*/ 0 w 322"/>
                  <a:gd name="T27" fmla="*/ 54 h 140"/>
                  <a:gd name="T28" fmla="*/ 0 w 322"/>
                  <a:gd name="T29" fmla="*/ 56 h 140"/>
                  <a:gd name="T30" fmla="*/ 0 w 322"/>
                  <a:gd name="T31" fmla="*/ 58 h 140"/>
                  <a:gd name="T32" fmla="*/ 0 w 322"/>
                  <a:gd name="T33" fmla="*/ 92 h 140"/>
                  <a:gd name="T34" fmla="*/ 0 w 322"/>
                  <a:gd name="T35" fmla="*/ 95 h 140"/>
                  <a:gd name="T36" fmla="*/ 10 w 322"/>
                  <a:gd name="T37" fmla="*/ 107 h 140"/>
                  <a:gd name="T38" fmla="*/ 22 w 322"/>
                  <a:gd name="T39" fmla="*/ 115 h 140"/>
                  <a:gd name="T40" fmla="*/ 40 w 322"/>
                  <a:gd name="T41" fmla="*/ 123 h 140"/>
                  <a:gd name="T42" fmla="*/ 68 w 322"/>
                  <a:gd name="T43" fmla="*/ 130 h 140"/>
                  <a:gd name="T44" fmla="*/ 106 w 322"/>
                  <a:gd name="T45" fmla="*/ 137 h 140"/>
                  <a:gd name="T46" fmla="*/ 155 w 322"/>
                  <a:gd name="T47" fmla="*/ 140 h 140"/>
                  <a:gd name="T48" fmla="*/ 166 w 322"/>
                  <a:gd name="T49" fmla="*/ 140 h 140"/>
                  <a:gd name="T50" fmla="*/ 222 w 322"/>
                  <a:gd name="T51" fmla="*/ 137 h 140"/>
                  <a:gd name="T52" fmla="*/ 263 w 322"/>
                  <a:gd name="T53" fmla="*/ 129 h 140"/>
                  <a:gd name="T54" fmla="*/ 291 w 322"/>
                  <a:gd name="T55" fmla="*/ 121 h 140"/>
                  <a:gd name="T56" fmla="*/ 309 w 322"/>
                  <a:gd name="T57" fmla="*/ 111 h 140"/>
                  <a:gd name="T58" fmla="*/ 317 w 322"/>
                  <a:gd name="T59" fmla="*/ 101 h 140"/>
                  <a:gd name="T60" fmla="*/ 322 w 322"/>
                  <a:gd name="T61" fmla="*/ 93 h 140"/>
                  <a:gd name="T62" fmla="*/ 322 w 322"/>
                  <a:gd name="T63" fmla="*/ 8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2" h="140">
                    <a:moveTo>
                      <a:pt x="322" y="85"/>
                    </a:moveTo>
                    <a:lnTo>
                      <a:pt x="322" y="53"/>
                    </a:lnTo>
                    <a:lnTo>
                      <a:pt x="321" y="53"/>
                    </a:lnTo>
                    <a:lnTo>
                      <a:pt x="321" y="53"/>
                    </a:lnTo>
                    <a:lnTo>
                      <a:pt x="320" y="47"/>
                    </a:lnTo>
                    <a:lnTo>
                      <a:pt x="316" y="42"/>
                    </a:lnTo>
                    <a:lnTo>
                      <a:pt x="312" y="37"/>
                    </a:lnTo>
                    <a:lnTo>
                      <a:pt x="306" y="33"/>
                    </a:lnTo>
                    <a:lnTo>
                      <a:pt x="299" y="28"/>
                    </a:lnTo>
                    <a:lnTo>
                      <a:pt x="291" y="23"/>
                    </a:lnTo>
                    <a:lnTo>
                      <a:pt x="271" y="16"/>
                    </a:lnTo>
                    <a:lnTo>
                      <a:pt x="248" y="8"/>
                    </a:lnTo>
                    <a:lnTo>
                      <a:pt x="222" y="4"/>
                    </a:lnTo>
                    <a:lnTo>
                      <a:pt x="191" y="1"/>
                    </a:lnTo>
                    <a:lnTo>
                      <a:pt x="161" y="0"/>
                    </a:lnTo>
                    <a:lnTo>
                      <a:pt x="161" y="0"/>
                    </a:lnTo>
                    <a:lnTo>
                      <a:pt x="128" y="1"/>
                    </a:lnTo>
                    <a:lnTo>
                      <a:pt x="99" y="4"/>
                    </a:lnTo>
                    <a:lnTo>
                      <a:pt x="72" y="8"/>
                    </a:lnTo>
                    <a:lnTo>
                      <a:pt x="49" y="16"/>
                    </a:lnTo>
                    <a:lnTo>
                      <a:pt x="29" y="24"/>
                    </a:lnTo>
                    <a:lnTo>
                      <a:pt x="21" y="29"/>
                    </a:lnTo>
                    <a:lnTo>
                      <a:pt x="14" y="34"/>
                    </a:lnTo>
                    <a:lnTo>
                      <a:pt x="9" y="39"/>
                    </a:lnTo>
                    <a:lnTo>
                      <a:pt x="4" y="43"/>
                    </a:lnTo>
                    <a:lnTo>
                      <a:pt x="2" y="49"/>
                    </a:lnTo>
                    <a:lnTo>
                      <a:pt x="0" y="54"/>
                    </a:lnTo>
                    <a:lnTo>
                      <a:pt x="0" y="54"/>
                    </a:lnTo>
                    <a:lnTo>
                      <a:pt x="0" y="56"/>
                    </a:lnTo>
                    <a:lnTo>
                      <a:pt x="0" y="56"/>
                    </a:lnTo>
                    <a:lnTo>
                      <a:pt x="0" y="57"/>
                    </a:lnTo>
                    <a:lnTo>
                      <a:pt x="0" y="58"/>
                    </a:lnTo>
                    <a:lnTo>
                      <a:pt x="0" y="58"/>
                    </a:lnTo>
                    <a:lnTo>
                      <a:pt x="0" y="92"/>
                    </a:lnTo>
                    <a:lnTo>
                      <a:pt x="0" y="92"/>
                    </a:lnTo>
                    <a:lnTo>
                      <a:pt x="0" y="95"/>
                    </a:lnTo>
                    <a:lnTo>
                      <a:pt x="3" y="100"/>
                    </a:lnTo>
                    <a:lnTo>
                      <a:pt x="10" y="107"/>
                    </a:lnTo>
                    <a:lnTo>
                      <a:pt x="15" y="111"/>
                    </a:lnTo>
                    <a:lnTo>
                      <a:pt x="22" y="115"/>
                    </a:lnTo>
                    <a:lnTo>
                      <a:pt x="31" y="118"/>
                    </a:lnTo>
                    <a:lnTo>
                      <a:pt x="40" y="123"/>
                    </a:lnTo>
                    <a:lnTo>
                      <a:pt x="54" y="127"/>
                    </a:lnTo>
                    <a:lnTo>
                      <a:pt x="68" y="130"/>
                    </a:lnTo>
                    <a:lnTo>
                      <a:pt x="85" y="133"/>
                    </a:lnTo>
                    <a:lnTo>
                      <a:pt x="106" y="137"/>
                    </a:lnTo>
                    <a:lnTo>
                      <a:pt x="128" y="138"/>
                    </a:lnTo>
                    <a:lnTo>
                      <a:pt x="155" y="140"/>
                    </a:lnTo>
                    <a:lnTo>
                      <a:pt x="166" y="140"/>
                    </a:lnTo>
                    <a:lnTo>
                      <a:pt x="166" y="140"/>
                    </a:lnTo>
                    <a:lnTo>
                      <a:pt x="196" y="139"/>
                    </a:lnTo>
                    <a:lnTo>
                      <a:pt x="222" y="137"/>
                    </a:lnTo>
                    <a:lnTo>
                      <a:pt x="243" y="133"/>
                    </a:lnTo>
                    <a:lnTo>
                      <a:pt x="263" y="129"/>
                    </a:lnTo>
                    <a:lnTo>
                      <a:pt x="278" y="126"/>
                    </a:lnTo>
                    <a:lnTo>
                      <a:pt x="291" y="121"/>
                    </a:lnTo>
                    <a:lnTo>
                      <a:pt x="300" y="116"/>
                    </a:lnTo>
                    <a:lnTo>
                      <a:pt x="309" y="111"/>
                    </a:lnTo>
                    <a:lnTo>
                      <a:pt x="313" y="106"/>
                    </a:lnTo>
                    <a:lnTo>
                      <a:pt x="317" y="101"/>
                    </a:lnTo>
                    <a:lnTo>
                      <a:pt x="320" y="97"/>
                    </a:lnTo>
                    <a:lnTo>
                      <a:pt x="322" y="93"/>
                    </a:lnTo>
                    <a:lnTo>
                      <a:pt x="322" y="87"/>
                    </a:lnTo>
                    <a:lnTo>
                      <a:pt x="322" y="8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628"/>
              <p:cNvSpPr>
                <a:spLocks/>
              </p:cNvSpPr>
              <p:nvPr/>
            </p:nvSpPr>
            <p:spPr bwMode="auto">
              <a:xfrm>
                <a:off x="6239294" y="3406392"/>
                <a:ext cx="247275" cy="109900"/>
              </a:xfrm>
              <a:custGeom>
                <a:avLst/>
                <a:gdLst>
                  <a:gd name="T0" fmla="*/ 322 w 322"/>
                  <a:gd name="T1" fmla="*/ 53 h 140"/>
                  <a:gd name="T2" fmla="*/ 321 w 322"/>
                  <a:gd name="T3" fmla="*/ 53 h 140"/>
                  <a:gd name="T4" fmla="*/ 316 w 322"/>
                  <a:gd name="T5" fmla="*/ 42 h 140"/>
                  <a:gd name="T6" fmla="*/ 306 w 322"/>
                  <a:gd name="T7" fmla="*/ 33 h 140"/>
                  <a:gd name="T8" fmla="*/ 291 w 322"/>
                  <a:gd name="T9" fmla="*/ 23 h 140"/>
                  <a:gd name="T10" fmla="*/ 248 w 322"/>
                  <a:gd name="T11" fmla="*/ 8 h 140"/>
                  <a:gd name="T12" fmla="*/ 191 w 322"/>
                  <a:gd name="T13" fmla="*/ 1 h 140"/>
                  <a:gd name="T14" fmla="*/ 161 w 322"/>
                  <a:gd name="T15" fmla="*/ 0 h 140"/>
                  <a:gd name="T16" fmla="*/ 99 w 322"/>
                  <a:gd name="T17" fmla="*/ 4 h 140"/>
                  <a:gd name="T18" fmla="*/ 49 w 322"/>
                  <a:gd name="T19" fmla="*/ 16 h 140"/>
                  <a:gd name="T20" fmla="*/ 21 w 322"/>
                  <a:gd name="T21" fmla="*/ 29 h 140"/>
                  <a:gd name="T22" fmla="*/ 9 w 322"/>
                  <a:gd name="T23" fmla="*/ 39 h 140"/>
                  <a:gd name="T24" fmla="*/ 2 w 322"/>
                  <a:gd name="T25" fmla="*/ 49 h 140"/>
                  <a:gd name="T26" fmla="*/ 0 w 322"/>
                  <a:gd name="T27" fmla="*/ 54 h 140"/>
                  <a:gd name="T28" fmla="*/ 0 w 322"/>
                  <a:gd name="T29" fmla="*/ 56 h 140"/>
                  <a:gd name="T30" fmla="*/ 0 w 322"/>
                  <a:gd name="T31" fmla="*/ 58 h 140"/>
                  <a:gd name="T32" fmla="*/ 0 w 322"/>
                  <a:gd name="T33" fmla="*/ 92 h 140"/>
                  <a:gd name="T34" fmla="*/ 0 w 322"/>
                  <a:gd name="T35" fmla="*/ 95 h 140"/>
                  <a:gd name="T36" fmla="*/ 10 w 322"/>
                  <a:gd name="T37" fmla="*/ 107 h 140"/>
                  <a:gd name="T38" fmla="*/ 22 w 322"/>
                  <a:gd name="T39" fmla="*/ 115 h 140"/>
                  <a:gd name="T40" fmla="*/ 40 w 322"/>
                  <a:gd name="T41" fmla="*/ 123 h 140"/>
                  <a:gd name="T42" fmla="*/ 68 w 322"/>
                  <a:gd name="T43" fmla="*/ 130 h 140"/>
                  <a:gd name="T44" fmla="*/ 106 w 322"/>
                  <a:gd name="T45" fmla="*/ 137 h 140"/>
                  <a:gd name="T46" fmla="*/ 155 w 322"/>
                  <a:gd name="T47" fmla="*/ 140 h 140"/>
                  <a:gd name="T48" fmla="*/ 166 w 322"/>
                  <a:gd name="T49" fmla="*/ 140 h 140"/>
                  <a:gd name="T50" fmla="*/ 222 w 322"/>
                  <a:gd name="T51" fmla="*/ 137 h 140"/>
                  <a:gd name="T52" fmla="*/ 263 w 322"/>
                  <a:gd name="T53" fmla="*/ 129 h 140"/>
                  <a:gd name="T54" fmla="*/ 291 w 322"/>
                  <a:gd name="T55" fmla="*/ 121 h 140"/>
                  <a:gd name="T56" fmla="*/ 309 w 322"/>
                  <a:gd name="T57" fmla="*/ 111 h 140"/>
                  <a:gd name="T58" fmla="*/ 317 w 322"/>
                  <a:gd name="T59" fmla="*/ 101 h 140"/>
                  <a:gd name="T60" fmla="*/ 322 w 322"/>
                  <a:gd name="T61" fmla="*/ 93 h 140"/>
                  <a:gd name="T62" fmla="*/ 322 w 322"/>
                  <a:gd name="T63" fmla="*/ 8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2" h="140">
                    <a:moveTo>
                      <a:pt x="322" y="85"/>
                    </a:moveTo>
                    <a:lnTo>
                      <a:pt x="322" y="53"/>
                    </a:lnTo>
                    <a:lnTo>
                      <a:pt x="321" y="53"/>
                    </a:lnTo>
                    <a:lnTo>
                      <a:pt x="321" y="53"/>
                    </a:lnTo>
                    <a:lnTo>
                      <a:pt x="320" y="47"/>
                    </a:lnTo>
                    <a:lnTo>
                      <a:pt x="316" y="42"/>
                    </a:lnTo>
                    <a:lnTo>
                      <a:pt x="312" y="37"/>
                    </a:lnTo>
                    <a:lnTo>
                      <a:pt x="306" y="33"/>
                    </a:lnTo>
                    <a:lnTo>
                      <a:pt x="299" y="28"/>
                    </a:lnTo>
                    <a:lnTo>
                      <a:pt x="291" y="23"/>
                    </a:lnTo>
                    <a:lnTo>
                      <a:pt x="271" y="16"/>
                    </a:lnTo>
                    <a:lnTo>
                      <a:pt x="248" y="8"/>
                    </a:lnTo>
                    <a:lnTo>
                      <a:pt x="222" y="4"/>
                    </a:lnTo>
                    <a:lnTo>
                      <a:pt x="191" y="1"/>
                    </a:lnTo>
                    <a:lnTo>
                      <a:pt x="161" y="0"/>
                    </a:lnTo>
                    <a:lnTo>
                      <a:pt x="161" y="0"/>
                    </a:lnTo>
                    <a:lnTo>
                      <a:pt x="128" y="1"/>
                    </a:lnTo>
                    <a:lnTo>
                      <a:pt x="99" y="4"/>
                    </a:lnTo>
                    <a:lnTo>
                      <a:pt x="72" y="8"/>
                    </a:lnTo>
                    <a:lnTo>
                      <a:pt x="49" y="16"/>
                    </a:lnTo>
                    <a:lnTo>
                      <a:pt x="29" y="24"/>
                    </a:lnTo>
                    <a:lnTo>
                      <a:pt x="21" y="29"/>
                    </a:lnTo>
                    <a:lnTo>
                      <a:pt x="14" y="34"/>
                    </a:lnTo>
                    <a:lnTo>
                      <a:pt x="9" y="39"/>
                    </a:lnTo>
                    <a:lnTo>
                      <a:pt x="4" y="43"/>
                    </a:lnTo>
                    <a:lnTo>
                      <a:pt x="2" y="49"/>
                    </a:lnTo>
                    <a:lnTo>
                      <a:pt x="0" y="54"/>
                    </a:lnTo>
                    <a:lnTo>
                      <a:pt x="0" y="54"/>
                    </a:lnTo>
                    <a:lnTo>
                      <a:pt x="0" y="56"/>
                    </a:lnTo>
                    <a:lnTo>
                      <a:pt x="0" y="56"/>
                    </a:lnTo>
                    <a:lnTo>
                      <a:pt x="0" y="57"/>
                    </a:lnTo>
                    <a:lnTo>
                      <a:pt x="0" y="58"/>
                    </a:lnTo>
                    <a:lnTo>
                      <a:pt x="0" y="58"/>
                    </a:lnTo>
                    <a:lnTo>
                      <a:pt x="0" y="92"/>
                    </a:lnTo>
                    <a:lnTo>
                      <a:pt x="0" y="92"/>
                    </a:lnTo>
                    <a:lnTo>
                      <a:pt x="0" y="95"/>
                    </a:lnTo>
                    <a:lnTo>
                      <a:pt x="3" y="100"/>
                    </a:lnTo>
                    <a:lnTo>
                      <a:pt x="10" y="107"/>
                    </a:lnTo>
                    <a:lnTo>
                      <a:pt x="15" y="111"/>
                    </a:lnTo>
                    <a:lnTo>
                      <a:pt x="22" y="115"/>
                    </a:lnTo>
                    <a:lnTo>
                      <a:pt x="31" y="118"/>
                    </a:lnTo>
                    <a:lnTo>
                      <a:pt x="40" y="123"/>
                    </a:lnTo>
                    <a:lnTo>
                      <a:pt x="54" y="127"/>
                    </a:lnTo>
                    <a:lnTo>
                      <a:pt x="68" y="130"/>
                    </a:lnTo>
                    <a:lnTo>
                      <a:pt x="85" y="133"/>
                    </a:lnTo>
                    <a:lnTo>
                      <a:pt x="106" y="137"/>
                    </a:lnTo>
                    <a:lnTo>
                      <a:pt x="128" y="138"/>
                    </a:lnTo>
                    <a:lnTo>
                      <a:pt x="155" y="140"/>
                    </a:lnTo>
                    <a:lnTo>
                      <a:pt x="166" y="140"/>
                    </a:lnTo>
                    <a:lnTo>
                      <a:pt x="166" y="140"/>
                    </a:lnTo>
                    <a:lnTo>
                      <a:pt x="196" y="139"/>
                    </a:lnTo>
                    <a:lnTo>
                      <a:pt x="222" y="137"/>
                    </a:lnTo>
                    <a:lnTo>
                      <a:pt x="243" y="133"/>
                    </a:lnTo>
                    <a:lnTo>
                      <a:pt x="263" y="129"/>
                    </a:lnTo>
                    <a:lnTo>
                      <a:pt x="278" y="126"/>
                    </a:lnTo>
                    <a:lnTo>
                      <a:pt x="291" y="121"/>
                    </a:lnTo>
                    <a:lnTo>
                      <a:pt x="300" y="116"/>
                    </a:lnTo>
                    <a:lnTo>
                      <a:pt x="309" y="111"/>
                    </a:lnTo>
                    <a:lnTo>
                      <a:pt x="313" y="106"/>
                    </a:lnTo>
                    <a:lnTo>
                      <a:pt x="317" y="101"/>
                    </a:lnTo>
                    <a:lnTo>
                      <a:pt x="320" y="97"/>
                    </a:lnTo>
                    <a:lnTo>
                      <a:pt x="322" y="93"/>
                    </a:lnTo>
                    <a:lnTo>
                      <a:pt x="322" y="87"/>
                    </a:lnTo>
                    <a:lnTo>
                      <a:pt x="322"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7" name="Group 86"/>
              <p:cNvGrpSpPr/>
              <p:nvPr/>
            </p:nvGrpSpPr>
            <p:grpSpPr>
              <a:xfrm>
                <a:off x="6239294" y="3375865"/>
                <a:ext cx="247275" cy="106846"/>
                <a:chOff x="6080125" y="2726215"/>
                <a:chExt cx="251013" cy="108461"/>
              </a:xfrm>
            </p:grpSpPr>
            <p:sp>
              <p:nvSpPr>
                <p:cNvPr id="88" name="Freeform 629"/>
                <p:cNvSpPr>
                  <a:spLocks/>
                </p:cNvSpPr>
                <p:nvPr/>
              </p:nvSpPr>
              <p:spPr bwMode="auto">
                <a:xfrm>
                  <a:off x="6080125" y="2747906"/>
                  <a:ext cx="251013" cy="86770"/>
                </a:xfrm>
                <a:custGeom>
                  <a:avLst/>
                  <a:gdLst>
                    <a:gd name="T0" fmla="*/ 150 w 322"/>
                    <a:gd name="T1" fmla="*/ 0 h 113"/>
                    <a:gd name="T2" fmla="*/ 150 w 322"/>
                    <a:gd name="T3" fmla="*/ 0 h 113"/>
                    <a:gd name="T4" fmla="*/ 177 w 322"/>
                    <a:gd name="T5" fmla="*/ 2 h 113"/>
                    <a:gd name="T6" fmla="*/ 205 w 322"/>
                    <a:gd name="T7" fmla="*/ 4 h 113"/>
                    <a:gd name="T8" fmla="*/ 232 w 322"/>
                    <a:gd name="T9" fmla="*/ 9 h 113"/>
                    <a:gd name="T10" fmla="*/ 260 w 322"/>
                    <a:gd name="T11" fmla="*/ 14 h 113"/>
                    <a:gd name="T12" fmla="*/ 304 w 322"/>
                    <a:gd name="T13" fmla="*/ 22 h 113"/>
                    <a:gd name="T14" fmla="*/ 322 w 322"/>
                    <a:gd name="T15" fmla="*/ 26 h 113"/>
                    <a:gd name="T16" fmla="*/ 322 w 322"/>
                    <a:gd name="T17" fmla="*/ 58 h 113"/>
                    <a:gd name="T18" fmla="*/ 322 w 322"/>
                    <a:gd name="T19" fmla="*/ 58 h 113"/>
                    <a:gd name="T20" fmla="*/ 322 w 322"/>
                    <a:gd name="T21" fmla="*/ 61 h 113"/>
                    <a:gd name="T22" fmla="*/ 322 w 322"/>
                    <a:gd name="T23" fmla="*/ 66 h 113"/>
                    <a:gd name="T24" fmla="*/ 320 w 322"/>
                    <a:gd name="T25" fmla="*/ 71 h 113"/>
                    <a:gd name="T26" fmla="*/ 317 w 322"/>
                    <a:gd name="T27" fmla="*/ 74 h 113"/>
                    <a:gd name="T28" fmla="*/ 313 w 322"/>
                    <a:gd name="T29" fmla="*/ 79 h 113"/>
                    <a:gd name="T30" fmla="*/ 309 w 322"/>
                    <a:gd name="T31" fmla="*/ 84 h 113"/>
                    <a:gd name="T32" fmla="*/ 300 w 322"/>
                    <a:gd name="T33" fmla="*/ 89 h 113"/>
                    <a:gd name="T34" fmla="*/ 291 w 322"/>
                    <a:gd name="T35" fmla="*/ 93 h 113"/>
                    <a:gd name="T36" fmla="*/ 278 w 322"/>
                    <a:gd name="T37" fmla="*/ 98 h 113"/>
                    <a:gd name="T38" fmla="*/ 263 w 322"/>
                    <a:gd name="T39" fmla="*/ 103 h 113"/>
                    <a:gd name="T40" fmla="*/ 243 w 322"/>
                    <a:gd name="T41" fmla="*/ 107 h 113"/>
                    <a:gd name="T42" fmla="*/ 222 w 322"/>
                    <a:gd name="T43" fmla="*/ 109 h 113"/>
                    <a:gd name="T44" fmla="*/ 196 w 322"/>
                    <a:gd name="T45" fmla="*/ 112 h 113"/>
                    <a:gd name="T46" fmla="*/ 166 w 322"/>
                    <a:gd name="T47" fmla="*/ 113 h 113"/>
                    <a:gd name="T48" fmla="*/ 155 w 322"/>
                    <a:gd name="T49" fmla="*/ 113 h 113"/>
                    <a:gd name="T50" fmla="*/ 155 w 322"/>
                    <a:gd name="T51" fmla="*/ 113 h 113"/>
                    <a:gd name="T52" fmla="*/ 128 w 322"/>
                    <a:gd name="T53" fmla="*/ 112 h 113"/>
                    <a:gd name="T54" fmla="*/ 106 w 322"/>
                    <a:gd name="T55" fmla="*/ 109 h 113"/>
                    <a:gd name="T56" fmla="*/ 85 w 322"/>
                    <a:gd name="T57" fmla="*/ 107 h 113"/>
                    <a:gd name="T58" fmla="*/ 68 w 322"/>
                    <a:gd name="T59" fmla="*/ 103 h 113"/>
                    <a:gd name="T60" fmla="*/ 54 w 322"/>
                    <a:gd name="T61" fmla="*/ 100 h 113"/>
                    <a:gd name="T62" fmla="*/ 40 w 322"/>
                    <a:gd name="T63" fmla="*/ 96 h 113"/>
                    <a:gd name="T64" fmla="*/ 31 w 322"/>
                    <a:gd name="T65" fmla="*/ 92 h 113"/>
                    <a:gd name="T66" fmla="*/ 22 w 322"/>
                    <a:gd name="T67" fmla="*/ 87 h 113"/>
                    <a:gd name="T68" fmla="*/ 15 w 322"/>
                    <a:gd name="T69" fmla="*/ 84 h 113"/>
                    <a:gd name="T70" fmla="*/ 10 w 322"/>
                    <a:gd name="T71" fmla="*/ 80 h 113"/>
                    <a:gd name="T72" fmla="*/ 3 w 322"/>
                    <a:gd name="T73" fmla="*/ 73 h 113"/>
                    <a:gd name="T74" fmla="*/ 0 w 322"/>
                    <a:gd name="T75" fmla="*/ 68 h 113"/>
                    <a:gd name="T76" fmla="*/ 0 w 322"/>
                    <a:gd name="T77" fmla="*/ 66 h 113"/>
                    <a:gd name="T78" fmla="*/ 0 w 322"/>
                    <a:gd name="T79" fmla="*/ 66 h 113"/>
                    <a:gd name="T80" fmla="*/ 0 w 322"/>
                    <a:gd name="T81" fmla="*/ 28 h 113"/>
                    <a:gd name="T82" fmla="*/ 0 w 322"/>
                    <a:gd name="T83" fmla="*/ 28 h 113"/>
                    <a:gd name="T84" fmla="*/ 16 w 322"/>
                    <a:gd name="T85" fmla="*/ 23 h 113"/>
                    <a:gd name="T86" fmla="*/ 56 w 322"/>
                    <a:gd name="T87" fmla="*/ 14 h 113"/>
                    <a:gd name="T88" fmla="*/ 80 w 322"/>
                    <a:gd name="T89" fmla="*/ 9 h 113"/>
                    <a:gd name="T90" fmla="*/ 108 w 322"/>
                    <a:gd name="T91" fmla="*/ 5 h 113"/>
                    <a:gd name="T92" fmla="*/ 135 w 322"/>
                    <a:gd name="T93" fmla="*/ 2 h 113"/>
                    <a:gd name="T94" fmla="*/ 160 w 322"/>
                    <a:gd name="T95" fmla="*/ 0 h 113"/>
                    <a:gd name="T96" fmla="*/ 150 w 322"/>
                    <a:gd name="T9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113">
                      <a:moveTo>
                        <a:pt x="150" y="0"/>
                      </a:moveTo>
                      <a:lnTo>
                        <a:pt x="150" y="0"/>
                      </a:lnTo>
                      <a:lnTo>
                        <a:pt x="177" y="2"/>
                      </a:lnTo>
                      <a:lnTo>
                        <a:pt x="205" y="4"/>
                      </a:lnTo>
                      <a:lnTo>
                        <a:pt x="232" y="9"/>
                      </a:lnTo>
                      <a:lnTo>
                        <a:pt x="260" y="14"/>
                      </a:lnTo>
                      <a:lnTo>
                        <a:pt x="304" y="22"/>
                      </a:lnTo>
                      <a:lnTo>
                        <a:pt x="322" y="26"/>
                      </a:lnTo>
                      <a:lnTo>
                        <a:pt x="322" y="58"/>
                      </a:lnTo>
                      <a:lnTo>
                        <a:pt x="322" y="58"/>
                      </a:lnTo>
                      <a:lnTo>
                        <a:pt x="322" y="61"/>
                      </a:lnTo>
                      <a:lnTo>
                        <a:pt x="322" y="66"/>
                      </a:lnTo>
                      <a:lnTo>
                        <a:pt x="320" y="71"/>
                      </a:lnTo>
                      <a:lnTo>
                        <a:pt x="317" y="74"/>
                      </a:lnTo>
                      <a:lnTo>
                        <a:pt x="313" y="79"/>
                      </a:lnTo>
                      <a:lnTo>
                        <a:pt x="309" y="84"/>
                      </a:lnTo>
                      <a:lnTo>
                        <a:pt x="300" y="89"/>
                      </a:lnTo>
                      <a:lnTo>
                        <a:pt x="291" y="93"/>
                      </a:lnTo>
                      <a:lnTo>
                        <a:pt x="278" y="98"/>
                      </a:lnTo>
                      <a:lnTo>
                        <a:pt x="263" y="103"/>
                      </a:lnTo>
                      <a:lnTo>
                        <a:pt x="243" y="107"/>
                      </a:lnTo>
                      <a:lnTo>
                        <a:pt x="222" y="109"/>
                      </a:lnTo>
                      <a:lnTo>
                        <a:pt x="196" y="112"/>
                      </a:lnTo>
                      <a:lnTo>
                        <a:pt x="166" y="113"/>
                      </a:lnTo>
                      <a:lnTo>
                        <a:pt x="155" y="113"/>
                      </a:lnTo>
                      <a:lnTo>
                        <a:pt x="155" y="113"/>
                      </a:lnTo>
                      <a:lnTo>
                        <a:pt x="128" y="112"/>
                      </a:lnTo>
                      <a:lnTo>
                        <a:pt x="106" y="109"/>
                      </a:lnTo>
                      <a:lnTo>
                        <a:pt x="85" y="107"/>
                      </a:lnTo>
                      <a:lnTo>
                        <a:pt x="68" y="103"/>
                      </a:lnTo>
                      <a:lnTo>
                        <a:pt x="54" y="100"/>
                      </a:lnTo>
                      <a:lnTo>
                        <a:pt x="40" y="96"/>
                      </a:lnTo>
                      <a:lnTo>
                        <a:pt x="31" y="92"/>
                      </a:lnTo>
                      <a:lnTo>
                        <a:pt x="22" y="87"/>
                      </a:lnTo>
                      <a:lnTo>
                        <a:pt x="15" y="84"/>
                      </a:lnTo>
                      <a:lnTo>
                        <a:pt x="10" y="80"/>
                      </a:lnTo>
                      <a:lnTo>
                        <a:pt x="3" y="73"/>
                      </a:lnTo>
                      <a:lnTo>
                        <a:pt x="0" y="68"/>
                      </a:lnTo>
                      <a:lnTo>
                        <a:pt x="0" y="66"/>
                      </a:lnTo>
                      <a:lnTo>
                        <a:pt x="0" y="66"/>
                      </a:lnTo>
                      <a:lnTo>
                        <a:pt x="0" y="28"/>
                      </a:lnTo>
                      <a:lnTo>
                        <a:pt x="0" y="28"/>
                      </a:lnTo>
                      <a:lnTo>
                        <a:pt x="16" y="23"/>
                      </a:lnTo>
                      <a:lnTo>
                        <a:pt x="56" y="14"/>
                      </a:lnTo>
                      <a:lnTo>
                        <a:pt x="80" y="9"/>
                      </a:lnTo>
                      <a:lnTo>
                        <a:pt x="108" y="5"/>
                      </a:lnTo>
                      <a:lnTo>
                        <a:pt x="135" y="2"/>
                      </a:lnTo>
                      <a:lnTo>
                        <a:pt x="160" y="0"/>
                      </a:lnTo>
                      <a:lnTo>
                        <a:pt x="150" y="0"/>
                      </a:lnTo>
                      <a:close/>
                    </a:path>
                  </a:pathLst>
                </a:custGeom>
                <a:solidFill>
                  <a:srgbClr val="E089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30"/>
                <p:cNvSpPr>
                  <a:spLocks/>
                </p:cNvSpPr>
                <p:nvPr/>
              </p:nvSpPr>
              <p:spPr bwMode="auto">
                <a:xfrm>
                  <a:off x="6080125" y="2747906"/>
                  <a:ext cx="251013" cy="86770"/>
                </a:xfrm>
                <a:custGeom>
                  <a:avLst/>
                  <a:gdLst>
                    <a:gd name="T0" fmla="*/ 150 w 322"/>
                    <a:gd name="T1" fmla="*/ 0 h 113"/>
                    <a:gd name="T2" fmla="*/ 150 w 322"/>
                    <a:gd name="T3" fmla="*/ 0 h 113"/>
                    <a:gd name="T4" fmla="*/ 177 w 322"/>
                    <a:gd name="T5" fmla="*/ 2 h 113"/>
                    <a:gd name="T6" fmla="*/ 205 w 322"/>
                    <a:gd name="T7" fmla="*/ 4 h 113"/>
                    <a:gd name="T8" fmla="*/ 232 w 322"/>
                    <a:gd name="T9" fmla="*/ 9 h 113"/>
                    <a:gd name="T10" fmla="*/ 260 w 322"/>
                    <a:gd name="T11" fmla="*/ 14 h 113"/>
                    <a:gd name="T12" fmla="*/ 304 w 322"/>
                    <a:gd name="T13" fmla="*/ 22 h 113"/>
                    <a:gd name="T14" fmla="*/ 322 w 322"/>
                    <a:gd name="T15" fmla="*/ 26 h 113"/>
                    <a:gd name="T16" fmla="*/ 322 w 322"/>
                    <a:gd name="T17" fmla="*/ 58 h 113"/>
                    <a:gd name="T18" fmla="*/ 322 w 322"/>
                    <a:gd name="T19" fmla="*/ 58 h 113"/>
                    <a:gd name="T20" fmla="*/ 322 w 322"/>
                    <a:gd name="T21" fmla="*/ 61 h 113"/>
                    <a:gd name="T22" fmla="*/ 322 w 322"/>
                    <a:gd name="T23" fmla="*/ 66 h 113"/>
                    <a:gd name="T24" fmla="*/ 320 w 322"/>
                    <a:gd name="T25" fmla="*/ 71 h 113"/>
                    <a:gd name="T26" fmla="*/ 317 w 322"/>
                    <a:gd name="T27" fmla="*/ 74 h 113"/>
                    <a:gd name="T28" fmla="*/ 313 w 322"/>
                    <a:gd name="T29" fmla="*/ 79 h 113"/>
                    <a:gd name="T30" fmla="*/ 309 w 322"/>
                    <a:gd name="T31" fmla="*/ 84 h 113"/>
                    <a:gd name="T32" fmla="*/ 300 w 322"/>
                    <a:gd name="T33" fmla="*/ 89 h 113"/>
                    <a:gd name="T34" fmla="*/ 291 w 322"/>
                    <a:gd name="T35" fmla="*/ 93 h 113"/>
                    <a:gd name="T36" fmla="*/ 278 w 322"/>
                    <a:gd name="T37" fmla="*/ 98 h 113"/>
                    <a:gd name="T38" fmla="*/ 263 w 322"/>
                    <a:gd name="T39" fmla="*/ 103 h 113"/>
                    <a:gd name="T40" fmla="*/ 243 w 322"/>
                    <a:gd name="T41" fmla="*/ 107 h 113"/>
                    <a:gd name="T42" fmla="*/ 222 w 322"/>
                    <a:gd name="T43" fmla="*/ 109 h 113"/>
                    <a:gd name="T44" fmla="*/ 196 w 322"/>
                    <a:gd name="T45" fmla="*/ 112 h 113"/>
                    <a:gd name="T46" fmla="*/ 166 w 322"/>
                    <a:gd name="T47" fmla="*/ 113 h 113"/>
                    <a:gd name="T48" fmla="*/ 155 w 322"/>
                    <a:gd name="T49" fmla="*/ 113 h 113"/>
                    <a:gd name="T50" fmla="*/ 155 w 322"/>
                    <a:gd name="T51" fmla="*/ 113 h 113"/>
                    <a:gd name="T52" fmla="*/ 128 w 322"/>
                    <a:gd name="T53" fmla="*/ 112 h 113"/>
                    <a:gd name="T54" fmla="*/ 106 w 322"/>
                    <a:gd name="T55" fmla="*/ 109 h 113"/>
                    <a:gd name="T56" fmla="*/ 85 w 322"/>
                    <a:gd name="T57" fmla="*/ 107 h 113"/>
                    <a:gd name="T58" fmla="*/ 68 w 322"/>
                    <a:gd name="T59" fmla="*/ 103 h 113"/>
                    <a:gd name="T60" fmla="*/ 54 w 322"/>
                    <a:gd name="T61" fmla="*/ 100 h 113"/>
                    <a:gd name="T62" fmla="*/ 40 w 322"/>
                    <a:gd name="T63" fmla="*/ 96 h 113"/>
                    <a:gd name="T64" fmla="*/ 31 w 322"/>
                    <a:gd name="T65" fmla="*/ 92 h 113"/>
                    <a:gd name="T66" fmla="*/ 22 w 322"/>
                    <a:gd name="T67" fmla="*/ 87 h 113"/>
                    <a:gd name="T68" fmla="*/ 15 w 322"/>
                    <a:gd name="T69" fmla="*/ 84 h 113"/>
                    <a:gd name="T70" fmla="*/ 10 w 322"/>
                    <a:gd name="T71" fmla="*/ 80 h 113"/>
                    <a:gd name="T72" fmla="*/ 3 w 322"/>
                    <a:gd name="T73" fmla="*/ 73 h 113"/>
                    <a:gd name="T74" fmla="*/ 0 w 322"/>
                    <a:gd name="T75" fmla="*/ 68 h 113"/>
                    <a:gd name="T76" fmla="*/ 0 w 322"/>
                    <a:gd name="T77" fmla="*/ 66 h 113"/>
                    <a:gd name="T78" fmla="*/ 0 w 322"/>
                    <a:gd name="T79" fmla="*/ 66 h 113"/>
                    <a:gd name="T80" fmla="*/ 0 w 322"/>
                    <a:gd name="T81" fmla="*/ 28 h 113"/>
                    <a:gd name="T82" fmla="*/ 0 w 322"/>
                    <a:gd name="T83" fmla="*/ 28 h 113"/>
                    <a:gd name="T84" fmla="*/ 16 w 322"/>
                    <a:gd name="T85" fmla="*/ 23 h 113"/>
                    <a:gd name="T86" fmla="*/ 56 w 322"/>
                    <a:gd name="T87" fmla="*/ 14 h 113"/>
                    <a:gd name="T88" fmla="*/ 80 w 322"/>
                    <a:gd name="T89" fmla="*/ 9 h 113"/>
                    <a:gd name="T90" fmla="*/ 108 w 322"/>
                    <a:gd name="T91" fmla="*/ 5 h 113"/>
                    <a:gd name="T92" fmla="*/ 135 w 322"/>
                    <a:gd name="T93" fmla="*/ 2 h 113"/>
                    <a:gd name="T94" fmla="*/ 160 w 322"/>
                    <a:gd name="T95" fmla="*/ 0 h 113"/>
                    <a:gd name="T96" fmla="*/ 150 w 322"/>
                    <a:gd name="T9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113">
                      <a:moveTo>
                        <a:pt x="150" y="0"/>
                      </a:moveTo>
                      <a:lnTo>
                        <a:pt x="150" y="0"/>
                      </a:lnTo>
                      <a:lnTo>
                        <a:pt x="177" y="2"/>
                      </a:lnTo>
                      <a:lnTo>
                        <a:pt x="205" y="4"/>
                      </a:lnTo>
                      <a:lnTo>
                        <a:pt x="232" y="9"/>
                      </a:lnTo>
                      <a:lnTo>
                        <a:pt x="260" y="14"/>
                      </a:lnTo>
                      <a:lnTo>
                        <a:pt x="304" y="22"/>
                      </a:lnTo>
                      <a:lnTo>
                        <a:pt x="322" y="26"/>
                      </a:lnTo>
                      <a:lnTo>
                        <a:pt x="322" y="58"/>
                      </a:lnTo>
                      <a:lnTo>
                        <a:pt x="322" y="58"/>
                      </a:lnTo>
                      <a:lnTo>
                        <a:pt x="322" y="61"/>
                      </a:lnTo>
                      <a:lnTo>
                        <a:pt x="322" y="66"/>
                      </a:lnTo>
                      <a:lnTo>
                        <a:pt x="320" y="71"/>
                      </a:lnTo>
                      <a:lnTo>
                        <a:pt x="317" y="74"/>
                      </a:lnTo>
                      <a:lnTo>
                        <a:pt x="313" y="79"/>
                      </a:lnTo>
                      <a:lnTo>
                        <a:pt x="309" y="84"/>
                      </a:lnTo>
                      <a:lnTo>
                        <a:pt x="300" y="89"/>
                      </a:lnTo>
                      <a:lnTo>
                        <a:pt x="291" y="93"/>
                      </a:lnTo>
                      <a:lnTo>
                        <a:pt x="278" y="98"/>
                      </a:lnTo>
                      <a:lnTo>
                        <a:pt x="263" y="103"/>
                      </a:lnTo>
                      <a:lnTo>
                        <a:pt x="243" y="107"/>
                      </a:lnTo>
                      <a:lnTo>
                        <a:pt x="222" y="109"/>
                      </a:lnTo>
                      <a:lnTo>
                        <a:pt x="196" y="112"/>
                      </a:lnTo>
                      <a:lnTo>
                        <a:pt x="166" y="113"/>
                      </a:lnTo>
                      <a:lnTo>
                        <a:pt x="155" y="113"/>
                      </a:lnTo>
                      <a:lnTo>
                        <a:pt x="155" y="113"/>
                      </a:lnTo>
                      <a:lnTo>
                        <a:pt x="128" y="112"/>
                      </a:lnTo>
                      <a:lnTo>
                        <a:pt x="106" y="109"/>
                      </a:lnTo>
                      <a:lnTo>
                        <a:pt x="85" y="107"/>
                      </a:lnTo>
                      <a:lnTo>
                        <a:pt x="68" y="103"/>
                      </a:lnTo>
                      <a:lnTo>
                        <a:pt x="54" y="100"/>
                      </a:lnTo>
                      <a:lnTo>
                        <a:pt x="40" y="96"/>
                      </a:lnTo>
                      <a:lnTo>
                        <a:pt x="31" y="92"/>
                      </a:lnTo>
                      <a:lnTo>
                        <a:pt x="22" y="87"/>
                      </a:lnTo>
                      <a:lnTo>
                        <a:pt x="15" y="84"/>
                      </a:lnTo>
                      <a:lnTo>
                        <a:pt x="10" y="80"/>
                      </a:lnTo>
                      <a:lnTo>
                        <a:pt x="3" y="73"/>
                      </a:lnTo>
                      <a:lnTo>
                        <a:pt x="0" y="68"/>
                      </a:lnTo>
                      <a:lnTo>
                        <a:pt x="0" y="66"/>
                      </a:lnTo>
                      <a:lnTo>
                        <a:pt x="0" y="66"/>
                      </a:lnTo>
                      <a:lnTo>
                        <a:pt x="0" y="28"/>
                      </a:lnTo>
                      <a:lnTo>
                        <a:pt x="0" y="28"/>
                      </a:lnTo>
                      <a:lnTo>
                        <a:pt x="16" y="23"/>
                      </a:lnTo>
                      <a:lnTo>
                        <a:pt x="56" y="14"/>
                      </a:lnTo>
                      <a:lnTo>
                        <a:pt x="80" y="9"/>
                      </a:lnTo>
                      <a:lnTo>
                        <a:pt x="108" y="5"/>
                      </a:lnTo>
                      <a:lnTo>
                        <a:pt x="135" y="2"/>
                      </a:lnTo>
                      <a:lnTo>
                        <a:pt x="160" y="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31"/>
                <p:cNvSpPr>
                  <a:spLocks/>
                </p:cNvSpPr>
                <p:nvPr/>
              </p:nvSpPr>
              <p:spPr bwMode="auto">
                <a:xfrm>
                  <a:off x="6080125" y="2726215"/>
                  <a:ext cx="251013" cy="86770"/>
                </a:xfrm>
                <a:custGeom>
                  <a:avLst/>
                  <a:gdLst>
                    <a:gd name="T0" fmla="*/ 322 w 322"/>
                    <a:gd name="T1" fmla="*/ 56 h 113"/>
                    <a:gd name="T2" fmla="*/ 322 w 322"/>
                    <a:gd name="T3" fmla="*/ 56 h 113"/>
                    <a:gd name="T4" fmla="*/ 321 w 322"/>
                    <a:gd name="T5" fmla="*/ 62 h 113"/>
                    <a:gd name="T6" fmla="*/ 318 w 322"/>
                    <a:gd name="T7" fmla="*/ 68 h 113"/>
                    <a:gd name="T8" fmla="*/ 315 w 322"/>
                    <a:gd name="T9" fmla="*/ 73 h 113"/>
                    <a:gd name="T10" fmla="*/ 309 w 322"/>
                    <a:gd name="T11" fmla="*/ 79 h 113"/>
                    <a:gd name="T12" fmla="*/ 303 w 322"/>
                    <a:gd name="T13" fmla="*/ 84 h 113"/>
                    <a:gd name="T14" fmla="*/ 294 w 322"/>
                    <a:gd name="T15" fmla="*/ 89 h 113"/>
                    <a:gd name="T16" fmla="*/ 284 w 322"/>
                    <a:gd name="T17" fmla="*/ 93 h 113"/>
                    <a:gd name="T18" fmla="*/ 275 w 322"/>
                    <a:gd name="T19" fmla="*/ 98 h 113"/>
                    <a:gd name="T20" fmla="*/ 251 w 322"/>
                    <a:gd name="T21" fmla="*/ 104 h 113"/>
                    <a:gd name="T22" fmla="*/ 223 w 322"/>
                    <a:gd name="T23" fmla="*/ 110 h 113"/>
                    <a:gd name="T24" fmla="*/ 193 w 322"/>
                    <a:gd name="T25" fmla="*/ 112 h 113"/>
                    <a:gd name="T26" fmla="*/ 161 w 322"/>
                    <a:gd name="T27" fmla="*/ 113 h 113"/>
                    <a:gd name="T28" fmla="*/ 161 w 322"/>
                    <a:gd name="T29" fmla="*/ 113 h 113"/>
                    <a:gd name="T30" fmla="*/ 128 w 322"/>
                    <a:gd name="T31" fmla="*/ 112 h 113"/>
                    <a:gd name="T32" fmla="*/ 98 w 322"/>
                    <a:gd name="T33" fmla="*/ 110 h 113"/>
                    <a:gd name="T34" fmla="*/ 70 w 322"/>
                    <a:gd name="T35" fmla="*/ 104 h 113"/>
                    <a:gd name="T36" fmla="*/ 46 w 322"/>
                    <a:gd name="T37" fmla="*/ 98 h 113"/>
                    <a:gd name="T38" fmla="*/ 37 w 322"/>
                    <a:gd name="T39" fmla="*/ 93 h 113"/>
                    <a:gd name="T40" fmla="*/ 27 w 322"/>
                    <a:gd name="T41" fmla="*/ 89 h 113"/>
                    <a:gd name="T42" fmla="*/ 20 w 322"/>
                    <a:gd name="T43" fmla="*/ 84 h 113"/>
                    <a:gd name="T44" fmla="*/ 12 w 322"/>
                    <a:gd name="T45" fmla="*/ 79 h 113"/>
                    <a:gd name="T46" fmla="*/ 8 w 322"/>
                    <a:gd name="T47" fmla="*/ 73 h 113"/>
                    <a:gd name="T48" fmla="*/ 3 w 322"/>
                    <a:gd name="T49" fmla="*/ 68 h 113"/>
                    <a:gd name="T50" fmla="*/ 0 w 322"/>
                    <a:gd name="T51" fmla="*/ 62 h 113"/>
                    <a:gd name="T52" fmla="*/ 0 w 322"/>
                    <a:gd name="T53" fmla="*/ 56 h 113"/>
                    <a:gd name="T54" fmla="*/ 0 w 322"/>
                    <a:gd name="T55" fmla="*/ 56 h 113"/>
                    <a:gd name="T56" fmla="*/ 0 w 322"/>
                    <a:gd name="T57" fmla="*/ 50 h 113"/>
                    <a:gd name="T58" fmla="*/ 3 w 322"/>
                    <a:gd name="T59" fmla="*/ 46 h 113"/>
                    <a:gd name="T60" fmla="*/ 8 w 322"/>
                    <a:gd name="T61" fmla="*/ 39 h 113"/>
                    <a:gd name="T62" fmla="*/ 12 w 322"/>
                    <a:gd name="T63" fmla="*/ 35 h 113"/>
                    <a:gd name="T64" fmla="*/ 20 w 322"/>
                    <a:gd name="T65" fmla="*/ 30 h 113"/>
                    <a:gd name="T66" fmla="*/ 27 w 322"/>
                    <a:gd name="T67" fmla="*/ 25 h 113"/>
                    <a:gd name="T68" fmla="*/ 37 w 322"/>
                    <a:gd name="T69" fmla="*/ 20 h 113"/>
                    <a:gd name="T70" fmla="*/ 46 w 322"/>
                    <a:gd name="T71" fmla="*/ 16 h 113"/>
                    <a:gd name="T72" fmla="*/ 70 w 322"/>
                    <a:gd name="T73" fmla="*/ 9 h 113"/>
                    <a:gd name="T74" fmla="*/ 98 w 322"/>
                    <a:gd name="T75" fmla="*/ 4 h 113"/>
                    <a:gd name="T76" fmla="*/ 128 w 322"/>
                    <a:gd name="T77" fmla="*/ 1 h 113"/>
                    <a:gd name="T78" fmla="*/ 161 w 322"/>
                    <a:gd name="T79" fmla="*/ 0 h 113"/>
                    <a:gd name="T80" fmla="*/ 161 w 322"/>
                    <a:gd name="T81" fmla="*/ 0 h 113"/>
                    <a:gd name="T82" fmla="*/ 193 w 322"/>
                    <a:gd name="T83" fmla="*/ 1 h 113"/>
                    <a:gd name="T84" fmla="*/ 223 w 322"/>
                    <a:gd name="T85" fmla="*/ 4 h 113"/>
                    <a:gd name="T86" fmla="*/ 251 w 322"/>
                    <a:gd name="T87" fmla="*/ 9 h 113"/>
                    <a:gd name="T88" fmla="*/ 275 w 322"/>
                    <a:gd name="T89" fmla="*/ 16 h 113"/>
                    <a:gd name="T90" fmla="*/ 284 w 322"/>
                    <a:gd name="T91" fmla="*/ 20 h 113"/>
                    <a:gd name="T92" fmla="*/ 294 w 322"/>
                    <a:gd name="T93" fmla="*/ 25 h 113"/>
                    <a:gd name="T94" fmla="*/ 303 w 322"/>
                    <a:gd name="T95" fmla="*/ 30 h 113"/>
                    <a:gd name="T96" fmla="*/ 309 w 322"/>
                    <a:gd name="T97" fmla="*/ 35 h 113"/>
                    <a:gd name="T98" fmla="*/ 315 w 322"/>
                    <a:gd name="T99" fmla="*/ 39 h 113"/>
                    <a:gd name="T100" fmla="*/ 318 w 322"/>
                    <a:gd name="T101" fmla="*/ 46 h 113"/>
                    <a:gd name="T102" fmla="*/ 321 w 322"/>
                    <a:gd name="T103" fmla="*/ 50 h 113"/>
                    <a:gd name="T104" fmla="*/ 322 w 322"/>
                    <a:gd name="T105" fmla="*/ 5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113">
                      <a:moveTo>
                        <a:pt x="322" y="56"/>
                      </a:moveTo>
                      <a:lnTo>
                        <a:pt x="322" y="56"/>
                      </a:lnTo>
                      <a:lnTo>
                        <a:pt x="321" y="62"/>
                      </a:lnTo>
                      <a:lnTo>
                        <a:pt x="318" y="68"/>
                      </a:lnTo>
                      <a:lnTo>
                        <a:pt x="315" y="73"/>
                      </a:lnTo>
                      <a:lnTo>
                        <a:pt x="309" y="79"/>
                      </a:lnTo>
                      <a:lnTo>
                        <a:pt x="303" y="84"/>
                      </a:lnTo>
                      <a:lnTo>
                        <a:pt x="294" y="89"/>
                      </a:lnTo>
                      <a:lnTo>
                        <a:pt x="284" y="93"/>
                      </a:lnTo>
                      <a:lnTo>
                        <a:pt x="275" y="98"/>
                      </a:lnTo>
                      <a:lnTo>
                        <a:pt x="251" y="104"/>
                      </a:lnTo>
                      <a:lnTo>
                        <a:pt x="223" y="110"/>
                      </a:lnTo>
                      <a:lnTo>
                        <a:pt x="193" y="112"/>
                      </a:lnTo>
                      <a:lnTo>
                        <a:pt x="161" y="113"/>
                      </a:lnTo>
                      <a:lnTo>
                        <a:pt x="161" y="113"/>
                      </a:lnTo>
                      <a:lnTo>
                        <a:pt x="128" y="112"/>
                      </a:lnTo>
                      <a:lnTo>
                        <a:pt x="98" y="110"/>
                      </a:lnTo>
                      <a:lnTo>
                        <a:pt x="70" y="104"/>
                      </a:lnTo>
                      <a:lnTo>
                        <a:pt x="46" y="98"/>
                      </a:lnTo>
                      <a:lnTo>
                        <a:pt x="37" y="93"/>
                      </a:lnTo>
                      <a:lnTo>
                        <a:pt x="27" y="89"/>
                      </a:lnTo>
                      <a:lnTo>
                        <a:pt x="20" y="84"/>
                      </a:lnTo>
                      <a:lnTo>
                        <a:pt x="12" y="79"/>
                      </a:lnTo>
                      <a:lnTo>
                        <a:pt x="8" y="73"/>
                      </a:lnTo>
                      <a:lnTo>
                        <a:pt x="3" y="68"/>
                      </a:lnTo>
                      <a:lnTo>
                        <a:pt x="0" y="62"/>
                      </a:lnTo>
                      <a:lnTo>
                        <a:pt x="0" y="56"/>
                      </a:lnTo>
                      <a:lnTo>
                        <a:pt x="0" y="56"/>
                      </a:lnTo>
                      <a:lnTo>
                        <a:pt x="0" y="50"/>
                      </a:lnTo>
                      <a:lnTo>
                        <a:pt x="3" y="46"/>
                      </a:lnTo>
                      <a:lnTo>
                        <a:pt x="8" y="39"/>
                      </a:lnTo>
                      <a:lnTo>
                        <a:pt x="12" y="35"/>
                      </a:lnTo>
                      <a:lnTo>
                        <a:pt x="20" y="30"/>
                      </a:lnTo>
                      <a:lnTo>
                        <a:pt x="27" y="25"/>
                      </a:lnTo>
                      <a:lnTo>
                        <a:pt x="37" y="20"/>
                      </a:lnTo>
                      <a:lnTo>
                        <a:pt x="46" y="16"/>
                      </a:lnTo>
                      <a:lnTo>
                        <a:pt x="70" y="9"/>
                      </a:lnTo>
                      <a:lnTo>
                        <a:pt x="98" y="4"/>
                      </a:lnTo>
                      <a:lnTo>
                        <a:pt x="128" y="1"/>
                      </a:lnTo>
                      <a:lnTo>
                        <a:pt x="161" y="0"/>
                      </a:lnTo>
                      <a:lnTo>
                        <a:pt x="161" y="0"/>
                      </a:lnTo>
                      <a:lnTo>
                        <a:pt x="193" y="1"/>
                      </a:lnTo>
                      <a:lnTo>
                        <a:pt x="223" y="4"/>
                      </a:lnTo>
                      <a:lnTo>
                        <a:pt x="251" y="9"/>
                      </a:lnTo>
                      <a:lnTo>
                        <a:pt x="275" y="16"/>
                      </a:lnTo>
                      <a:lnTo>
                        <a:pt x="284" y="20"/>
                      </a:lnTo>
                      <a:lnTo>
                        <a:pt x="294" y="25"/>
                      </a:lnTo>
                      <a:lnTo>
                        <a:pt x="303" y="30"/>
                      </a:lnTo>
                      <a:lnTo>
                        <a:pt x="309" y="35"/>
                      </a:lnTo>
                      <a:lnTo>
                        <a:pt x="315" y="39"/>
                      </a:lnTo>
                      <a:lnTo>
                        <a:pt x="318" y="46"/>
                      </a:lnTo>
                      <a:lnTo>
                        <a:pt x="321" y="50"/>
                      </a:lnTo>
                      <a:lnTo>
                        <a:pt x="322" y="56"/>
                      </a:lnTo>
                      <a:close/>
                    </a:path>
                  </a:pathLst>
                </a:custGeom>
                <a:solidFill>
                  <a:srgbClr val="FCD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632"/>
                <p:cNvSpPr>
                  <a:spLocks/>
                </p:cNvSpPr>
                <p:nvPr/>
              </p:nvSpPr>
              <p:spPr bwMode="auto">
                <a:xfrm>
                  <a:off x="6080125" y="2726215"/>
                  <a:ext cx="251013" cy="86770"/>
                </a:xfrm>
                <a:custGeom>
                  <a:avLst/>
                  <a:gdLst>
                    <a:gd name="T0" fmla="*/ 322 w 322"/>
                    <a:gd name="T1" fmla="*/ 56 h 113"/>
                    <a:gd name="T2" fmla="*/ 322 w 322"/>
                    <a:gd name="T3" fmla="*/ 56 h 113"/>
                    <a:gd name="T4" fmla="*/ 321 w 322"/>
                    <a:gd name="T5" fmla="*/ 62 h 113"/>
                    <a:gd name="T6" fmla="*/ 318 w 322"/>
                    <a:gd name="T7" fmla="*/ 68 h 113"/>
                    <a:gd name="T8" fmla="*/ 315 w 322"/>
                    <a:gd name="T9" fmla="*/ 73 h 113"/>
                    <a:gd name="T10" fmla="*/ 309 w 322"/>
                    <a:gd name="T11" fmla="*/ 79 h 113"/>
                    <a:gd name="T12" fmla="*/ 303 w 322"/>
                    <a:gd name="T13" fmla="*/ 84 h 113"/>
                    <a:gd name="T14" fmla="*/ 294 w 322"/>
                    <a:gd name="T15" fmla="*/ 89 h 113"/>
                    <a:gd name="T16" fmla="*/ 284 w 322"/>
                    <a:gd name="T17" fmla="*/ 93 h 113"/>
                    <a:gd name="T18" fmla="*/ 275 w 322"/>
                    <a:gd name="T19" fmla="*/ 98 h 113"/>
                    <a:gd name="T20" fmla="*/ 251 w 322"/>
                    <a:gd name="T21" fmla="*/ 104 h 113"/>
                    <a:gd name="T22" fmla="*/ 223 w 322"/>
                    <a:gd name="T23" fmla="*/ 110 h 113"/>
                    <a:gd name="T24" fmla="*/ 193 w 322"/>
                    <a:gd name="T25" fmla="*/ 112 h 113"/>
                    <a:gd name="T26" fmla="*/ 161 w 322"/>
                    <a:gd name="T27" fmla="*/ 113 h 113"/>
                    <a:gd name="T28" fmla="*/ 161 w 322"/>
                    <a:gd name="T29" fmla="*/ 113 h 113"/>
                    <a:gd name="T30" fmla="*/ 128 w 322"/>
                    <a:gd name="T31" fmla="*/ 112 h 113"/>
                    <a:gd name="T32" fmla="*/ 98 w 322"/>
                    <a:gd name="T33" fmla="*/ 110 h 113"/>
                    <a:gd name="T34" fmla="*/ 70 w 322"/>
                    <a:gd name="T35" fmla="*/ 104 h 113"/>
                    <a:gd name="T36" fmla="*/ 46 w 322"/>
                    <a:gd name="T37" fmla="*/ 98 h 113"/>
                    <a:gd name="T38" fmla="*/ 37 w 322"/>
                    <a:gd name="T39" fmla="*/ 93 h 113"/>
                    <a:gd name="T40" fmla="*/ 27 w 322"/>
                    <a:gd name="T41" fmla="*/ 89 h 113"/>
                    <a:gd name="T42" fmla="*/ 20 w 322"/>
                    <a:gd name="T43" fmla="*/ 84 h 113"/>
                    <a:gd name="T44" fmla="*/ 12 w 322"/>
                    <a:gd name="T45" fmla="*/ 79 h 113"/>
                    <a:gd name="T46" fmla="*/ 8 w 322"/>
                    <a:gd name="T47" fmla="*/ 73 h 113"/>
                    <a:gd name="T48" fmla="*/ 3 w 322"/>
                    <a:gd name="T49" fmla="*/ 68 h 113"/>
                    <a:gd name="T50" fmla="*/ 0 w 322"/>
                    <a:gd name="T51" fmla="*/ 62 h 113"/>
                    <a:gd name="T52" fmla="*/ 0 w 322"/>
                    <a:gd name="T53" fmla="*/ 56 h 113"/>
                    <a:gd name="T54" fmla="*/ 0 w 322"/>
                    <a:gd name="T55" fmla="*/ 56 h 113"/>
                    <a:gd name="T56" fmla="*/ 0 w 322"/>
                    <a:gd name="T57" fmla="*/ 50 h 113"/>
                    <a:gd name="T58" fmla="*/ 3 w 322"/>
                    <a:gd name="T59" fmla="*/ 46 h 113"/>
                    <a:gd name="T60" fmla="*/ 8 w 322"/>
                    <a:gd name="T61" fmla="*/ 39 h 113"/>
                    <a:gd name="T62" fmla="*/ 12 w 322"/>
                    <a:gd name="T63" fmla="*/ 35 h 113"/>
                    <a:gd name="T64" fmla="*/ 20 w 322"/>
                    <a:gd name="T65" fmla="*/ 30 h 113"/>
                    <a:gd name="T66" fmla="*/ 27 w 322"/>
                    <a:gd name="T67" fmla="*/ 25 h 113"/>
                    <a:gd name="T68" fmla="*/ 37 w 322"/>
                    <a:gd name="T69" fmla="*/ 20 h 113"/>
                    <a:gd name="T70" fmla="*/ 46 w 322"/>
                    <a:gd name="T71" fmla="*/ 16 h 113"/>
                    <a:gd name="T72" fmla="*/ 70 w 322"/>
                    <a:gd name="T73" fmla="*/ 9 h 113"/>
                    <a:gd name="T74" fmla="*/ 98 w 322"/>
                    <a:gd name="T75" fmla="*/ 4 h 113"/>
                    <a:gd name="T76" fmla="*/ 128 w 322"/>
                    <a:gd name="T77" fmla="*/ 1 h 113"/>
                    <a:gd name="T78" fmla="*/ 161 w 322"/>
                    <a:gd name="T79" fmla="*/ 0 h 113"/>
                    <a:gd name="T80" fmla="*/ 161 w 322"/>
                    <a:gd name="T81" fmla="*/ 0 h 113"/>
                    <a:gd name="T82" fmla="*/ 193 w 322"/>
                    <a:gd name="T83" fmla="*/ 1 h 113"/>
                    <a:gd name="T84" fmla="*/ 223 w 322"/>
                    <a:gd name="T85" fmla="*/ 4 h 113"/>
                    <a:gd name="T86" fmla="*/ 251 w 322"/>
                    <a:gd name="T87" fmla="*/ 9 h 113"/>
                    <a:gd name="T88" fmla="*/ 275 w 322"/>
                    <a:gd name="T89" fmla="*/ 16 h 113"/>
                    <a:gd name="T90" fmla="*/ 284 w 322"/>
                    <a:gd name="T91" fmla="*/ 20 h 113"/>
                    <a:gd name="T92" fmla="*/ 294 w 322"/>
                    <a:gd name="T93" fmla="*/ 25 h 113"/>
                    <a:gd name="T94" fmla="*/ 303 w 322"/>
                    <a:gd name="T95" fmla="*/ 30 h 113"/>
                    <a:gd name="T96" fmla="*/ 309 w 322"/>
                    <a:gd name="T97" fmla="*/ 35 h 113"/>
                    <a:gd name="T98" fmla="*/ 315 w 322"/>
                    <a:gd name="T99" fmla="*/ 39 h 113"/>
                    <a:gd name="T100" fmla="*/ 318 w 322"/>
                    <a:gd name="T101" fmla="*/ 46 h 113"/>
                    <a:gd name="T102" fmla="*/ 321 w 322"/>
                    <a:gd name="T103" fmla="*/ 50 h 113"/>
                    <a:gd name="T104" fmla="*/ 322 w 322"/>
                    <a:gd name="T105" fmla="*/ 5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113">
                      <a:moveTo>
                        <a:pt x="322" y="56"/>
                      </a:moveTo>
                      <a:lnTo>
                        <a:pt x="322" y="56"/>
                      </a:lnTo>
                      <a:lnTo>
                        <a:pt x="321" y="62"/>
                      </a:lnTo>
                      <a:lnTo>
                        <a:pt x="318" y="68"/>
                      </a:lnTo>
                      <a:lnTo>
                        <a:pt x="315" y="73"/>
                      </a:lnTo>
                      <a:lnTo>
                        <a:pt x="309" y="79"/>
                      </a:lnTo>
                      <a:lnTo>
                        <a:pt x="303" y="84"/>
                      </a:lnTo>
                      <a:lnTo>
                        <a:pt x="294" y="89"/>
                      </a:lnTo>
                      <a:lnTo>
                        <a:pt x="284" y="93"/>
                      </a:lnTo>
                      <a:lnTo>
                        <a:pt x="275" y="98"/>
                      </a:lnTo>
                      <a:lnTo>
                        <a:pt x="251" y="104"/>
                      </a:lnTo>
                      <a:lnTo>
                        <a:pt x="223" y="110"/>
                      </a:lnTo>
                      <a:lnTo>
                        <a:pt x="193" y="112"/>
                      </a:lnTo>
                      <a:lnTo>
                        <a:pt x="161" y="113"/>
                      </a:lnTo>
                      <a:lnTo>
                        <a:pt x="161" y="113"/>
                      </a:lnTo>
                      <a:lnTo>
                        <a:pt x="128" y="112"/>
                      </a:lnTo>
                      <a:lnTo>
                        <a:pt x="98" y="110"/>
                      </a:lnTo>
                      <a:lnTo>
                        <a:pt x="70" y="104"/>
                      </a:lnTo>
                      <a:lnTo>
                        <a:pt x="46" y="98"/>
                      </a:lnTo>
                      <a:lnTo>
                        <a:pt x="37" y="93"/>
                      </a:lnTo>
                      <a:lnTo>
                        <a:pt x="27" y="89"/>
                      </a:lnTo>
                      <a:lnTo>
                        <a:pt x="20" y="84"/>
                      </a:lnTo>
                      <a:lnTo>
                        <a:pt x="12" y="79"/>
                      </a:lnTo>
                      <a:lnTo>
                        <a:pt x="8" y="73"/>
                      </a:lnTo>
                      <a:lnTo>
                        <a:pt x="3" y="68"/>
                      </a:lnTo>
                      <a:lnTo>
                        <a:pt x="0" y="62"/>
                      </a:lnTo>
                      <a:lnTo>
                        <a:pt x="0" y="56"/>
                      </a:lnTo>
                      <a:lnTo>
                        <a:pt x="0" y="56"/>
                      </a:lnTo>
                      <a:lnTo>
                        <a:pt x="0" y="50"/>
                      </a:lnTo>
                      <a:lnTo>
                        <a:pt x="3" y="46"/>
                      </a:lnTo>
                      <a:lnTo>
                        <a:pt x="8" y="39"/>
                      </a:lnTo>
                      <a:lnTo>
                        <a:pt x="12" y="35"/>
                      </a:lnTo>
                      <a:lnTo>
                        <a:pt x="20" y="30"/>
                      </a:lnTo>
                      <a:lnTo>
                        <a:pt x="27" y="25"/>
                      </a:lnTo>
                      <a:lnTo>
                        <a:pt x="37" y="20"/>
                      </a:lnTo>
                      <a:lnTo>
                        <a:pt x="46" y="16"/>
                      </a:lnTo>
                      <a:lnTo>
                        <a:pt x="70" y="9"/>
                      </a:lnTo>
                      <a:lnTo>
                        <a:pt x="98" y="4"/>
                      </a:lnTo>
                      <a:lnTo>
                        <a:pt x="128" y="1"/>
                      </a:lnTo>
                      <a:lnTo>
                        <a:pt x="161" y="0"/>
                      </a:lnTo>
                      <a:lnTo>
                        <a:pt x="161" y="0"/>
                      </a:lnTo>
                      <a:lnTo>
                        <a:pt x="193" y="1"/>
                      </a:lnTo>
                      <a:lnTo>
                        <a:pt x="223" y="4"/>
                      </a:lnTo>
                      <a:lnTo>
                        <a:pt x="251" y="9"/>
                      </a:lnTo>
                      <a:lnTo>
                        <a:pt x="275" y="16"/>
                      </a:lnTo>
                      <a:lnTo>
                        <a:pt x="284" y="20"/>
                      </a:lnTo>
                      <a:lnTo>
                        <a:pt x="294" y="25"/>
                      </a:lnTo>
                      <a:lnTo>
                        <a:pt x="303" y="30"/>
                      </a:lnTo>
                      <a:lnTo>
                        <a:pt x="309" y="35"/>
                      </a:lnTo>
                      <a:lnTo>
                        <a:pt x="315" y="39"/>
                      </a:lnTo>
                      <a:lnTo>
                        <a:pt x="318" y="46"/>
                      </a:lnTo>
                      <a:lnTo>
                        <a:pt x="321" y="50"/>
                      </a:lnTo>
                      <a:lnTo>
                        <a:pt x="322"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634"/>
                <p:cNvSpPr>
                  <a:spLocks/>
                </p:cNvSpPr>
                <p:nvPr/>
              </p:nvSpPr>
              <p:spPr bwMode="auto">
                <a:xfrm>
                  <a:off x="6164594" y="2733926"/>
                  <a:ext cx="105363" cy="49583"/>
                </a:xfrm>
                <a:custGeom>
                  <a:avLst/>
                  <a:gdLst>
                    <a:gd name="T0" fmla="*/ 95 w 138"/>
                    <a:gd name="T1" fmla="*/ 22 h 64"/>
                    <a:gd name="T2" fmla="*/ 100 w 138"/>
                    <a:gd name="T3" fmla="*/ 21 h 64"/>
                    <a:gd name="T4" fmla="*/ 107 w 138"/>
                    <a:gd name="T5" fmla="*/ 16 h 64"/>
                    <a:gd name="T6" fmla="*/ 105 w 138"/>
                    <a:gd name="T7" fmla="*/ 14 h 64"/>
                    <a:gd name="T8" fmla="*/ 100 w 138"/>
                    <a:gd name="T9" fmla="*/ 12 h 64"/>
                    <a:gd name="T10" fmla="*/ 94 w 138"/>
                    <a:gd name="T11" fmla="*/ 15 h 64"/>
                    <a:gd name="T12" fmla="*/ 89 w 138"/>
                    <a:gd name="T13" fmla="*/ 17 h 64"/>
                    <a:gd name="T14" fmla="*/ 88 w 138"/>
                    <a:gd name="T15" fmla="*/ 20 h 64"/>
                    <a:gd name="T16" fmla="*/ 94 w 138"/>
                    <a:gd name="T17" fmla="*/ 29 h 64"/>
                    <a:gd name="T18" fmla="*/ 98 w 138"/>
                    <a:gd name="T19" fmla="*/ 37 h 64"/>
                    <a:gd name="T20" fmla="*/ 99 w 138"/>
                    <a:gd name="T21" fmla="*/ 40 h 64"/>
                    <a:gd name="T22" fmla="*/ 97 w 138"/>
                    <a:gd name="T23" fmla="*/ 47 h 64"/>
                    <a:gd name="T24" fmla="*/ 92 w 138"/>
                    <a:gd name="T25" fmla="*/ 52 h 64"/>
                    <a:gd name="T26" fmla="*/ 84 w 138"/>
                    <a:gd name="T27" fmla="*/ 57 h 64"/>
                    <a:gd name="T28" fmla="*/ 70 w 138"/>
                    <a:gd name="T29" fmla="*/ 62 h 64"/>
                    <a:gd name="T30" fmla="*/ 54 w 138"/>
                    <a:gd name="T31" fmla="*/ 64 h 64"/>
                    <a:gd name="T32" fmla="*/ 46 w 138"/>
                    <a:gd name="T33" fmla="*/ 64 h 64"/>
                    <a:gd name="T34" fmla="*/ 30 w 138"/>
                    <a:gd name="T35" fmla="*/ 61 h 64"/>
                    <a:gd name="T36" fmla="*/ 12 w 138"/>
                    <a:gd name="T37" fmla="*/ 64 h 64"/>
                    <a:gd name="T38" fmla="*/ 11 w 138"/>
                    <a:gd name="T39" fmla="*/ 52 h 64"/>
                    <a:gd name="T40" fmla="*/ 7 w 138"/>
                    <a:gd name="T41" fmla="*/ 49 h 64"/>
                    <a:gd name="T42" fmla="*/ 2 w 138"/>
                    <a:gd name="T43" fmla="*/ 43 h 64"/>
                    <a:gd name="T44" fmla="*/ 2 w 138"/>
                    <a:gd name="T45" fmla="*/ 39 h 64"/>
                    <a:gd name="T46" fmla="*/ 7 w 138"/>
                    <a:gd name="T47" fmla="*/ 32 h 64"/>
                    <a:gd name="T48" fmla="*/ 20 w 138"/>
                    <a:gd name="T49" fmla="*/ 25 h 64"/>
                    <a:gd name="T50" fmla="*/ 51 w 138"/>
                    <a:gd name="T51" fmla="*/ 34 h 64"/>
                    <a:gd name="T52" fmla="*/ 45 w 138"/>
                    <a:gd name="T53" fmla="*/ 37 h 64"/>
                    <a:gd name="T54" fmla="*/ 31 w 138"/>
                    <a:gd name="T55" fmla="*/ 44 h 64"/>
                    <a:gd name="T56" fmla="*/ 32 w 138"/>
                    <a:gd name="T57" fmla="*/ 47 h 64"/>
                    <a:gd name="T58" fmla="*/ 35 w 138"/>
                    <a:gd name="T59" fmla="*/ 47 h 64"/>
                    <a:gd name="T60" fmla="*/ 38 w 138"/>
                    <a:gd name="T61" fmla="*/ 47 h 64"/>
                    <a:gd name="T62" fmla="*/ 45 w 138"/>
                    <a:gd name="T63" fmla="*/ 46 h 64"/>
                    <a:gd name="T64" fmla="*/ 57 w 138"/>
                    <a:gd name="T65" fmla="*/ 39 h 64"/>
                    <a:gd name="T66" fmla="*/ 58 w 138"/>
                    <a:gd name="T67" fmla="*/ 38 h 64"/>
                    <a:gd name="T68" fmla="*/ 57 w 138"/>
                    <a:gd name="T69" fmla="*/ 32 h 64"/>
                    <a:gd name="T70" fmla="*/ 52 w 138"/>
                    <a:gd name="T71" fmla="*/ 20 h 64"/>
                    <a:gd name="T72" fmla="*/ 52 w 138"/>
                    <a:gd name="T73" fmla="*/ 16 h 64"/>
                    <a:gd name="T74" fmla="*/ 54 w 138"/>
                    <a:gd name="T75" fmla="*/ 12 h 64"/>
                    <a:gd name="T76" fmla="*/ 65 w 138"/>
                    <a:gd name="T77" fmla="*/ 5 h 64"/>
                    <a:gd name="T78" fmla="*/ 76 w 138"/>
                    <a:gd name="T79" fmla="*/ 2 h 64"/>
                    <a:gd name="T80" fmla="*/ 88 w 138"/>
                    <a:gd name="T81" fmla="*/ 0 h 64"/>
                    <a:gd name="T82" fmla="*/ 115 w 138"/>
                    <a:gd name="T83" fmla="*/ 5 h 64"/>
                    <a:gd name="T84" fmla="*/ 134 w 138"/>
                    <a:gd name="T85" fmla="*/ 6 h 64"/>
                    <a:gd name="T86" fmla="*/ 127 w 138"/>
                    <a:gd name="T87" fmla="*/ 10 h 64"/>
                    <a:gd name="T88" fmla="*/ 136 w 138"/>
                    <a:gd name="T89" fmla="*/ 18 h 64"/>
                    <a:gd name="T90" fmla="*/ 138 w 138"/>
                    <a:gd name="T91" fmla="*/ 21 h 64"/>
                    <a:gd name="T92" fmla="*/ 135 w 138"/>
                    <a:gd name="T93" fmla="*/ 27 h 64"/>
                    <a:gd name="T94" fmla="*/ 128 w 138"/>
                    <a:gd name="T95" fmla="*/ 32 h 64"/>
                    <a:gd name="T96" fmla="*/ 123 w 138"/>
                    <a:gd name="T97" fmla="*/ 3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64">
                      <a:moveTo>
                        <a:pt x="123" y="34"/>
                      </a:moveTo>
                      <a:lnTo>
                        <a:pt x="95" y="22"/>
                      </a:lnTo>
                      <a:lnTo>
                        <a:pt x="100" y="21"/>
                      </a:lnTo>
                      <a:lnTo>
                        <a:pt x="100" y="21"/>
                      </a:lnTo>
                      <a:lnTo>
                        <a:pt x="107" y="16"/>
                      </a:lnTo>
                      <a:lnTo>
                        <a:pt x="107" y="16"/>
                      </a:lnTo>
                      <a:lnTo>
                        <a:pt x="107" y="15"/>
                      </a:lnTo>
                      <a:lnTo>
                        <a:pt x="105" y="14"/>
                      </a:lnTo>
                      <a:lnTo>
                        <a:pt x="105" y="14"/>
                      </a:lnTo>
                      <a:lnTo>
                        <a:pt x="100" y="12"/>
                      </a:lnTo>
                      <a:lnTo>
                        <a:pt x="100" y="12"/>
                      </a:lnTo>
                      <a:lnTo>
                        <a:pt x="94" y="15"/>
                      </a:lnTo>
                      <a:lnTo>
                        <a:pt x="94" y="15"/>
                      </a:lnTo>
                      <a:lnTo>
                        <a:pt x="89" y="17"/>
                      </a:lnTo>
                      <a:lnTo>
                        <a:pt x="88" y="20"/>
                      </a:lnTo>
                      <a:lnTo>
                        <a:pt x="88" y="20"/>
                      </a:lnTo>
                      <a:lnTo>
                        <a:pt x="89" y="23"/>
                      </a:lnTo>
                      <a:lnTo>
                        <a:pt x="94" y="29"/>
                      </a:lnTo>
                      <a:lnTo>
                        <a:pt x="94" y="29"/>
                      </a:lnTo>
                      <a:lnTo>
                        <a:pt x="98" y="37"/>
                      </a:lnTo>
                      <a:lnTo>
                        <a:pt x="99" y="40"/>
                      </a:lnTo>
                      <a:lnTo>
                        <a:pt x="99" y="40"/>
                      </a:lnTo>
                      <a:lnTo>
                        <a:pt x="99" y="44"/>
                      </a:lnTo>
                      <a:lnTo>
                        <a:pt x="97" y="47"/>
                      </a:lnTo>
                      <a:lnTo>
                        <a:pt x="97" y="47"/>
                      </a:lnTo>
                      <a:lnTo>
                        <a:pt x="92" y="52"/>
                      </a:lnTo>
                      <a:lnTo>
                        <a:pt x="84" y="57"/>
                      </a:lnTo>
                      <a:lnTo>
                        <a:pt x="84" y="57"/>
                      </a:lnTo>
                      <a:lnTo>
                        <a:pt x="77" y="60"/>
                      </a:lnTo>
                      <a:lnTo>
                        <a:pt x="70" y="62"/>
                      </a:lnTo>
                      <a:lnTo>
                        <a:pt x="61" y="63"/>
                      </a:lnTo>
                      <a:lnTo>
                        <a:pt x="54" y="64"/>
                      </a:lnTo>
                      <a:lnTo>
                        <a:pt x="54" y="64"/>
                      </a:lnTo>
                      <a:lnTo>
                        <a:pt x="46" y="64"/>
                      </a:lnTo>
                      <a:lnTo>
                        <a:pt x="38" y="63"/>
                      </a:lnTo>
                      <a:lnTo>
                        <a:pt x="30" y="61"/>
                      </a:lnTo>
                      <a:lnTo>
                        <a:pt x="23" y="58"/>
                      </a:lnTo>
                      <a:lnTo>
                        <a:pt x="12" y="64"/>
                      </a:lnTo>
                      <a:lnTo>
                        <a:pt x="0" y="57"/>
                      </a:lnTo>
                      <a:lnTo>
                        <a:pt x="11" y="52"/>
                      </a:lnTo>
                      <a:lnTo>
                        <a:pt x="11" y="52"/>
                      </a:lnTo>
                      <a:lnTo>
                        <a:pt x="7" y="49"/>
                      </a:lnTo>
                      <a:lnTo>
                        <a:pt x="3" y="46"/>
                      </a:lnTo>
                      <a:lnTo>
                        <a:pt x="2" y="43"/>
                      </a:lnTo>
                      <a:lnTo>
                        <a:pt x="2" y="39"/>
                      </a:lnTo>
                      <a:lnTo>
                        <a:pt x="2" y="39"/>
                      </a:lnTo>
                      <a:lnTo>
                        <a:pt x="3" y="35"/>
                      </a:lnTo>
                      <a:lnTo>
                        <a:pt x="7" y="32"/>
                      </a:lnTo>
                      <a:lnTo>
                        <a:pt x="12" y="28"/>
                      </a:lnTo>
                      <a:lnTo>
                        <a:pt x="20" y="25"/>
                      </a:lnTo>
                      <a:lnTo>
                        <a:pt x="25" y="22"/>
                      </a:lnTo>
                      <a:lnTo>
                        <a:pt x="51" y="34"/>
                      </a:lnTo>
                      <a:lnTo>
                        <a:pt x="45" y="37"/>
                      </a:lnTo>
                      <a:lnTo>
                        <a:pt x="45" y="37"/>
                      </a:lnTo>
                      <a:lnTo>
                        <a:pt x="31" y="44"/>
                      </a:lnTo>
                      <a:lnTo>
                        <a:pt x="31" y="44"/>
                      </a:lnTo>
                      <a:lnTo>
                        <a:pt x="30" y="45"/>
                      </a:lnTo>
                      <a:lnTo>
                        <a:pt x="32" y="47"/>
                      </a:lnTo>
                      <a:lnTo>
                        <a:pt x="32" y="47"/>
                      </a:lnTo>
                      <a:lnTo>
                        <a:pt x="35" y="47"/>
                      </a:lnTo>
                      <a:lnTo>
                        <a:pt x="38" y="47"/>
                      </a:lnTo>
                      <a:lnTo>
                        <a:pt x="38" y="47"/>
                      </a:lnTo>
                      <a:lnTo>
                        <a:pt x="45" y="46"/>
                      </a:lnTo>
                      <a:lnTo>
                        <a:pt x="45" y="46"/>
                      </a:lnTo>
                      <a:lnTo>
                        <a:pt x="53" y="43"/>
                      </a:lnTo>
                      <a:lnTo>
                        <a:pt x="57" y="39"/>
                      </a:lnTo>
                      <a:lnTo>
                        <a:pt x="57" y="39"/>
                      </a:lnTo>
                      <a:lnTo>
                        <a:pt x="58" y="38"/>
                      </a:lnTo>
                      <a:lnTo>
                        <a:pt x="58" y="37"/>
                      </a:lnTo>
                      <a:lnTo>
                        <a:pt x="57" y="32"/>
                      </a:lnTo>
                      <a:lnTo>
                        <a:pt x="57" y="32"/>
                      </a:lnTo>
                      <a:lnTo>
                        <a:pt x="52" y="20"/>
                      </a:lnTo>
                      <a:lnTo>
                        <a:pt x="52" y="20"/>
                      </a:lnTo>
                      <a:lnTo>
                        <a:pt x="52" y="16"/>
                      </a:lnTo>
                      <a:lnTo>
                        <a:pt x="54" y="12"/>
                      </a:lnTo>
                      <a:lnTo>
                        <a:pt x="54" y="12"/>
                      </a:lnTo>
                      <a:lnTo>
                        <a:pt x="58" y="9"/>
                      </a:lnTo>
                      <a:lnTo>
                        <a:pt x="65" y="5"/>
                      </a:lnTo>
                      <a:lnTo>
                        <a:pt x="65" y="5"/>
                      </a:lnTo>
                      <a:lnTo>
                        <a:pt x="76" y="2"/>
                      </a:lnTo>
                      <a:lnTo>
                        <a:pt x="88" y="0"/>
                      </a:lnTo>
                      <a:lnTo>
                        <a:pt x="88" y="0"/>
                      </a:lnTo>
                      <a:lnTo>
                        <a:pt x="100" y="2"/>
                      </a:lnTo>
                      <a:lnTo>
                        <a:pt x="115" y="5"/>
                      </a:lnTo>
                      <a:lnTo>
                        <a:pt x="122" y="2"/>
                      </a:lnTo>
                      <a:lnTo>
                        <a:pt x="134" y="6"/>
                      </a:lnTo>
                      <a:lnTo>
                        <a:pt x="127" y="10"/>
                      </a:lnTo>
                      <a:lnTo>
                        <a:pt x="127" y="10"/>
                      </a:lnTo>
                      <a:lnTo>
                        <a:pt x="135" y="16"/>
                      </a:lnTo>
                      <a:lnTo>
                        <a:pt x="136" y="18"/>
                      </a:lnTo>
                      <a:lnTo>
                        <a:pt x="138" y="21"/>
                      </a:lnTo>
                      <a:lnTo>
                        <a:pt x="138" y="21"/>
                      </a:lnTo>
                      <a:lnTo>
                        <a:pt x="138" y="25"/>
                      </a:lnTo>
                      <a:lnTo>
                        <a:pt x="135" y="27"/>
                      </a:lnTo>
                      <a:lnTo>
                        <a:pt x="133" y="29"/>
                      </a:lnTo>
                      <a:lnTo>
                        <a:pt x="128" y="32"/>
                      </a:lnTo>
                      <a:lnTo>
                        <a:pt x="128" y="32"/>
                      </a:lnTo>
                      <a:lnTo>
                        <a:pt x="123" y="34"/>
                      </a:lnTo>
                      <a:close/>
                    </a:path>
                  </a:pathLst>
                </a:custGeom>
                <a:solidFill>
                  <a:srgbClr val="E49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635"/>
                <p:cNvSpPr>
                  <a:spLocks/>
                </p:cNvSpPr>
                <p:nvPr/>
              </p:nvSpPr>
              <p:spPr bwMode="auto">
                <a:xfrm>
                  <a:off x="6151401" y="2741708"/>
                  <a:ext cx="105363" cy="49583"/>
                </a:xfrm>
                <a:custGeom>
                  <a:avLst/>
                  <a:gdLst>
                    <a:gd name="T0" fmla="*/ 95 w 138"/>
                    <a:gd name="T1" fmla="*/ 22 h 64"/>
                    <a:gd name="T2" fmla="*/ 100 w 138"/>
                    <a:gd name="T3" fmla="*/ 21 h 64"/>
                    <a:gd name="T4" fmla="*/ 107 w 138"/>
                    <a:gd name="T5" fmla="*/ 16 h 64"/>
                    <a:gd name="T6" fmla="*/ 105 w 138"/>
                    <a:gd name="T7" fmla="*/ 14 h 64"/>
                    <a:gd name="T8" fmla="*/ 100 w 138"/>
                    <a:gd name="T9" fmla="*/ 12 h 64"/>
                    <a:gd name="T10" fmla="*/ 94 w 138"/>
                    <a:gd name="T11" fmla="*/ 15 h 64"/>
                    <a:gd name="T12" fmla="*/ 89 w 138"/>
                    <a:gd name="T13" fmla="*/ 17 h 64"/>
                    <a:gd name="T14" fmla="*/ 88 w 138"/>
                    <a:gd name="T15" fmla="*/ 20 h 64"/>
                    <a:gd name="T16" fmla="*/ 94 w 138"/>
                    <a:gd name="T17" fmla="*/ 29 h 64"/>
                    <a:gd name="T18" fmla="*/ 98 w 138"/>
                    <a:gd name="T19" fmla="*/ 37 h 64"/>
                    <a:gd name="T20" fmla="*/ 99 w 138"/>
                    <a:gd name="T21" fmla="*/ 40 h 64"/>
                    <a:gd name="T22" fmla="*/ 97 w 138"/>
                    <a:gd name="T23" fmla="*/ 47 h 64"/>
                    <a:gd name="T24" fmla="*/ 92 w 138"/>
                    <a:gd name="T25" fmla="*/ 52 h 64"/>
                    <a:gd name="T26" fmla="*/ 84 w 138"/>
                    <a:gd name="T27" fmla="*/ 57 h 64"/>
                    <a:gd name="T28" fmla="*/ 70 w 138"/>
                    <a:gd name="T29" fmla="*/ 62 h 64"/>
                    <a:gd name="T30" fmla="*/ 54 w 138"/>
                    <a:gd name="T31" fmla="*/ 64 h 64"/>
                    <a:gd name="T32" fmla="*/ 46 w 138"/>
                    <a:gd name="T33" fmla="*/ 64 h 64"/>
                    <a:gd name="T34" fmla="*/ 30 w 138"/>
                    <a:gd name="T35" fmla="*/ 61 h 64"/>
                    <a:gd name="T36" fmla="*/ 12 w 138"/>
                    <a:gd name="T37" fmla="*/ 64 h 64"/>
                    <a:gd name="T38" fmla="*/ 11 w 138"/>
                    <a:gd name="T39" fmla="*/ 52 h 64"/>
                    <a:gd name="T40" fmla="*/ 7 w 138"/>
                    <a:gd name="T41" fmla="*/ 49 h 64"/>
                    <a:gd name="T42" fmla="*/ 2 w 138"/>
                    <a:gd name="T43" fmla="*/ 43 h 64"/>
                    <a:gd name="T44" fmla="*/ 2 w 138"/>
                    <a:gd name="T45" fmla="*/ 39 h 64"/>
                    <a:gd name="T46" fmla="*/ 7 w 138"/>
                    <a:gd name="T47" fmla="*/ 32 h 64"/>
                    <a:gd name="T48" fmla="*/ 20 w 138"/>
                    <a:gd name="T49" fmla="*/ 25 h 64"/>
                    <a:gd name="T50" fmla="*/ 51 w 138"/>
                    <a:gd name="T51" fmla="*/ 34 h 64"/>
                    <a:gd name="T52" fmla="*/ 45 w 138"/>
                    <a:gd name="T53" fmla="*/ 37 h 64"/>
                    <a:gd name="T54" fmla="*/ 31 w 138"/>
                    <a:gd name="T55" fmla="*/ 44 h 64"/>
                    <a:gd name="T56" fmla="*/ 32 w 138"/>
                    <a:gd name="T57" fmla="*/ 47 h 64"/>
                    <a:gd name="T58" fmla="*/ 35 w 138"/>
                    <a:gd name="T59" fmla="*/ 47 h 64"/>
                    <a:gd name="T60" fmla="*/ 38 w 138"/>
                    <a:gd name="T61" fmla="*/ 47 h 64"/>
                    <a:gd name="T62" fmla="*/ 45 w 138"/>
                    <a:gd name="T63" fmla="*/ 46 h 64"/>
                    <a:gd name="T64" fmla="*/ 57 w 138"/>
                    <a:gd name="T65" fmla="*/ 39 h 64"/>
                    <a:gd name="T66" fmla="*/ 58 w 138"/>
                    <a:gd name="T67" fmla="*/ 38 h 64"/>
                    <a:gd name="T68" fmla="*/ 57 w 138"/>
                    <a:gd name="T69" fmla="*/ 32 h 64"/>
                    <a:gd name="T70" fmla="*/ 52 w 138"/>
                    <a:gd name="T71" fmla="*/ 20 h 64"/>
                    <a:gd name="T72" fmla="*/ 52 w 138"/>
                    <a:gd name="T73" fmla="*/ 16 h 64"/>
                    <a:gd name="T74" fmla="*/ 54 w 138"/>
                    <a:gd name="T75" fmla="*/ 12 h 64"/>
                    <a:gd name="T76" fmla="*/ 65 w 138"/>
                    <a:gd name="T77" fmla="*/ 5 h 64"/>
                    <a:gd name="T78" fmla="*/ 76 w 138"/>
                    <a:gd name="T79" fmla="*/ 2 h 64"/>
                    <a:gd name="T80" fmla="*/ 88 w 138"/>
                    <a:gd name="T81" fmla="*/ 0 h 64"/>
                    <a:gd name="T82" fmla="*/ 115 w 138"/>
                    <a:gd name="T83" fmla="*/ 5 h 64"/>
                    <a:gd name="T84" fmla="*/ 134 w 138"/>
                    <a:gd name="T85" fmla="*/ 6 h 64"/>
                    <a:gd name="T86" fmla="*/ 127 w 138"/>
                    <a:gd name="T87" fmla="*/ 10 h 64"/>
                    <a:gd name="T88" fmla="*/ 136 w 138"/>
                    <a:gd name="T89" fmla="*/ 18 h 64"/>
                    <a:gd name="T90" fmla="*/ 138 w 138"/>
                    <a:gd name="T91" fmla="*/ 21 h 64"/>
                    <a:gd name="T92" fmla="*/ 135 w 138"/>
                    <a:gd name="T93" fmla="*/ 27 h 64"/>
                    <a:gd name="T94" fmla="*/ 128 w 138"/>
                    <a:gd name="T95" fmla="*/ 32 h 64"/>
                    <a:gd name="T96" fmla="*/ 123 w 138"/>
                    <a:gd name="T97" fmla="*/ 3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64">
                      <a:moveTo>
                        <a:pt x="123" y="34"/>
                      </a:moveTo>
                      <a:lnTo>
                        <a:pt x="95" y="22"/>
                      </a:lnTo>
                      <a:lnTo>
                        <a:pt x="100" y="21"/>
                      </a:lnTo>
                      <a:lnTo>
                        <a:pt x="100" y="21"/>
                      </a:lnTo>
                      <a:lnTo>
                        <a:pt x="107" y="16"/>
                      </a:lnTo>
                      <a:lnTo>
                        <a:pt x="107" y="16"/>
                      </a:lnTo>
                      <a:lnTo>
                        <a:pt x="107" y="15"/>
                      </a:lnTo>
                      <a:lnTo>
                        <a:pt x="105" y="14"/>
                      </a:lnTo>
                      <a:lnTo>
                        <a:pt x="105" y="14"/>
                      </a:lnTo>
                      <a:lnTo>
                        <a:pt x="100" y="12"/>
                      </a:lnTo>
                      <a:lnTo>
                        <a:pt x="100" y="12"/>
                      </a:lnTo>
                      <a:lnTo>
                        <a:pt x="94" y="15"/>
                      </a:lnTo>
                      <a:lnTo>
                        <a:pt x="94" y="15"/>
                      </a:lnTo>
                      <a:lnTo>
                        <a:pt x="89" y="17"/>
                      </a:lnTo>
                      <a:lnTo>
                        <a:pt x="88" y="20"/>
                      </a:lnTo>
                      <a:lnTo>
                        <a:pt x="88" y="20"/>
                      </a:lnTo>
                      <a:lnTo>
                        <a:pt x="89" y="23"/>
                      </a:lnTo>
                      <a:lnTo>
                        <a:pt x="94" y="29"/>
                      </a:lnTo>
                      <a:lnTo>
                        <a:pt x="94" y="29"/>
                      </a:lnTo>
                      <a:lnTo>
                        <a:pt x="98" y="37"/>
                      </a:lnTo>
                      <a:lnTo>
                        <a:pt x="99" y="40"/>
                      </a:lnTo>
                      <a:lnTo>
                        <a:pt x="99" y="40"/>
                      </a:lnTo>
                      <a:lnTo>
                        <a:pt x="99" y="44"/>
                      </a:lnTo>
                      <a:lnTo>
                        <a:pt x="97" y="47"/>
                      </a:lnTo>
                      <a:lnTo>
                        <a:pt x="97" y="47"/>
                      </a:lnTo>
                      <a:lnTo>
                        <a:pt x="92" y="52"/>
                      </a:lnTo>
                      <a:lnTo>
                        <a:pt x="84" y="57"/>
                      </a:lnTo>
                      <a:lnTo>
                        <a:pt x="84" y="57"/>
                      </a:lnTo>
                      <a:lnTo>
                        <a:pt x="77" y="60"/>
                      </a:lnTo>
                      <a:lnTo>
                        <a:pt x="70" y="62"/>
                      </a:lnTo>
                      <a:lnTo>
                        <a:pt x="61" y="63"/>
                      </a:lnTo>
                      <a:lnTo>
                        <a:pt x="54" y="64"/>
                      </a:lnTo>
                      <a:lnTo>
                        <a:pt x="54" y="64"/>
                      </a:lnTo>
                      <a:lnTo>
                        <a:pt x="46" y="64"/>
                      </a:lnTo>
                      <a:lnTo>
                        <a:pt x="38" y="63"/>
                      </a:lnTo>
                      <a:lnTo>
                        <a:pt x="30" y="61"/>
                      </a:lnTo>
                      <a:lnTo>
                        <a:pt x="23" y="58"/>
                      </a:lnTo>
                      <a:lnTo>
                        <a:pt x="12" y="64"/>
                      </a:lnTo>
                      <a:lnTo>
                        <a:pt x="0" y="57"/>
                      </a:lnTo>
                      <a:lnTo>
                        <a:pt x="11" y="52"/>
                      </a:lnTo>
                      <a:lnTo>
                        <a:pt x="11" y="52"/>
                      </a:lnTo>
                      <a:lnTo>
                        <a:pt x="7" y="49"/>
                      </a:lnTo>
                      <a:lnTo>
                        <a:pt x="3" y="46"/>
                      </a:lnTo>
                      <a:lnTo>
                        <a:pt x="2" y="43"/>
                      </a:lnTo>
                      <a:lnTo>
                        <a:pt x="2" y="39"/>
                      </a:lnTo>
                      <a:lnTo>
                        <a:pt x="2" y="39"/>
                      </a:lnTo>
                      <a:lnTo>
                        <a:pt x="3" y="35"/>
                      </a:lnTo>
                      <a:lnTo>
                        <a:pt x="7" y="32"/>
                      </a:lnTo>
                      <a:lnTo>
                        <a:pt x="12" y="28"/>
                      </a:lnTo>
                      <a:lnTo>
                        <a:pt x="20" y="25"/>
                      </a:lnTo>
                      <a:lnTo>
                        <a:pt x="25" y="22"/>
                      </a:lnTo>
                      <a:lnTo>
                        <a:pt x="51" y="34"/>
                      </a:lnTo>
                      <a:lnTo>
                        <a:pt x="45" y="37"/>
                      </a:lnTo>
                      <a:lnTo>
                        <a:pt x="45" y="37"/>
                      </a:lnTo>
                      <a:lnTo>
                        <a:pt x="31" y="44"/>
                      </a:lnTo>
                      <a:lnTo>
                        <a:pt x="31" y="44"/>
                      </a:lnTo>
                      <a:lnTo>
                        <a:pt x="30" y="45"/>
                      </a:lnTo>
                      <a:lnTo>
                        <a:pt x="32" y="47"/>
                      </a:lnTo>
                      <a:lnTo>
                        <a:pt x="32" y="47"/>
                      </a:lnTo>
                      <a:lnTo>
                        <a:pt x="35" y="47"/>
                      </a:lnTo>
                      <a:lnTo>
                        <a:pt x="38" y="47"/>
                      </a:lnTo>
                      <a:lnTo>
                        <a:pt x="38" y="47"/>
                      </a:lnTo>
                      <a:lnTo>
                        <a:pt x="45" y="46"/>
                      </a:lnTo>
                      <a:lnTo>
                        <a:pt x="45" y="46"/>
                      </a:lnTo>
                      <a:lnTo>
                        <a:pt x="53" y="43"/>
                      </a:lnTo>
                      <a:lnTo>
                        <a:pt x="57" y="39"/>
                      </a:lnTo>
                      <a:lnTo>
                        <a:pt x="57" y="39"/>
                      </a:lnTo>
                      <a:lnTo>
                        <a:pt x="58" y="38"/>
                      </a:lnTo>
                      <a:lnTo>
                        <a:pt x="58" y="37"/>
                      </a:lnTo>
                      <a:lnTo>
                        <a:pt x="57" y="32"/>
                      </a:lnTo>
                      <a:lnTo>
                        <a:pt x="57" y="32"/>
                      </a:lnTo>
                      <a:lnTo>
                        <a:pt x="52" y="20"/>
                      </a:lnTo>
                      <a:lnTo>
                        <a:pt x="52" y="20"/>
                      </a:lnTo>
                      <a:lnTo>
                        <a:pt x="52" y="16"/>
                      </a:lnTo>
                      <a:lnTo>
                        <a:pt x="54" y="12"/>
                      </a:lnTo>
                      <a:lnTo>
                        <a:pt x="54" y="12"/>
                      </a:lnTo>
                      <a:lnTo>
                        <a:pt x="58" y="9"/>
                      </a:lnTo>
                      <a:lnTo>
                        <a:pt x="65" y="5"/>
                      </a:lnTo>
                      <a:lnTo>
                        <a:pt x="65" y="5"/>
                      </a:lnTo>
                      <a:lnTo>
                        <a:pt x="76" y="2"/>
                      </a:lnTo>
                      <a:lnTo>
                        <a:pt x="88" y="0"/>
                      </a:lnTo>
                      <a:lnTo>
                        <a:pt x="88" y="0"/>
                      </a:lnTo>
                      <a:lnTo>
                        <a:pt x="100" y="2"/>
                      </a:lnTo>
                      <a:lnTo>
                        <a:pt x="115" y="5"/>
                      </a:lnTo>
                      <a:lnTo>
                        <a:pt x="122" y="2"/>
                      </a:lnTo>
                      <a:lnTo>
                        <a:pt x="134" y="6"/>
                      </a:lnTo>
                      <a:lnTo>
                        <a:pt x="127" y="10"/>
                      </a:lnTo>
                      <a:lnTo>
                        <a:pt x="127" y="10"/>
                      </a:lnTo>
                      <a:lnTo>
                        <a:pt x="135" y="16"/>
                      </a:lnTo>
                      <a:lnTo>
                        <a:pt x="136" y="18"/>
                      </a:lnTo>
                      <a:lnTo>
                        <a:pt x="138" y="21"/>
                      </a:lnTo>
                      <a:lnTo>
                        <a:pt x="138" y="21"/>
                      </a:lnTo>
                      <a:lnTo>
                        <a:pt x="138" y="25"/>
                      </a:lnTo>
                      <a:lnTo>
                        <a:pt x="135" y="27"/>
                      </a:lnTo>
                      <a:lnTo>
                        <a:pt x="133" y="29"/>
                      </a:lnTo>
                      <a:lnTo>
                        <a:pt x="128" y="32"/>
                      </a:lnTo>
                      <a:lnTo>
                        <a:pt x="128" y="32"/>
                      </a:lnTo>
                      <a:lnTo>
                        <a:pt x="123"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nvGrpSpPr>
          <p:grpSpPr>
            <a:xfrm>
              <a:off x="7399728" y="3387350"/>
              <a:ext cx="430443" cy="140427"/>
              <a:chOff x="7245318" y="2707621"/>
              <a:chExt cx="436950" cy="142550"/>
            </a:xfrm>
          </p:grpSpPr>
          <p:sp>
            <p:nvSpPr>
              <p:cNvPr id="95" name="Freeform 636"/>
              <p:cNvSpPr>
                <a:spLocks/>
              </p:cNvSpPr>
              <p:nvPr/>
            </p:nvSpPr>
            <p:spPr bwMode="auto">
              <a:xfrm>
                <a:off x="7245318" y="2726214"/>
                <a:ext cx="436949" cy="123957"/>
              </a:xfrm>
              <a:custGeom>
                <a:avLst/>
                <a:gdLst>
                  <a:gd name="T0" fmla="*/ 562 w 562"/>
                  <a:gd name="T1" fmla="*/ 86 h 159"/>
                  <a:gd name="T2" fmla="*/ 561 w 562"/>
                  <a:gd name="T3" fmla="*/ 80 h 159"/>
                  <a:gd name="T4" fmla="*/ 555 w 562"/>
                  <a:gd name="T5" fmla="*/ 69 h 159"/>
                  <a:gd name="T6" fmla="*/ 544 w 562"/>
                  <a:gd name="T7" fmla="*/ 57 h 159"/>
                  <a:gd name="T8" fmla="*/ 519 w 562"/>
                  <a:gd name="T9" fmla="*/ 40 h 159"/>
                  <a:gd name="T10" fmla="*/ 471 w 562"/>
                  <a:gd name="T11" fmla="*/ 20 h 159"/>
                  <a:gd name="T12" fmla="*/ 412 w 562"/>
                  <a:gd name="T13" fmla="*/ 6 h 159"/>
                  <a:gd name="T14" fmla="*/ 383 w 562"/>
                  <a:gd name="T15" fmla="*/ 2 h 159"/>
                  <a:gd name="T16" fmla="*/ 330 w 562"/>
                  <a:gd name="T17" fmla="*/ 0 h 159"/>
                  <a:gd name="T18" fmla="*/ 285 w 562"/>
                  <a:gd name="T19" fmla="*/ 6 h 159"/>
                  <a:gd name="T20" fmla="*/ 262 w 562"/>
                  <a:gd name="T21" fmla="*/ 16 h 159"/>
                  <a:gd name="T22" fmla="*/ 251 w 562"/>
                  <a:gd name="T23" fmla="*/ 23 h 159"/>
                  <a:gd name="T24" fmla="*/ 248 w 562"/>
                  <a:gd name="T25" fmla="*/ 28 h 159"/>
                  <a:gd name="T26" fmla="*/ 207 w 562"/>
                  <a:gd name="T27" fmla="*/ 22 h 159"/>
                  <a:gd name="T28" fmla="*/ 161 w 562"/>
                  <a:gd name="T29" fmla="*/ 19 h 159"/>
                  <a:gd name="T30" fmla="*/ 129 w 562"/>
                  <a:gd name="T31" fmla="*/ 20 h 159"/>
                  <a:gd name="T32" fmla="*/ 72 w 562"/>
                  <a:gd name="T33" fmla="*/ 28 h 159"/>
                  <a:gd name="T34" fmla="*/ 30 w 562"/>
                  <a:gd name="T35" fmla="*/ 43 h 159"/>
                  <a:gd name="T36" fmla="*/ 14 w 562"/>
                  <a:gd name="T37" fmla="*/ 53 h 159"/>
                  <a:gd name="T38" fmla="*/ 5 w 562"/>
                  <a:gd name="T39" fmla="*/ 63 h 159"/>
                  <a:gd name="T40" fmla="*/ 1 w 562"/>
                  <a:gd name="T41" fmla="*/ 74 h 159"/>
                  <a:gd name="T42" fmla="*/ 1 w 562"/>
                  <a:gd name="T43" fmla="*/ 75 h 159"/>
                  <a:gd name="T44" fmla="*/ 0 w 562"/>
                  <a:gd name="T45" fmla="*/ 76 h 159"/>
                  <a:gd name="T46" fmla="*/ 0 w 562"/>
                  <a:gd name="T47" fmla="*/ 77 h 159"/>
                  <a:gd name="T48" fmla="*/ 0 w 562"/>
                  <a:gd name="T49" fmla="*/ 111 h 159"/>
                  <a:gd name="T50" fmla="*/ 3 w 562"/>
                  <a:gd name="T51" fmla="*/ 120 h 159"/>
                  <a:gd name="T52" fmla="*/ 16 w 562"/>
                  <a:gd name="T53" fmla="*/ 130 h 159"/>
                  <a:gd name="T54" fmla="*/ 31 w 562"/>
                  <a:gd name="T55" fmla="*/ 138 h 159"/>
                  <a:gd name="T56" fmla="*/ 54 w 562"/>
                  <a:gd name="T57" fmla="*/ 146 h 159"/>
                  <a:gd name="T58" fmla="*/ 86 w 562"/>
                  <a:gd name="T59" fmla="*/ 152 h 159"/>
                  <a:gd name="T60" fmla="*/ 129 w 562"/>
                  <a:gd name="T61" fmla="*/ 157 h 159"/>
                  <a:gd name="T62" fmla="*/ 167 w 562"/>
                  <a:gd name="T63" fmla="*/ 159 h 159"/>
                  <a:gd name="T64" fmla="*/ 201 w 562"/>
                  <a:gd name="T65" fmla="*/ 158 h 159"/>
                  <a:gd name="T66" fmla="*/ 253 w 562"/>
                  <a:gd name="T67" fmla="*/ 151 h 159"/>
                  <a:gd name="T68" fmla="*/ 288 w 562"/>
                  <a:gd name="T69" fmla="*/ 141 h 159"/>
                  <a:gd name="T70" fmla="*/ 308 w 562"/>
                  <a:gd name="T71" fmla="*/ 130 h 159"/>
                  <a:gd name="T72" fmla="*/ 314 w 562"/>
                  <a:gd name="T73" fmla="*/ 124 h 159"/>
                  <a:gd name="T74" fmla="*/ 383 w 562"/>
                  <a:gd name="T75" fmla="*/ 144 h 159"/>
                  <a:gd name="T76" fmla="*/ 394 w 562"/>
                  <a:gd name="T77" fmla="*/ 146 h 159"/>
                  <a:gd name="T78" fmla="*/ 450 w 562"/>
                  <a:gd name="T79" fmla="*/ 151 h 159"/>
                  <a:gd name="T80" fmla="*/ 491 w 562"/>
                  <a:gd name="T81" fmla="*/ 152 h 159"/>
                  <a:gd name="T82" fmla="*/ 521 w 562"/>
                  <a:gd name="T83" fmla="*/ 147 h 159"/>
                  <a:gd name="T84" fmla="*/ 539 w 562"/>
                  <a:gd name="T85" fmla="*/ 141 h 159"/>
                  <a:gd name="T86" fmla="*/ 550 w 562"/>
                  <a:gd name="T87" fmla="*/ 133 h 159"/>
                  <a:gd name="T88" fmla="*/ 555 w 562"/>
                  <a:gd name="T89" fmla="*/ 126 h 159"/>
                  <a:gd name="T90" fmla="*/ 557 w 562"/>
                  <a:gd name="T91" fmla="*/ 1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159">
                    <a:moveTo>
                      <a:pt x="562" y="86"/>
                    </a:moveTo>
                    <a:lnTo>
                      <a:pt x="562" y="86"/>
                    </a:lnTo>
                    <a:lnTo>
                      <a:pt x="562" y="86"/>
                    </a:lnTo>
                    <a:lnTo>
                      <a:pt x="561" y="80"/>
                    </a:lnTo>
                    <a:lnTo>
                      <a:pt x="559" y="75"/>
                    </a:lnTo>
                    <a:lnTo>
                      <a:pt x="555" y="69"/>
                    </a:lnTo>
                    <a:lnTo>
                      <a:pt x="550" y="63"/>
                    </a:lnTo>
                    <a:lnTo>
                      <a:pt x="544" y="57"/>
                    </a:lnTo>
                    <a:lnTo>
                      <a:pt x="537" y="51"/>
                    </a:lnTo>
                    <a:lnTo>
                      <a:pt x="519" y="40"/>
                    </a:lnTo>
                    <a:lnTo>
                      <a:pt x="497" y="30"/>
                    </a:lnTo>
                    <a:lnTo>
                      <a:pt x="471" y="20"/>
                    </a:lnTo>
                    <a:lnTo>
                      <a:pt x="444" y="12"/>
                    </a:lnTo>
                    <a:lnTo>
                      <a:pt x="412" y="6"/>
                    </a:lnTo>
                    <a:lnTo>
                      <a:pt x="412" y="6"/>
                    </a:lnTo>
                    <a:lnTo>
                      <a:pt x="383" y="2"/>
                    </a:lnTo>
                    <a:lnTo>
                      <a:pt x="355" y="0"/>
                    </a:lnTo>
                    <a:lnTo>
                      <a:pt x="330" y="0"/>
                    </a:lnTo>
                    <a:lnTo>
                      <a:pt x="306" y="2"/>
                    </a:lnTo>
                    <a:lnTo>
                      <a:pt x="285" y="6"/>
                    </a:lnTo>
                    <a:lnTo>
                      <a:pt x="268" y="12"/>
                    </a:lnTo>
                    <a:lnTo>
                      <a:pt x="262" y="16"/>
                    </a:lnTo>
                    <a:lnTo>
                      <a:pt x="256" y="19"/>
                    </a:lnTo>
                    <a:lnTo>
                      <a:pt x="251" y="23"/>
                    </a:lnTo>
                    <a:lnTo>
                      <a:pt x="248" y="28"/>
                    </a:lnTo>
                    <a:lnTo>
                      <a:pt x="248" y="28"/>
                    </a:lnTo>
                    <a:lnTo>
                      <a:pt x="228" y="24"/>
                    </a:lnTo>
                    <a:lnTo>
                      <a:pt x="207" y="22"/>
                    </a:lnTo>
                    <a:lnTo>
                      <a:pt x="185" y="19"/>
                    </a:lnTo>
                    <a:lnTo>
                      <a:pt x="161" y="19"/>
                    </a:lnTo>
                    <a:lnTo>
                      <a:pt x="161" y="19"/>
                    </a:lnTo>
                    <a:lnTo>
                      <a:pt x="129" y="20"/>
                    </a:lnTo>
                    <a:lnTo>
                      <a:pt x="100" y="23"/>
                    </a:lnTo>
                    <a:lnTo>
                      <a:pt x="72" y="28"/>
                    </a:lnTo>
                    <a:lnTo>
                      <a:pt x="49" y="35"/>
                    </a:lnTo>
                    <a:lnTo>
                      <a:pt x="30" y="43"/>
                    </a:lnTo>
                    <a:lnTo>
                      <a:pt x="22" y="48"/>
                    </a:lnTo>
                    <a:lnTo>
                      <a:pt x="14" y="53"/>
                    </a:lnTo>
                    <a:lnTo>
                      <a:pt x="8" y="58"/>
                    </a:lnTo>
                    <a:lnTo>
                      <a:pt x="5" y="63"/>
                    </a:lnTo>
                    <a:lnTo>
                      <a:pt x="2" y="69"/>
                    </a:lnTo>
                    <a:lnTo>
                      <a:pt x="1" y="74"/>
                    </a:lnTo>
                    <a:lnTo>
                      <a:pt x="1" y="74"/>
                    </a:lnTo>
                    <a:lnTo>
                      <a:pt x="1" y="75"/>
                    </a:lnTo>
                    <a:lnTo>
                      <a:pt x="1" y="75"/>
                    </a:lnTo>
                    <a:lnTo>
                      <a:pt x="0" y="76"/>
                    </a:lnTo>
                    <a:lnTo>
                      <a:pt x="0" y="77"/>
                    </a:lnTo>
                    <a:lnTo>
                      <a:pt x="0" y="77"/>
                    </a:lnTo>
                    <a:lnTo>
                      <a:pt x="0" y="111"/>
                    </a:lnTo>
                    <a:lnTo>
                      <a:pt x="0" y="111"/>
                    </a:lnTo>
                    <a:lnTo>
                      <a:pt x="1" y="115"/>
                    </a:lnTo>
                    <a:lnTo>
                      <a:pt x="3" y="120"/>
                    </a:lnTo>
                    <a:lnTo>
                      <a:pt x="11" y="127"/>
                    </a:lnTo>
                    <a:lnTo>
                      <a:pt x="16" y="130"/>
                    </a:lnTo>
                    <a:lnTo>
                      <a:pt x="23" y="134"/>
                    </a:lnTo>
                    <a:lnTo>
                      <a:pt x="31" y="138"/>
                    </a:lnTo>
                    <a:lnTo>
                      <a:pt x="41" y="143"/>
                    </a:lnTo>
                    <a:lnTo>
                      <a:pt x="54" y="146"/>
                    </a:lnTo>
                    <a:lnTo>
                      <a:pt x="69" y="150"/>
                    </a:lnTo>
                    <a:lnTo>
                      <a:pt x="86" y="152"/>
                    </a:lnTo>
                    <a:lnTo>
                      <a:pt x="106" y="156"/>
                    </a:lnTo>
                    <a:lnTo>
                      <a:pt x="129" y="157"/>
                    </a:lnTo>
                    <a:lnTo>
                      <a:pt x="155" y="159"/>
                    </a:lnTo>
                    <a:lnTo>
                      <a:pt x="167" y="159"/>
                    </a:lnTo>
                    <a:lnTo>
                      <a:pt x="167" y="159"/>
                    </a:lnTo>
                    <a:lnTo>
                      <a:pt x="201" y="158"/>
                    </a:lnTo>
                    <a:lnTo>
                      <a:pt x="228" y="155"/>
                    </a:lnTo>
                    <a:lnTo>
                      <a:pt x="253" y="151"/>
                    </a:lnTo>
                    <a:lnTo>
                      <a:pt x="272" y="146"/>
                    </a:lnTo>
                    <a:lnTo>
                      <a:pt x="288" y="141"/>
                    </a:lnTo>
                    <a:lnTo>
                      <a:pt x="300" y="136"/>
                    </a:lnTo>
                    <a:lnTo>
                      <a:pt x="308" y="130"/>
                    </a:lnTo>
                    <a:lnTo>
                      <a:pt x="314" y="124"/>
                    </a:lnTo>
                    <a:lnTo>
                      <a:pt x="314" y="124"/>
                    </a:lnTo>
                    <a:lnTo>
                      <a:pt x="346" y="134"/>
                    </a:lnTo>
                    <a:lnTo>
                      <a:pt x="383" y="144"/>
                    </a:lnTo>
                    <a:lnTo>
                      <a:pt x="394" y="146"/>
                    </a:lnTo>
                    <a:lnTo>
                      <a:pt x="394" y="146"/>
                    </a:lnTo>
                    <a:lnTo>
                      <a:pt x="424" y="150"/>
                    </a:lnTo>
                    <a:lnTo>
                      <a:pt x="450" y="151"/>
                    </a:lnTo>
                    <a:lnTo>
                      <a:pt x="473" y="152"/>
                    </a:lnTo>
                    <a:lnTo>
                      <a:pt x="491" y="152"/>
                    </a:lnTo>
                    <a:lnTo>
                      <a:pt x="508" y="150"/>
                    </a:lnTo>
                    <a:lnTo>
                      <a:pt x="521" y="147"/>
                    </a:lnTo>
                    <a:lnTo>
                      <a:pt x="531" y="145"/>
                    </a:lnTo>
                    <a:lnTo>
                      <a:pt x="539" y="141"/>
                    </a:lnTo>
                    <a:lnTo>
                      <a:pt x="545" y="136"/>
                    </a:lnTo>
                    <a:lnTo>
                      <a:pt x="550" y="133"/>
                    </a:lnTo>
                    <a:lnTo>
                      <a:pt x="554" y="129"/>
                    </a:lnTo>
                    <a:lnTo>
                      <a:pt x="555" y="126"/>
                    </a:lnTo>
                    <a:lnTo>
                      <a:pt x="557" y="120"/>
                    </a:lnTo>
                    <a:lnTo>
                      <a:pt x="557" y="117"/>
                    </a:lnTo>
                    <a:lnTo>
                      <a:pt x="562" y="8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6" name="Group 95"/>
              <p:cNvGrpSpPr/>
              <p:nvPr/>
            </p:nvGrpSpPr>
            <p:grpSpPr>
              <a:xfrm>
                <a:off x="7245319" y="2707621"/>
                <a:ext cx="436949" cy="123957"/>
                <a:chOff x="7245319" y="2707621"/>
                <a:chExt cx="436949" cy="123957"/>
              </a:xfrm>
            </p:grpSpPr>
            <p:sp>
              <p:nvSpPr>
                <p:cNvPr id="97" name="Freeform 638"/>
                <p:cNvSpPr>
                  <a:spLocks/>
                </p:cNvSpPr>
                <p:nvPr/>
              </p:nvSpPr>
              <p:spPr bwMode="auto">
                <a:xfrm>
                  <a:off x="7245319" y="2744808"/>
                  <a:ext cx="251013" cy="86770"/>
                </a:xfrm>
                <a:custGeom>
                  <a:avLst/>
                  <a:gdLst>
                    <a:gd name="T0" fmla="*/ 151 w 322"/>
                    <a:gd name="T1" fmla="*/ 0 h 112"/>
                    <a:gd name="T2" fmla="*/ 151 w 322"/>
                    <a:gd name="T3" fmla="*/ 0 h 112"/>
                    <a:gd name="T4" fmla="*/ 177 w 322"/>
                    <a:gd name="T5" fmla="*/ 0 h 112"/>
                    <a:gd name="T6" fmla="*/ 205 w 322"/>
                    <a:gd name="T7" fmla="*/ 4 h 112"/>
                    <a:gd name="T8" fmla="*/ 233 w 322"/>
                    <a:gd name="T9" fmla="*/ 7 h 112"/>
                    <a:gd name="T10" fmla="*/ 261 w 322"/>
                    <a:gd name="T11" fmla="*/ 12 h 112"/>
                    <a:gd name="T12" fmla="*/ 304 w 322"/>
                    <a:gd name="T13" fmla="*/ 21 h 112"/>
                    <a:gd name="T14" fmla="*/ 322 w 322"/>
                    <a:gd name="T15" fmla="*/ 25 h 112"/>
                    <a:gd name="T16" fmla="*/ 322 w 322"/>
                    <a:gd name="T17" fmla="*/ 57 h 112"/>
                    <a:gd name="T18" fmla="*/ 322 w 322"/>
                    <a:gd name="T19" fmla="*/ 57 h 112"/>
                    <a:gd name="T20" fmla="*/ 322 w 322"/>
                    <a:gd name="T21" fmla="*/ 59 h 112"/>
                    <a:gd name="T22" fmla="*/ 321 w 322"/>
                    <a:gd name="T23" fmla="*/ 65 h 112"/>
                    <a:gd name="T24" fmla="*/ 320 w 322"/>
                    <a:gd name="T25" fmla="*/ 69 h 112"/>
                    <a:gd name="T26" fmla="*/ 318 w 322"/>
                    <a:gd name="T27" fmla="*/ 74 h 112"/>
                    <a:gd name="T28" fmla="*/ 314 w 322"/>
                    <a:gd name="T29" fmla="*/ 77 h 112"/>
                    <a:gd name="T30" fmla="*/ 309 w 322"/>
                    <a:gd name="T31" fmla="*/ 82 h 112"/>
                    <a:gd name="T32" fmla="*/ 301 w 322"/>
                    <a:gd name="T33" fmla="*/ 88 h 112"/>
                    <a:gd name="T34" fmla="*/ 291 w 322"/>
                    <a:gd name="T35" fmla="*/ 93 h 112"/>
                    <a:gd name="T36" fmla="*/ 279 w 322"/>
                    <a:gd name="T37" fmla="*/ 97 h 112"/>
                    <a:gd name="T38" fmla="*/ 263 w 322"/>
                    <a:gd name="T39" fmla="*/ 102 h 112"/>
                    <a:gd name="T40" fmla="*/ 244 w 322"/>
                    <a:gd name="T41" fmla="*/ 105 h 112"/>
                    <a:gd name="T42" fmla="*/ 222 w 322"/>
                    <a:gd name="T43" fmla="*/ 109 h 112"/>
                    <a:gd name="T44" fmla="*/ 195 w 322"/>
                    <a:gd name="T45" fmla="*/ 111 h 112"/>
                    <a:gd name="T46" fmla="*/ 166 w 322"/>
                    <a:gd name="T47" fmla="*/ 112 h 112"/>
                    <a:gd name="T48" fmla="*/ 154 w 322"/>
                    <a:gd name="T49" fmla="*/ 111 h 112"/>
                    <a:gd name="T50" fmla="*/ 154 w 322"/>
                    <a:gd name="T51" fmla="*/ 111 h 112"/>
                    <a:gd name="T52" fmla="*/ 129 w 322"/>
                    <a:gd name="T53" fmla="*/ 110 h 112"/>
                    <a:gd name="T54" fmla="*/ 106 w 322"/>
                    <a:gd name="T55" fmla="*/ 108 h 112"/>
                    <a:gd name="T56" fmla="*/ 85 w 322"/>
                    <a:gd name="T57" fmla="*/ 105 h 112"/>
                    <a:gd name="T58" fmla="*/ 68 w 322"/>
                    <a:gd name="T59" fmla="*/ 102 h 112"/>
                    <a:gd name="T60" fmla="*/ 54 w 322"/>
                    <a:gd name="T61" fmla="*/ 98 h 112"/>
                    <a:gd name="T62" fmla="*/ 41 w 322"/>
                    <a:gd name="T63" fmla="*/ 94 h 112"/>
                    <a:gd name="T64" fmla="*/ 31 w 322"/>
                    <a:gd name="T65" fmla="*/ 91 h 112"/>
                    <a:gd name="T66" fmla="*/ 22 w 322"/>
                    <a:gd name="T67" fmla="*/ 87 h 112"/>
                    <a:gd name="T68" fmla="*/ 15 w 322"/>
                    <a:gd name="T69" fmla="*/ 82 h 112"/>
                    <a:gd name="T70" fmla="*/ 10 w 322"/>
                    <a:gd name="T71" fmla="*/ 79 h 112"/>
                    <a:gd name="T72" fmla="*/ 3 w 322"/>
                    <a:gd name="T73" fmla="*/ 71 h 112"/>
                    <a:gd name="T74" fmla="*/ 1 w 322"/>
                    <a:gd name="T75" fmla="*/ 66 h 112"/>
                    <a:gd name="T76" fmla="*/ 0 w 322"/>
                    <a:gd name="T77" fmla="*/ 64 h 112"/>
                    <a:gd name="T78" fmla="*/ 0 w 322"/>
                    <a:gd name="T79" fmla="*/ 64 h 112"/>
                    <a:gd name="T80" fmla="*/ 1 w 322"/>
                    <a:gd name="T81" fmla="*/ 27 h 112"/>
                    <a:gd name="T82" fmla="*/ 1 w 322"/>
                    <a:gd name="T83" fmla="*/ 27 h 112"/>
                    <a:gd name="T84" fmla="*/ 16 w 322"/>
                    <a:gd name="T85" fmla="*/ 23 h 112"/>
                    <a:gd name="T86" fmla="*/ 56 w 322"/>
                    <a:gd name="T87" fmla="*/ 13 h 112"/>
                    <a:gd name="T88" fmla="*/ 81 w 322"/>
                    <a:gd name="T89" fmla="*/ 8 h 112"/>
                    <a:gd name="T90" fmla="*/ 107 w 322"/>
                    <a:gd name="T91" fmla="*/ 4 h 112"/>
                    <a:gd name="T92" fmla="*/ 135 w 322"/>
                    <a:gd name="T93" fmla="*/ 0 h 112"/>
                    <a:gd name="T94" fmla="*/ 159 w 322"/>
                    <a:gd name="T95" fmla="*/ 0 h 112"/>
                    <a:gd name="T96" fmla="*/ 151 w 322"/>
                    <a:gd name="T9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112">
                      <a:moveTo>
                        <a:pt x="151" y="0"/>
                      </a:moveTo>
                      <a:lnTo>
                        <a:pt x="151" y="0"/>
                      </a:lnTo>
                      <a:lnTo>
                        <a:pt x="177" y="0"/>
                      </a:lnTo>
                      <a:lnTo>
                        <a:pt x="205" y="4"/>
                      </a:lnTo>
                      <a:lnTo>
                        <a:pt x="233" y="7"/>
                      </a:lnTo>
                      <a:lnTo>
                        <a:pt x="261" y="12"/>
                      </a:lnTo>
                      <a:lnTo>
                        <a:pt x="304" y="21"/>
                      </a:lnTo>
                      <a:lnTo>
                        <a:pt x="322" y="25"/>
                      </a:lnTo>
                      <a:lnTo>
                        <a:pt x="322" y="57"/>
                      </a:lnTo>
                      <a:lnTo>
                        <a:pt x="322" y="57"/>
                      </a:lnTo>
                      <a:lnTo>
                        <a:pt x="322" y="59"/>
                      </a:lnTo>
                      <a:lnTo>
                        <a:pt x="321" y="65"/>
                      </a:lnTo>
                      <a:lnTo>
                        <a:pt x="320" y="69"/>
                      </a:lnTo>
                      <a:lnTo>
                        <a:pt x="318" y="74"/>
                      </a:lnTo>
                      <a:lnTo>
                        <a:pt x="314" y="77"/>
                      </a:lnTo>
                      <a:lnTo>
                        <a:pt x="309" y="82"/>
                      </a:lnTo>
                      <a:lnTo>
                        <a:pt x="301" y="88"/>
                      </a:lnTo>
                      <a:lnTo>
                        <a:pt x="291" y="93"/>
                      </a:lnTo>
                      <a:lnTo>
                        <a:pt x="279" y="97"/>
                      </a:lnTo>
                      <a:lnTo>
                        <a:pt x="263" y="102"/>
                      </a:lnTo>
                      <a:lnTo>
                        <a:pt x="244" y="105"/>
                      </a:lnTo>
                      <a:lnTo>
                        <a:pt x="222" y="109"/>
                      </a:lnTo>
                      <a:lnTo>
                        <a:pt x="195" y="111"/>
                      </a:lnTo>
                      <a:lnTo>
                        <a:pt x="166" y="112"/>
                      </a:lnTo>
                      <a:lnTo>
                        <a:pt x="154" y="111"/>
                      </a:lnTo>
                      <a:lnTo>
                        <a:pt x="154" y="111"/>
                      </a:lnTo>
                      <a:lnTo>
                        <a:pt x="129" y="110"/>
                      </a:lnTo>
                      <a:lnTo>
                        <a:pt x="106" y="108"/>
                      </a:lnTo>
                      <a:lnTo>
                        <a:pt x="85" y="105"/>
                      </a:lnTo>
                      <a:lnTo>
                        <a:pt x="68" y="102"/>
                      </a:lnTo>
                      <a:lnTo>
                        <a:pt x="54" y="98"/>
                      </a:lnTo>
                      <a:lnTo>
                        <a:pt x="41" y="94"/>
                      </a:lnTo>
                      <a:lnTo>
                        <a:pt x="31" y="91"/>
                      </a:lnTo>
                      <a:lnTo>
                        <a:pt x="22" y="87"/>
                      </a:lnTo>
                      <a:lnTo>
                        <a:pt x="15" y="82"/>
                      </a:lnTo>
                      <a:lnTo>
                        <a:pt x="10" y="79"/>
                      </a:lnTo>
                      <a:lnTo>
                        <a:pt x="3" y="71"/>
                      </a:lnTo>
                      <a:lnTo>
                        <a:pt x="1" y="66"/>
                      </a:lnTo>
                      <a:lnTo>
                        <a:pt x="0" y="64"/>
                      </a:lnTo>
                      <a:lnTo>
                        <a:pt x="0" y="64"/>
                      </a:lnTo>
                      <a:lnTo>
                        <a:pt x="1" y="27"/>
                      </a:lnTo>
                      <a:lnTo>
                        <a:pt x="1" y="27"/>
                      </a:lnTo>
                      <a:lnTo>
                        <a:pt x="16" y="23"/>
                      </a:lnTo>
                      <a:lnTo>
                        <a:pt x="56" y="13"/>
                      </a:lnTo>
                      <a:lnTo>
                        <a:pt x="81" y="8"/>
                      </a:lnTo>
                      <a:lnTo>
                        <a:pt x="107" y="4"/>
                      </a:lnTo>
                      <a:lnTo>
                        <a:pt x="135" y="0"/>
                      </a:lnTo>
                      <a:lnTo>
                        <a:pt x="159" y="0"/>
                      </a:lnTo>
                      <a:lnTo>
                        <a:pt x="151" y="0"/>
                      </a:lnTo>
                      <a:close/>
                    </a:path>
                  </a:pathLst>
                </a:custGeom>
                <a:solidFill>
                  <a:srgbClr val="E0894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639"/>
                <p:cNvSpPr>
                  <a:spLocks/>
                </p:cNvSpPr>
                <p:nvPr/>
              </p:nvSpPr>
              <p:spPr bwMode="auto">
                <a:xfrm>
                  <a:off x="7245319" y="2744808"/>
                  <a:ext cx="251013" cy="86770"/>
                </a:xfrm>
                <a:custGeom>
                  <a:avLst/>
                  <a:gdLst>
                    <a:gd name="T0" fmla="*/ 151 w 322"/>
                    <a:gd name="T1" fmla="*/ 0 h 112"/>
                    <a:gd name="T2" fmla="*/ 151 w 322"/>
                    <a:gd name="T3" fmla="*/ 0 h 112"/>
                    <a:gd name="T4" fmla="*/ 177 w 322"/>
                    <a:gd name="T5" fmla="*/ 0 h 112"/>
                    <a:gd name="T6" fmla="*/ 205 w 322"/>
                    <a:gd name="T7" fmla="*/ 4 h 112"/>
                    <a:gd name="T8" fmla="*/ 233 w 322"/>
                    <a:gd name="T9" fmla="*/ 7 h 112"/>
                    <a:gd name="T10" fmla="*/ 261 w 322"/>
                    <a:gd name="T11" fmla="*/ 12 h 112"/>
                    <a:gd name="T12" fmla="*/ 304 w 322"/>
                    <a:gd name="T13" fmla="*/ 21 h 112"/>
                    <a:gd name="T14" fmla="*/ 322 w 322"/>
                    <a:gd name="T15" fmla="*/ 25 h 112"/>
                    <a:gd name="T16" fmla="*/ 322 w 322"/>
                    <a:gd name="T17" fmla="*/ 57 h 112"/>
                    <a:gd name="T18" fmla="*/ 322 w 322"/>
                    <a:gd name="T19" fmla="*/ 57 h 112"/>
                    <a:gd name="T20" fmla="*/ 322 w 322"/>
                    <a:gd name="T21" fmla="*/ 59 h 112"/>
                    <a:gd name="T22" fmla="*/ 321 w 322"/>
                    <a:gd name="T23" fmla="*/ 65 h 112"/>
                    <a:gd name="T24" fmla="*/ 320 w 322"/>
                    <a:gd name="T25" fmla="*/ 69 h 112"/>
                    <a:gd name="T26" fmla="*/ 318 w 322"/>
                    <a:gd name="T27" fmla="*/ 74 h 112"/>
                    <a:gd name="T28" fmla="*/ 314 w 322"/>
                    <a:gd name="T29" fmla="*/ 77 h 112"/>
                    <a:gd name="T30" fmla="*/ 309 w 322"/>
                    <a:gd name="T31" fmla="*/ 82 h 112"/>
                    <a:gd name="T32" fmla="*/ 301 w 322"/>
                    <a:gd name="T33" fmla="*/ 88 h 112"/>
                    <a:gd name="T34" fmla="*/ 291 w 322"/>
                    <a:gd name="T35" fmla="*/ 93 h 112"/>
                    <a:gd name="T36" fmla="*/ 279 w 322"/>
                    <a:gd name="T37" fmla="*/ 97 h 112"/>
                    <a:gd name="T38" fmla="*/ 263 w 322"/>
                    <a:gd name="T39" fmla="*/ 102 h 112"/>
                    <a:gd name="T40" fmla="*/ 244 w 322"/>
                    <a:gd name="T41" fmla="*/ 105 h 112"/>
                    <a:gd name="T42" fmla="*/ 222 w 322"/>
                    <a:gd name="T43" fmla="*/ 109 h 112"/>
                    <a:gd name="T44" fmla="*/ 195 w 322"/>
                    <a:gd name="T45" fmla="*/ 111 h 112"/>
                    <a:gd name="T46" fmla="*/ 166 w 322"/>
                    <a:gd name="T47" fmla="*/ 112 h 112"/>
                    <a:gd name="T48" fmla="*/ 154 w 322"/>
                    <a:gd name="T49" fmla="*/ 111 h 112"/>
                    <a:gd name="T50" fmla="*/ 154 w 322"/>
                    <a:gd name="T51" fmla="*/ 111 h 112"/>
                    <a:gd name="T52" fmla="*/ 129 w 322"/>
                    <a:gd name="T53" fmla="*/ 110 h 112"/>
                    <a:gd name="T54" fmla="*/ 106 w 322"/>
                    <a:gd name="T55" fmla="*/ 108 h 112"/>
                    <a:gd name="T56" fmla="*/ 85 w 322"/>
                    <a:gd name="T57" fmla="*/ 105 h 112"/>
                    <a:gd name="T58" fmla="*/ 68 w 322"/>
                    <a:gd name="T59" fmla="*/ 102 h 112"/>
                    <a:gd name="T60" fmla="*/ 54 w 322"/>
                    <a:gd name="T61" fmla="*/ 98 h 112"/>
                    <a:gd name="T62" fmla="*/ 41 w 322"/>
                    <a:gd name="T63" fmla="*/ 94 h 112"/>
                    <a:gd name="T64" fmla="*/ 31 w 322"/>
                    <a:gd name="T65" fmla="*/ 91 h 112"/>
                    <a:gd name="T66" fmla="*/ 22 w 322"/>
                    <a:gd name="T67" fmla="*/ 87 h 112"/>
                    <a:gd name="T68" fmla="*/ 15 w 322"/>
                    <a:gd name="T69" fmla="*/ 82 h 112"/>
                    <a:gd name="T70" fmla="*/ 10 w 322"/>
                    <a:gd name="T71" fmla="*/ 79 h 112"/>
                    <a:gd name="T72" fmla="*/ 3 w 322"/>
                    <a:gd name="T73" fmla="*/ 71 h 112"/>
                    <a:gd name="T74" fmla="*/ 1 w 322"/>
                    <a:gd name="T75" fmla="*/ 66 h 112"/>
                    <a:gd name="T76" fmla="*/ 0 w 322"/>
                    <a:gd name="T77" fmla="*/ 64 h 112"/>
                    <a:gd name="T78" fmla="*/ 0 w 322"/>
                    <a:gd name="T79" fmla="*/ 64 h 112"/>
                    <a:gd name="T80" fmla="*/ 1 w 322"/>
                    <a:gd name="T81" fmla="*/ 27 h 112"/>
                    <a:gd name="T82" fmla="*/ 1 w 322"/>
                    <a:gd name="T83" fmla="*/ 27 h 112"/>
                    <a:gd name="T84" fmla="*/ 16 w 322"/>
                    <a:gd name="T85" fmla="*/ 23 h 112"/>
                    <a:gd name="T86" fmla="*/ 56 w 322"/>
                    <a:gd name="T87" fmla="*/ 13 h 112"/>
                    <a:gd name="T88" fmla="*/ 81 w 322"/>
                    <a:gd name="T89" fmla="*/ 8 h 112"/>
                    <a:gd name="T90" fmla="*/ 107 w 322"/>
                    <a:gd name="T91" fmla="*/ 4 h 112"/>
                    <a:gd name="T92" fmla="*/ 135 w 322"/>
                    <a:gd name="T93" fmla="*/ 0 h 112"/>
                    <a:gd name="T94" fmla="*/ 159 w 322"/>
                    <a:gd name="T95" fmla="*/ 0 h 112"/>
                    <a:gd name="T96" fmla="*/ 151 w 322"/>
                    <a:gd name="T9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112">
                      <a:moveTo>
                        <a:pt x="151" y="0"/>
                      </a:moveTo>
                      <a:lnTo>
                        <a:pt x="151" y="0"/>
                      </a:lnTo>
                      <a:lnTo>
                        <a:pt x="177" y="0"/>
                      </a:lnTo>
                      <a:lnTo>
                        <a:pt x="205" y="4"/>
                      </a:lnTo>
                      <a:lnTo>
                        <a:pt x="233" y="7"/>
                      </a:lnTo>
                      <a:lnTo>
                        <a:pt x="261" y="12"/>
                      </a:lnTo>
                      <a:lnTo>
                        <a:pt x="304" y="21"/>
                      </a:lnTo>
                      <a:lnTo>
                        <a:pt x="322" y="25"/>
                      </a:lnTo>
                      <a:lnTo>
                        <a:pt x="322" y="57"/>
                      </a:lnTo>
                      <a:lnTo>
                        <a:pt x="322" y="57"/>
                      </a:lnTo>
                      <a:lnTo>
                        <a:pt x="322" y="59"/>
                      </a:lnTo>
                      <a:lnTo>
                        <a:pt x="321" y="65"/>
                      </a:lnTo>
                      <a:lnTo>
                        <a:pt x="320" y="69"/>
                      </a:lnTo>
                      <a:lnTo>
                        <a:pt x="318" y="74"/>
                      </a:lnTo>
                      <a:lnTo>
                        <a:pt x="314" y="77"/>
                      </a:lnTo>
                      <a:lnTo>
                        <a:pt x="309" y="82"/>
                      </a:lnTo>
                      <a:lnTo>
                        <a:pt x="301" y="88"/>
                      </a:lnTo>
                      <a:lnTo>
                        <a:pt x="291" y="93"/>
                      </a:lnTo>
                      <a:lnTo>
                        <a:pt x="279" y="97"/>
                      </a:lnTo>
                      <a:lnTo>
                        <a:pt x="263" y="102"/>
                      </a:lnTo>
                      <a:lnTo>
                        <a:pt x="244" y="105"/>
                      </a:lnTo>
                      <a:lnTo>
                        <a:pt x="222" y="109"/>
                      </a:lnTo>
                      <a:lnTo>
                        <a:pt x="195" y="111"/>
                      </a:lnTo>
                      <a:lnTo>
                        <a:pt x="166" y="112"/>
                      </a:lnTo>
                      <a:lnTo>
                        <a:pt x="154" y="111"/>
                      </a:lnTo>
                      <a:lnTo>
                        <a:pt x="154" y="111"/>
                      </a:lnTo>
                      <a:lnTo>
                        <a:pt x="129" y="110"/>
                      </a:lnTo>
                      <a:lnTo>
                        <a:pt x="106" y="108"/>
                      </a:lnTo>
                      <a:lnTo>
                        <a:pt x="85" y="105"/>
                      </a:lnTo>
                      <a:lnTo>
                        <a:pt x="68" y="102"/>
                      </a:lnTo>
                      <a:lnTo>
                        <a:pt x="54" y="98"/>
                      </a:lnTo>
                      <a:lnTo>
                        <a:pt x="41" y="94"/>
                      </a:lnTo>
                      <a:lnTo>
                        <a:pt x="31" y="91"/>
                      </a:lnTo>
                      <a:lnTo>
                        <a:pt x="22" y="87"/>
                      </a:lnTo>
                      <a:lnTo>
                        <a:pt x="15" y="82"/>
                      </a:lnTo>
                      <a:lnTo>
                        <a:pt x="10" y="79"/>
                      </a:lnTo>
                      <a:lnTo>
                        <a:pt x="3" y="71"/>
                      </a:lnTo>
                      <a:lnTo>
                        <a:pt x="1" y="66"/>
                      </a:lnTo>
                      <a:lnTo>
                        <a:pt x="0" y="64"/>
                      </a:lnTo>
                      <a:lnTo>
                        <a:pt x="0" y="64"/>
                      </a:lnTo>
                      <a:lnTo>
                        <a:pt x="1" y="27"/>
                      </a:lnTo>
                      <a:lnTo>
                        <a:pt x="1" y="27"/>
                      </a:lnTo>
                      <a:lnTo>
                        <a:pt x="16" y="23"/>
                      </a:lnTo>
                      <a:lnTo>
                        <a:pt x="56" y="13"/>
                      </a:lnTo>
                      <a:lnTo>
                        <a:pt x="81" y="8"/>
                      </a:lnTo>
                      <a:lnTo>
                        <a:pt x="107" y="4"/>
                      </a:lnTo>
                      <a:lnTo>
                        <a:pt x="135" y="0"/>
                      </a:lnTo>
                      <a:lnTo>
                        <a:pt x="159" y="0"/>
                      </a:lnTo>
                      <a:lnTo>
                        <a:pt x="151" y="0"/>
                      </a:lnTo>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40"/>
                <p:cNvSpPr>
                  <a:spLocks/>
                </p:cNvSpPr>
                <p:nvPr/>
              </p:nvSpPr>
              <p:spPr bwMode="auto">
                <a:xfrm>
                  <a:off x="7245319" y="2723115"/>
                  <a:ext cx="251013" cy="89870"/>
                </a:xfrm>
                <a:custGeom>
                  <a:avLst/>
                  <a:gdLst>
                    <a:gd name="T0" fmla="*/ 322 w 322"/>
                    <a:gd name="T1" fmla="*/ 58 h 115"/>
                    <a:gd name="T2" fmla="*/ 322 w 322"/>
                    <a:gd name="T3" fmla="*/ 58 h 115"/>
                    <a:gd name="T4" fmla="*/ 321 w 322"/>
                    <a:gd name="T5" fmla="*/ 63 h 115"/>
                    <a:gd name="T6" fmla="*/ 319 w 322"/>
                    <a:gd name="T7" fmla="*/ 69 h 115"/>
                    <a:gd name="T8" fmla="*/ 315 w 322"/>
                    <a:gd name="T9" fmla="*/ 75 h 115"/>
                    <a:gd name="T10" fmla="*/ 309 w 322"/>
                    <a:gd name="T11" fmla="*/ 80 h 115"/>
                    <a:gd name="T12" fmla="*/ 302 w 322"/>
                    <a:gd name="T13" fmla="*/ 85 h 115"/>
                    <a:gd name="T14" fmla="*/ 295 w 322"/>
                    <a:gd name="T15" fmla="*/ 89 h 115"/>
                    <a:gd name="T16" fmla="*/ 285 w 322"/>
                    <a:gd name="T17" fmla="*/ 94 h 115"/>
                    <a:gd name="T18" fmla="*/ 275 w 322"/>
                    <a:gd name="T19" fmla="*/ 98 h 115"/>
                    <a:gd name="T20" fmla="*/ 251 w 322"/>
                    <a:gd name="T21" fmla="*/ 105 h 115"/>
                    <a:gd name="T22" fmla="*/ 223 w 322"/>
                    <a:gd name="T23" fmla="*/ 110 h 115"/>
                    <a:gd name="T24" fmla="*/ 193 w 322"/>
                    <a:gd name="T25" fmla="*/ 114 h 115"/>
                    <a:gd name="T26" fmla="*/ 160 w 322"/>
                    <a:gd name="T27" fmla="*/ 115 h 115"/>
                    <a:gd name="T28" fmla="*/ 160 w 322"/>
                    <a:gd name="T29" fmla="*/ 115 h 115"/>
                    <a:gd name="T30" fmla="*/ 129 w 322"/>
                    <a:gd name="T31" fmla="*/ 114 h 115"/>
                    <a:gd name="T32" fmla="*/ 99 w 322"/>
                    <a:gd name="T33" fmla="*/ 110 h 115"/>
                    <a:gd name="T34" fmla="*/ 71 w 322"/>
                    <a:gd name="T35" fmla="*/ 105 h 115"/>
                    <a:gd name="T36" fmla="*/ 47 w 322"/>
                    <a:gd name="T37" fmla="*/ 98 h 115"/>
                    <a:gd name="T38" fmla="*/ 37 w 322"/>
                    <a:gd name="T39" fmla="*/ 94 h 115"/>
                    <a:gd name="T40" fmla="*/ 27 w 322"/>
                    <a:gd name="T41" fmla="*/ 89 h 115"/>
                    <a:gd name="T42" fmla="*/ 19 w 322"/>
                    <a:gd name="T43" fmla="*/ 85 h 115"/>
                    <a:gd name="T44" fmla="*/ 13 w 322"/>
                    <a:gd name="T45" fmla="*/ 80 h 115"/>
                    <a:gd name="T46" fmla="*/ 7 w 322"/>
                    <a:gd name="T47" fmla="*/ 75 h 115"/>
                    <a:gd name="T48" fmla="*/ 3 w 322"/>
                    <a:gd name="T49" fmla="*/ 69 h 115"/>
                    <a:gd name="T50" fmla="*/ 1 w 322"/>
                    <a:gd name="T51" fmla="*/ 63 h 115"/>
                    <a:gd name="T52" fmla="*/ 0 w 322"/>
                    <a:gd name="T53" fmla="*/ 58 h 115"/>
                    <a:gd name="T54" fmla="*/ 0 w 322"/>
                    <a:gd name="T55" fmla="*/ 58 h 115"/>
                    <a:gd name="T56" fmla="*/ 1 w 322"/>
                    <a:gd name="T57" fmla="*/ 52 h 115"/>
                    <a:gd name="T58" fmla="*/ 3 w 322"/>
                    <a:gd name="T59" fmla="*/ 46 h 115"/>
                    <a:gd name="T60" fmla="*/ 7 w 322"/>
                    <a:gd name="T61" fmla="*/ 41 h 115"/>
                    <a:gd name="T62" fmla="*/ 13 w 322"/>
                    <a:gd name="T63" fmla="*/ 35 h 115"/>
                    <a:gd name="T64" fmla="*/ 19 w 322"/>
                    <a:gd name="T65" fmla="*/ 30 h 115"/>
                    <a:gd name="T66" fmla="*/ 27 w 322"/>
                    <a:gd name="T67" fmla="*/ 25 h 115"/>
                    <a:gd name="T68" fmla="*/ 37 w 322"/>
                    <a:gd name="T69" fmla="*/ 22 h 115"/>
                    <a:gd name="T70" fmla="*/ 47 w 322"/>
                    <a:gd name="T71" fmla="*/ 17 h 115"/>
                    <a:gd name="T72" fmla="*/ 71 w 322"/>
                    <a:gd name="T73" fmla="*/ 10 h 115"/>
                    <a:gd name="T74" fmla="*/ 99 w 322"/>
                    <a:gd name="T75" fmla="*/ 5 h 115"/>
                    <a:gd name="T76" fmla="*/ 129 w 322"/>
                    <a:gd name="T77" fmla="*/ 1 h 115"/>
                    <a:gd name="T78" fmla="*/ 160 w 322"/>
                    <a:gd name="T79" fmla="*/ 0 h 115"/>
                    <a:gd name="T80" fmla="*/ 160 w 322"/>
                    <a:gd name="T81" fmla="*/ 0 h 115"/>
                    <a:gd name="T82" fmla="*/ 193 w 322"/>
                    <a:gd name="T83" fmla="*/ 1 h 115"/>
                    <a:gd name="T84" fmla="*/ 223 w 322"/>
                    <a:gd name="T85" fmla="*/ 5 h 115"/>
                    <a:gd name="T86" fmla="*/ 251 w 322"/>
                    <a:gd name="T87" fmla="*/ 10 h 115"/>
                    <a:gd name="T88" fmla="*/ 275 w 322"/>
                    <a:gd name="T89" fmla="*/ 17 h 115"/>
                    <a:gd name="T90" fmla="*/ 285 w 322"/>
                    <a:gd name="T91" fmla="*/ 22 h 115"/>
                    <a:gd name="T92" fmla="*/ 295 w 322"/>
                    <a:gd name="T93" fmla="*/ 25 h 115"/>
                    <a:gd name="T94" fmla="*/ 302 w 322"/>
                    <a:gd name="T95" fmla="*/ 30 h 115"/>
                    <a:gd name="T96" fmla="*/ 309 w 322"/>
                    <a:gd name="T97" fmla="*/ 35 h 115"/>
                    <a:gd name="T98" fmla="*/ 315 w 322"/>
                    <a:gd name="T99" fmla="*/ 41 h 115"/>
                    <a:gd name="T100" fmla="*/ 319 w 322"/>
                    <a:gd name="T101" fmla="*/ 46 h 115"/>
                    <a:gd name="T102" fmla="*/ 321 w 322"/>
                    <a:gd name="T103" fmla="*/ 52 h 115"/>
                    <a:gd name="T104" fmla="*/ 322 w 322"/>
                    <a:gd name="T105" fmla="*/ 5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115">
                      <a:moveTo>
                        <a:pt x="322" y="58"/>
                      </a:moveTo>
                      <a:lnTo>
                        <a:pt x="322" y="58"/>
                      </a:lnTo>
                      <a:lnTo>
                        <a:pt x="321" y="63"/>
                      </a:lnTo>
                      <a:lnTo>
                        <a:pt x="319" y="69"/>
                      </a:lnTo>
                      <a:lnTo>
                        <a:pt x="315" y="75"/>
                      </a:lnTo>
                      <a:lnTo>
                        <a:pt x="309" y="80"/>
                      </a:lnTo>
                      <a:lnTo>
                        <a:pt x="302" y="85"/>
                      </a:lnTo>
                      <a:lnTo>
                        <a:pt x="295" y="89"/>
                      </a:lnTo>
                      <a:lnTo>
                        <a:pt x="285" y="94"/>
                      </a:lnTo>
                      <a:lnTo>
                        <a:pt x="275" y="98"/>
                      </a:lnTo>
                      <a:lnTo>
                        <a:pt x="251" y="105"/>
                      </a:lnTo>
                      <a:lnTo>
                        <a:pt x="223" y="110"/>
                      </a:lnTo>
                      <a:lnTo>
                        <a:pt x="193" y="114"/>
                      </a:lnTo>
                      <a:lnTo>
                        <a:pt x="160" y="115"/>
                      </a:lnTo>
                      <a:lnTo>
                        <a:pt x="160" y="115"/>
                      </a:lnTo>
                      <a:lnTo>
                        <a:pt x="129" y="114"/>
                      </a:lnTo>
                      <a:lnTo>
                        <a:pt x="99" y="110"/>
                      </a:lnTo>
                      <a:lnTo>
                        <a:pt x="71" y="105"/>
                      </a:lnTo>
                      <a:lnTo>
                        <a:pt x="47" y="98"/>
                      </a:lnTo>
                      <a:lnTo>
                        <a:pt x="37" y="94"/>
                      </a:lnTo>
                      <a:lnTo>
                        <a:pt x="27" y="89"/>
                      </a:lnTo>
                      <a:lnTo>
                        <a:pt x="19" y="85"/>
                      </a:lnTo>
                      <a:lnTo>
                        <a:pt x="13" y="80"/>
                      </a:lnTo>
                      <a:lnTo>
                        <a:pt x="7" y="75"/>
                      </a:lnTo>
                      <a:lnTo>
                        <a:pt x="3" y="69"/>
                      </a:lnTo>
                      <a:lnTo>
                        <a:pt x="1" y="63"/>
                      </a:lnTo>
                      <a:lnTo>
                        <a:pt x="0" y="58"/>
                      </a:lnTo>
                      <a:lnTo>
                        <a:pt x="0" y="58"/>
                      </a:lnTo>
                      <a:lnTo>
                        <a:pt x="1" y="52"/>
                      </a:lnTo>
                      <a:lnTo>
                        <a:pt x="3" y="46"/>
                      </a:lnTo>
                      <a:lnTo>
                        <a:pt x="7" y="41"/>
                      </a:lnTo>
                      <a:lnTo>
                        <a:pt x="13" y="35"/>
                      </a:lnTo>
                      <a:lnTo>
                        <a:pt x="19" y="30"/>
                      </a:lnTo>
                      <a:lnTo>
                        <a:pt x="27" y="25"/>
                      </a:lnTo>
                      <a:lnTo>
                        <a:pt x="37" y="22"/>
                      </a:lnTo>
                      <a:lnTo>
                        <a:pt x="47" y="17"/>
                      </a:lnTo>
                      <a:lnTo>
                        <a:pt x="71" y="10"/>
                      </a:lnTo>
                      <a:lnTo>
                        <a:pt x="99" y="5"/>
                      </a:lnTo>
                      <a:lnTo>
                        <a:pt x="129" y="1"/>
                      </a:lnTo>
                      <a:lnTo>
                        <a:pt x="160" y="0"/>
                      </a:lnTo>
                      <a:lnTo>
                        <a:pt x="160" y="0"/>
                      </a:lnTo>
                      <a:lnTo>
                        <a:pt x="193" y="1"/>
                      </a:lnTo>
                      <a:lnTo>
                        <a:pt x="223" y="5"/>
                      </a:lnTo>
                      <a:lnTo>
                        <a:pt x="251" y="10"/>
                      </a:lnTo>
                      <a:lnTo>
                        <a:pt x="275" y="17"/>
                      </a:lnTo>
                      <a:lnTo>
                        <a:pt x="285" y="22"/>
                      </a:lnTo>
                      <a:lnTo>
                        <a:pt x="295" y="25"/>
                      </a:lnTo>
                      <a:lnTo>
                        <a:pt x="302" y="30"/>
                      </a:lnTo>
                      <a:lnTo>
                        <a:pt x="309" y="35"/>
                      </a:lnTo>
                      <a:lnTo>
                        <a:pt x="315" y="41"/>
                      </a:lnTo>
                      <a:lnTo>
                        <a:pt x="319" y="46"/>
                      </a:lnTo>
                      <a:lnTo>
                        <a:pt x="321" y="52"/>
                      </a:lnTo>
                      <a:lnTo>
                        <a:pt x="322" y="58"/>
                      </a:lnTo>
                      <a:close/>
                    </a:path>
                  </a:pathLst>
                </a:custGeom>
                <a:solidFill>
                  <a:srgbClr val="FCD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41"/>
                <p:cNvSpPr>
                  <a:spLocks/>
                </p:cNvSpPr>
                <p:nvPr/>
              </p:nvSpPr>
              <p:spPr bwMode="auto">
                <a:xfrm>
                  <a:off x="7245319" y="2723115"/>
                  <a:ext cx="251013" cy="89870"/>
                </a:xfrm>
                <a:custGeom>
                  <a:avLst/>
                  <a:gdLst>
                    <a:gd name="T0" fmla="*/ 322 w 322"/>
                    <a:gd name="T1" fmla="*/ 58 h 115"/>
                    <a:gd name="T2" fmla="*/ 322 w 322"/>
                    <a:gd name="T3" fmla="*/ 58 h 115"/>
                    <a:gd name="T4" fmla="*/ 321 w 322"/>
                    <a:gd name="T5" fmla="*/ 63 h 115"/>
                    <a:gd name="T6" fmla="*/ 319 w 322"/>
                    <a:gd name="T7" fmla="*/ 69 h 115"/>
                    <a:gd name="T8" fmla="*/ 315 w 322"/>
                    <a:gd name="T9" fmla="*/ 75 h 115"/>
                    <a:gd name="T10" fmla="*/ 309 w 322"/>
                    <a:gd name="T11" fmla="*/ 80 h 115"/>
                    <a:gd name="T12" fmla="*/ 302 w 322"/>
                    <a:gd name="T13" fmla="*/ 85 h 115"/>
                    <a:gd name="T14" fmla="*/ 295 w 322"/>
                    <a:gd name="T15" fmla="*/ 89 h 115"/>
                    <a:gd name="T16" fmla="*/ 285 w 322"/>
                    <a:gd name="T17" fmla="*/ 94 h 115"/>
                    <a:gd name="T18" fmla="*/ 275 w 322"/>
                    <a:gd name="T19" fmla="*/ 98 h 115"/>
                    <a:gd name="T20" fmla="*/ 251 w 322"/>
                    <a:gd name="T21" fmla="*/ 105 h 115"/>
                    <a:gd name="T22" fmla="*/ 223 w 322"/>
                    <a:gd name="T23" fmla="*/ 110 h 115"/>
                    <a:gd name="T24" fmla="*/ 193 w 322"/>
                    <a:gd name="T25" fmla="*/ 114 h 115"/>
                    <a:gd name="T26" fmla="*/ 160 w 322"/>
                    <a:gd name="T27" fmla="*/ 115 h 115"/>
                    <a:gd name="T28" fmla="*/ 160 w 322"/>
                    <a:gd name="T29" fmla="*/ 115 h 115"/>
                    <a:gd name="T30" fmla="*/ 129 w 322"/>
                    <a:gd name="T31" fmla="*/ 114 h 115"/>
                    <a:gd name="T32" fmla="*/ 99 w 322"/>
                    <a:gd name="T33" fmla="*/ 110 h 115"/>
                    <a:gd name="T34" fmla="*/ 71 w 322"/>
                    <a:gd name="T35" fmla="*/ 105 h 115"/>
                    <a:gd name="T36" fmla="*/ 47 w 322"/>
                    <a:gd name="T37" fmla="*/ 98 h 115"/>
                    <a:gd name="T38" fmla="*/ 37 w 322"/>
                    <a:gd name="T39" fmla="*/ 94 h 115"/>
                    <a:gd name="T40" fmla="*/ 27 w 322"/>
                    <a:gd name="T41" fmla="*/ 89 h 115"/>
                    <a:gd name="T42" fmla="*/ 19 w 322"/>
                    <a:gd name="T43" fmla="*/ 85 h 115"/>
                    <a:gd name="T44" fmla="*/ 13 w 322"/>
                    <a:gd name="T45" fmla="*/ 80 h 115"/>
                    <a:gd name="T46" fmla="*/ 7 w 322"/>
                    <a:gd name="T47" fmla="*/ 75 h 115"/>
                    <a:gd name="T48" fmla="*/ 3 w 322"/>
                    <a:gd name="T49" fmla="*/ 69 h 115"/>
                    <a:gd name="T50" fmla="*/ 1 w 322"/>
                    <a:gd name="T51" fmla="*/ 63 h 115"/>
                    <a:gd name="T52" fmla="*/ 0 w 322"/>
                    <a:gd name="T53" fmla="*/ 58 h 115"/>
                    <a:gd name="T54" fmla="*/ 0 w 322"/>
                    <a:gd name="T55" fmla="*/ 58 h 115"/>
                    <a:gd name="T56" fmla="*/ 1 w 322"/>
                    <a:gd name="T57" fmla="*/ 52 h 115"/>
                    <a:gd name="T58" fmla="*/ 3 w 322"/>
                    <a:gd name="T59" fmla="*/ 46 h 115"/>
                    <a:gd name="T60" fmla="*/ 7 w 322"/>
                    <a:gd name="T61" fmla="*/ 41 h 115"/>
                    <a:gd name="T62" fmla="*/ 13 w 322"/>
                    <a:gd name="T63" fmla="*/ 35 h 115"/>
                    <a:gd name="T64" fmla="*/ 19 w 322"/>
                    <a:gd name="T65" fmla="*/ 30 h 115"/>
                    <a:gd name="T66" fmla="*/ 27 w 322"/>
                    <a:gd name="T67" fmla="*/ 25 h 115"/>
                    <a:gd name="T68" fmla="*/ 37 w 322"/>
                    <a:gd name="T69" fmla="*/ 22 h 115"/>
                    <a:gd name="T70" fmla="*/ 47 w 322"/>
                    <a:gd name="T71" fmla="*/ 17 h 115"/>
                    <a:gd name="T72" fmla="*/ 71 w 322"/>
                    <a:gd name="T73" fmla="*/ 10 h 115"/>
                    <a:gd name="T74" fmla="*/ 99 w 322"/>
                    <a:gd name="T75" fmla="*/ 5 h 115"/>
                    <a:gd name="T76" fmla="*/ 129 w 322"/>
                    <a:gd name="T77" fmla="*/ 1 h 115"/>
                    <a:gd name="T78" fmla="*/ 160 w 322"/>
                    <a:gd name="T79" fmla="*/ 0 h 115"/>
                    <a:gd name="T80" fmla="*/ 160 w 322"/>
                    <a:gd name="T81" fmla="*/ 0 h 115"/>
                    <a:gd name="T82" fmla="*/ 193 w 322"/>
                    <a:gd name="T83" fmla="*/ 1 h 115"/>
                    <a:gd name="T84" fmla="*/ 223 w 322"/>
                    <a:gd name="T85" fmla="*/ 5 h 115"/>
                    <a:gd name="T86" fmla="*/ 251 w 322"/>
                    <a:gd name="T87" fmla="*/ 10 h 115"/>
                    <a:gd name="T88" fmla="*/ 275 w 322"/>
                    <a:gd name="T89" fmla="*/ 17 h 115"/>
                    <a:gd name="T90" fmla="*/ 285 w 322"/>
                    <a:gd name="T91" fmla="*/ 22 h 115"/>
                    <a:gd name="T92" fmla="*/ 295 w 322"/>
                    <a:gd name="T93" fmla="*/ 25 h 115"/>
                    <a:gd name="T94" fmla="*/ 302 w 322"/>
                    <a:gd name="T95" fmla="*/ 30 h 115"/>
                    <a:gd name="T96" fmla="*/ 309 w 322"/>
                    <a:gd name="T97" fmla="*/ 35 h 115"/>
                    <a:gd name="T98" fmla="*/ 315 w 322"/>
                    <a:gd name="T99" fmla="*/ 41 h 115"/>
                    <a:gd name="T100" fmla="*/ 319 w 322"/>
                    <a:gd name="T101" fmla="*/ 46 h 115"/>
                    <a:gd name="T102" fmla="*/ 321 w 322"/>
                    <a:gd name="T103" fmla="*/ 52 h 115"/>
                    <a:gd name="T104" fmla="*/ 322 w 322"/>
                    <a:gd name="T105" fmla="*/ 5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115">
                      <a:moveTo>
                        <a:pt x="322" y="58"/>
                      </a:moveTo>
                      <a:lnTo>
                        <a:pt x="322" y="58"/>
                      </a:lnTo>
                      <a:lnTo>
                        <a:pt x="321" y="63"/>
                      </a:lnTo>
                      <a:lnTo>
                        <a:pt x="319" y="69"/>
                      </a:lnTo>
                      <a:lnTo>
                        <a:pt x="315" y="75"/>
                      </a:lnTo>
                      <a:lnTo>
                        <a:pt x="309" y="80"/>
                      </a:lnTo>
                      <a:lnTo>
                        <a:pt x="302" y="85"/>
                      </a:lnTo>
                      <a:lnTo>
                        <a:pt x="295" y="89"/>
                      </a:lnTo>
                      <a:lnTo>
                        <a:pt x="285" y="94"/>
                      </a:lnTo>
                      <a:lnTo>
                        <a:pt x="275" y="98"/>
                      </a:lnTo>
                      <a:lnTo>
                        <a:pt x="251" y="105"/>
                      </a:lnTo>
                      <a:lnTo>
                        <a:pt x="223" y="110"/>
                      </a:lnTo>
                      <a:lnTo>
                        <a:pt x="193" y="114"/>
                      </a:lnTo>
                      <a:lnTo>
                        <a:pt x="160" y="115"/>
                      </a:lnTo>
                      <a:lnTo>
                        <a:pt x="160" y="115"/>
                      </a:lnTo>
                      <a:lnTo>
                        <a:pt x="129" y="114"/>
                      </a:lnTo>
                      <a:lnTo>
                        <a:pt x="99" y="110"/>
                      </a:lnTo>
                      <a:lnTo>
                        <a:pt x="71" y="105"/>
                      </a:lnTo>
                      <a:lnTo>
                        <a:pt x="47" y="98"/>
                      </a:lnTo>
                      <a:lnTo>
                        <a:pt x="37" y="94"/>
                      </a:lnTo>
                      <a:lnTo>
                        <a:pt x="27" y="89"/>
                      </a:lnTo>
                      <a:lnTo>
                        <a:pt x="19" y="85"/>
                      </a:lnTo>
                      <a:lnTo>
                        <a:pt x="13" y="80"/>
                      </a:lnTo>
                      <a:lnTo>
                        <a:pt x="7" y="75"/>
                      </a:lnTo>
                      <a:lnTo>
                        <a:pt x="3" y="69"/>
                      </a:lnTo>
                      <a:lnTo>
                        <a:pt x="1" y="63"/>
                      </a:lnTo>
                      <a:lnTo>
                        <a:pt x="0" y="58"/>
                      </a:lnTo>
                      <a:lnTo>
                        <a:pt x="0" y="58"/>
                      </a:lnTo>
                      <a:lnTo>
                        <a:pt x="1" y="52"/>
                      </a:lnTo>
                      <a:lnTo>
                        <a:pt x="3" y="46"/>
                      </a:lnTo>
                      <a:lnTo>
                        <a:pt x="7" y="41"/>
                      </a:lnTo>
                      <a:lnTo>
                        <a:pt x="13" y="35"/>
                      </a:lnTo>
                      <a:lnTo>
                        <a:pt x="19" y="30"/>
                      </a:lnTo>
                      <a:lnTo>
                        <a:pt x="27" y="25"/>
                      </a:lnTo>
                      <a:lnTo>
                        <a:pt x="37" y="22"/>
                      </a:lnTo>
                      <a:lnTo>
                        <a:pt x="47" y="17"/>
                      </a:lnTo>
                      <a:lnTo>
                        <a:pt x="71" y="10"/>
                      </a:lnTo>
                      <a:lnTo>
                        <a:pt x="99" y="5"/>
                      </a:lnTo>
                      <a:lnTo>
                        <a:pt x="129" y="1"/>
                      </a:lnTo>
                      <a:lnTo>
                        <a:pt x="160" y="0"/>
                      </a:lnTo>
                      <a:lnTo>
                        <a:pt x="160" y="0"/>
                      </a:lnTo>
                      <a:lnTo>
                        <a:pt x="193" y="1"/>
                      </a:lnTo>
                      <a:lnTo>
                        <a:pt x="223" y="5"/>
                      </a:lnTo>
                      <a:lnTo>
                        <a:pt x="251" y="10"/>
                      </a:lnTo>
                      <a:lnTo>
                        <a:pt x="275" y="17"/>
                      </a:lnTo>
                      <a:lnTo>
                        <a:pt x="285" y="22"/>
                      </a:lnTo>
                      <a:lnTo>
                        <a:pt x="295" y="25"/>
                      </a:lnTo>
                      <a:lnTo>
                        <a:pt x="302" y="30"/>
                      </a:lnTo>
                      <a:lnTo>
                        <a:pt x="309" y="35"/>
                      </a:lnTo>
                      <a:lnTo>
                        <a:pt x="315" y="41"/>
                      </a:lnTo>
                      <a:lnTo>
                        <a:pt x="319" y="46"/>
                      </a:lnTo>
                      <a:lnTo>
                        <a:pt x="321" y="52"/>
                      </a:lnTo>
                      <a:lnTo>
                        <a:pt x="32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43"/>
                <p:cNvSpPr>
                  <a:spLocks/>
                </p:cNvSpPr>
                <p:nvPr/>
              </p:nvSpPr>
              <p:spPr bwMode="auto">
                <a:xfrm>
                  <a:off x="7316595" y="2738611"/>
                  <a:ext cx="108463" cy="49583"/>
                </a:xfrm>
                <a:custGeom>
                  <a:avLst/>
                  <a:gdLst>
                    <a:gd name="T0" fmla="*/ 96 w 138"/>
                    <a:gd name="T1" fmla="*/ 21 h 64"/>
                    <a:gd name="T2" fmla="*/ 101 w 138"/>
                    <a:gd name="T3" fmla="*/ 20 h 64"/>
                    <a:gd name="T4" fmla="*/ 108 w 138"/>
                    <a:gd name="T5" fmla="*/ 15 h 64"/>
                    <a:gd name="T6" fmla="*/ 105 w 138"/>
                    <a:gd name="T7" fmla="*/ 13 h 64"/>
                    <a:gd name="T8" fmla="*/ 101 w 138"/>
                    <a:gd name="T9" fmla="*/ 13 h 64"/>
                    <a:gd name="T10" fmla="*/ 95 w 138"/>
                    <a:gd name="T11" fmla="*/ 14 h 64"/>
                    <a:gd name="T12" fmla="*/ 90 w 138"/>
                    <a:gd name="T13" fmla="*/ 17 h 64"/>
                    <a:gd name="T14" fmla="*/ 88 w 138"/>
                    <a:gd name="T15" fmla="*/ 19 h 64"/>
                    <a:gd name="T16" fmla="*/ 93 w 138"/>
                    <a:gd name="T17" fmla="*/ 30 h 64"/>
                    <a:gd name="T18" fmla="*/ 97 w 138"/>
                    <a:gd name="T19" fmla="*/ 36 h 64"/>
                    <a:gd name="T20" fmla="*/ 99 w 138"/>
                    <a:gd name="T21" fmla="*/ 41 h 64"/>
                    <a:gd name="T22" fmla="*/ 97 w 138"/>
                    <a:gd name="T23" fmla="*/ 48 h 64"/>
                    <a:gd name="T24" fmla="*/ 92 w 138"/>
                    <a:gd name="T25" fmla="*/ 52 h 64"/>
                    <a:gd name="T26" fmla="*/ 85 w 138"/>
                    <a:gd name="T27" fmla="*/ 57 h 64"/>
                    <a:gd name="T28" fmla="*/ 70 w 138"/>
                    <a:gd name="T29" fmla="*/ 61 h 64"/>
                    <a:gd name="T30" fmla="*/ 55 w 138"/>
                    <a:gd name="T31" fmla="*/ 64 h 64"/>
                    <a:gd name="T32" fmla="*/ 46 w 138"/>
                    <a:gd name="T33" fmla="*/ 64 h 64"/>
                    <a:gd name="T34" fmla="*/ 30 w 138"/>
                    <a:gd name="T35" fmla="*/ 61 h 64"/>
                    <a:gd name="T36" fmla="*/ 12 w 138"/>
                    <a:gd name="T37" fmla="*/ 64 h 64"/>
                    <a:gd name="T38" fmla="*/ 11 w 138"/>
                    <a:gd name="T39" fmla="*/ 52 h 64"/>
                    <a:gd name="T40" fmla="*/ 7 w 138"/>
                    <a:gd name="T41" fmla="*/ 49 h 64"/>
                    <a:gd name="T42" fmla="*/ 3 w 138"/>
                    <a:gd name="T43" fmla="*/ 42 h 64"/>
                    <a:gd name="T44" fmla="*/ 3 w 138"/>
                    <a:gd name="T45" fmla="*/ 38 h 64"/>
                    <a:gd name="T46" fmla="*/ 6 w 138"/>
                    <a:gd name="T47" fmla="*/ 31 h 64"/>
                    <a:gd name="T48" fmla="*/ 21 w 138"/>
                    <a:gd name="T49" fmla="*/ 24 h 64"/>
                    <a:gd name="T50" fmla="*/ 51 w 138"/>
                    <a:gd name="T51" fmla="*/ 34 h 64"/>
                    <a:gd name="T52" fmla="*/ 44 w 138"/>
                    <a:gd name="T53" fmla="*/ 37 h 64"/>
                    <a:gd name="T54" fmla="*/ 32 w 138"/>
                    <a:gd name="T55" fmla="*/ 43 h 64"/>
                    <a:gd name="T56" fmla="*/ 33 w 138"/>
                    <a:gd name="T57" fmla="*/ 47 h 64"/>
                    <a:gd name="T58" fmla="*/ 35 w 138"/>
                    <a:gd name="T59" fmla="*/ 48 h 64"/>
                    <a:gd name="T60" fmla="*/ 39 w 138"/>
                    <a:gd name="T61" fmla="*/ 48 h 64"/>
                    <a:gd name="T62" fmla="*/ 45 w 138"/>
                    <a:gd name="T63" fmla="*/ 46 h 64"/>
                    <a:gd name="T64" fmla="*/ 57 w 138"/>
                    <a:gd name="T65" fmla="*/ 40 h 64"/>
                    <a:gd name="T66" fmla="*/ 58 w 138"/>
                    <a:gd name="T67" fmla="*/ 38 h 64"/>
                    <a:gd name="T68" fmla="*/ 57 w 138"/>
                    <a:gd name="T69" fmla="*/ 31 h 64"/>
                    <a:gd name="T70" fmla="*/ 52 w 138"/>
                    <a:gd name="T71" fmla="*/ 19 h 64"/>
                    <a:gd name="T72" fmla="*/ 52 w 138"/>
                    <a:gd name="T73" fmla="*/ 15 h 64"/>
                    <a:gd name="T74" fmla="*/ 55 w 138"/>
                    <a:gd name="T75" fmla="*/ 12 h 64"/>
                    <a:gd name="T76" fmla="*/ 66 w 138"/>
                    <a:gd name="T77" fmla="*/ 5 h 64"/>
                    <a:gd name="T78" fmla="*/ 76 w 138"/>
                    <a:gd name="T79" fmla="*/ 1 h 64"/>
                    <a:gd name="T80" fmla="*/ 88 w 138"/>
                    <a:gd name="T81" fmla="*/ 0 h 64"/>
                    <a:gd name="T82" fmla="*/ 114 w 138"/>
                    <a:gd name="T83" fmla="*/ 5 h 64"/>
                    <a:gd name="T84" fmla="*/ 133 w 138"/>
                    <a:gd name="T85" fmla="*/ 7 h 64"/>
                    <a:gd name="T86" fmla="*/ 126 w 138"/>
                    <a:gd name="T87" fmla="*/ 9 h 64"/>
                    <a:gd name="T88" fmla="*/ 137 w 138"/>
                    <a:gd name="T89" fmla="*/ 18 h 64"/>
                    <a:gd name="T90" fmla="*/ 138 w 138"/>
                    <a:gd name="T91" fmla="*/ 21 h 64"/>
                    <a:gd name="T92" fmla="*/ 136 w 138"/>
                    <a:gd name="T93" fmla="*/ 26 h 64"/>
                    <a:gd name="T94" fmla="*/ 128 w 138"/>
                    <a:gd name="T95" fmla="*/ 32 h 64"/>
                    <a:gd name="T96" fmla="*/ 124 w 138"/>
                    <a:gd name="T97" fmla="*/ 3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64">
                      <a:moveTo>
                        <a:pt x="124" y="34"/>
                      </a:moveTo>
                      <a:lnTo>
                        <a:pt x="96" y="21"/>
                      </a:lnTo>
                      <a:lnTo>
                        <a:pt x="101" y="20"/>
                      </a:lnTo>
                      <a:lnTo>
                        <a:pt x="101" y="20"/>
                      </a:lnTo>
                      <a:lnTo>
                        <a:pt x="108" y="15"/>
                      </a:lnTo>
                      <a:lnTo>
                        <a:pt x="108" y="15"/>
                      </a:lnTo>
                      <a:lnTo>
                        <a:pt x="108" y="14"/>
                      </a:lnTo>
                      <a:lnTo>
                        <a:pt x="105" y="13"/>
                      </a:lnTo>
                      <a:lnTo>
                        <a:pt x="105" y="13"/>
                      </a:lnTo>
                      <a:lnTo>
                        <a:pt x="101" y="13"/>
                      </a:lnTo>
                      <a:lnTo>
                        <a:pt x="101" y="13"/>
                      </a:lnTo>
                      <a:lnTo>
                        <a:pt x="95" y="14"/>
                      </a:lnTo>
                      <a:lnTo>
                        <a:pt x="95" y="14"/>
                      </a:lnTo>
                      <a:lnTo>
                        <a:pt x="90" y="17"/>
                      </a:lnTo>
                      <a:lnTo>
                        <a:pt x="88" y="19"/>
                      </a:lnTo>
                      <a:lnTo>
                        <a:pt x="88" y="19"/>
                      </a:lnTo>
                      <a:lnTo>
                        <a:pt x="90" y="23"/>
                      </a:lnTo>
                      <a:lnTo>
                        <a:pt x="93" y="30"/>
                      </a:lnTo>
                      <a:lnTo>
                        <a:pt x="93" y="30"/>
                      </a:lnTo>
                      <a:lnTo>
                        <a:pt x="97" y="36"/>
                      </a:lnTo>
                      <a:lnTo>
                        <a:pt x="99" y="41"/>
                      </a:lnTo>
                      <a:lnTo>
                        <a:pt x="99" y="41"/>
                      </a:lnTo>
                      <a:lnTo>
                        <a:pt x="99" y="44"/>
                      </a:lnTo>
                      <a:lnTo>
                        <a:pt x="97" y="48"/>
                      </a:lnTo>
                      <a:lnTo>
                        <a:pt x="97" y="48"/>
                      </a:lnTo>
                      <a:lnTo>
                        <a:pt x="92" y="52"/>
                      </a:lnTo>
                      <a:lnTo>
                        <a:pt x="85" y="57"/>
                      </a:lnTo>
                      <a:lnTo>
                        <a:pt x="85" y="57"/>
                      </a:lnTo>
                      <a:lnTo>
                        <a:pt x="78" y="60"/>
                      </a:lnTo>
                      <a:lnTo>
                        <a:pt x="70" y="61"/>
                      </a:lnTo>
                      <a:lnTo>
                        <a:pt x="62" y="64"/>
                      </a:lnTo>
                      <a:lnTo>
                        <a:pt x="55" y="64"/>
                      </a:lnTo>
                      <a:lnTo>
                        <a:pt x="55" y="64"/>
                      </a:lnTo>
                      <a:lnTo>
                        <a:pt x="46" y="64"/>
                      </a:lnTo>
                      <a:lnTo>
                        <a:pt x="39" y="63"/>
                      </a:lnTo>
                      <a:lnTo>
                        <a:pt x="30" y="61"/>
                      </a:lnTo>
                      <a:lnTo>
                        <a:pt x="23" y="59"/>
                      </a:lnTo>
                      <a:lnTo>
                        <a:pt x="12" y="64"/>
                      </a:lnTo>
                      <a:lnTo>
                        <a:pt x="0" y="58"/>
                      </a:lnTo>
                      <a:lnTo>
                        <a:pt x="11" y="52"/>
                      </a:lnTo>
                      <a:lnTo>
                        <a:pt x="11" y="52"/>
                      </a:lnTo>
                      <a:lnTo>
                        <a:pt x="7" y="49"/>
                      </a:lnTo>
                      <a:lnTo>
                        <a:pt x="4" y="46"/>
                      </a:lnTo>
                      <a:lnTo>
                        <a:pt x="3" y="42"/>
                      </a:lnTo>
                      <a:lnTo>
                        <a:pt x="3" y="38"/>
                      </a:lnTo>
                      <a:lnTo>
                        <a:pt x="3" y="38"/>
                      </a:lnTo>
                      <a:lnTo>
                        <a:pt x="4" y="35"/>
                      </a:lnTo>
                      <a:lnTo>
                        <a:pt x="6" y="31"/>
                      </a:lnTo>
                      <a:lnTo>
                        <a:pt x="12" y="28"/>
                      </a:lnTo>
                      <a:lnTo>
                        <a:pt x="21" y="24"/>
                      </a:lnTo>
                      <a:lnTo>
                        <a:pt x="26" y="21"/>
                      </a:lnTo>
                      <a:lnTo>
                        <a:pt x="51" y="34"/>
                      </a:lnTo>
                      <a:lnTo>
                        <a:pt x="44" y="37"/>
                      </a:lnTo>
                      <a:lnTo>
                        <a:pt x="44" y="37"/>
                      </a:lnTo>
                      <a:lnTo>
                        <a:pt x="32" y="43"/>
                      </a:lnTo>
                      <a:lnTo>
                        <a:pt x="32" y="43"/>
                      </a:lnTo>
                      <a:lnTo>
                        <a:pt x="30" y="46"/>
                      </a:lnTo>
                      <a:lnTo>
                        <a:pt x="33" y="47"/>
                      </a:lnTo>
                      <a:lnTo>
                        <a:pt x="33" y="47"/>
                      </a:lnTo>
                      <a:lnTo>
                        <a:pt x="35" y="48"/>
                      </a:lnTo>
                      <a:lnTo>
                        <a:pt x="39" y="48"/>
                      </a:lnTo>
                      <a:lnTo>
                        <a:pt x="39" y="48"/>
                      </a:lnTo>
                      <a:lnTo>
                        <a:pt x="45" y="46"/>
                      </a:lnTo>
                      <a:lnTo>
                        <a:pt x="45" y="46"/>
                      </a:lnTo>
                      <a:lnTo>
                        <a:pt x="52" y="42"/>
                      </a:lnTo>
                      <a:lnTo>
                        <a:pt x="57" y="40"/>
                      </a:lnTo>
                      <a:lnTo>
                        <a:pt x="57" y="40"/>
                      </a:lnTo>
                      <a:lnTo>
                        <a:pt x="58" y="38"/>
                      </a:lnTo>
                      <a:lnTo>
                        <a:pt x="58" y="36"/>
                      </a:lnTo>
                      <a:lnTo>
                        <a:pt x="57" y="31"/>
                      </a:lnTo>
                      <a:lnTo>
                        <a:pt x="57" y="31"/>
                      </a:lnTo>
                      <a:lnTo>
                        <a:pt x="52" y="19"/>
                      </a:lnTo>
                      <a:lnTo>
                        <a:pt x="52" y="19"/>
                      </a:lnTo>
                      <a:lnTo>
                        <a:pt x="52" y="15"/>
                      </a:lnTo>
                      <a:lnTo>
                        <a:pt x="55" y="12"/>
                      </a:lnTo>
                      <a:lnTo>
                        <a:pt x="55" y="12"/>
                      </a:lnTo>
                      <a:lnTo>
                        <a:pt x="58" y="8"/>
                      </a:lnTo>
                      <a:lnTo>
                        <a:pt x="66" y="5"/>
                      </a:lnTo>
                      <a:lnTo>
                        <a:pt x="66" y="5"/>
                      </a:lnTo>
                      <a:lnTo>
                        <a:pt x="76" y="1"/>
                      </a:lnTo>
                      <a:lnTo>
                        <a:pt x="88" y="0"/>
                      </a:lnTo>
                      <a:lnTo>
                        <a:pt x="88" y="0"/>
                      </a:lnTo>
                      <a:lnTo>
                        <a:pt x="101" y="1"/>
                      </a:lnTo>
                      <a:lnTo>
                        <a:pt x="114" y="5"/>
                      </a:lnTo>
                      <a:lnTo>
                        <a:pt x="121" y="2"/>
                      </a:lnTo>
                      <a:lnTo>
                        <a:pt x="133" y="7"/>
                      </a:lnTo>
                      <a:lnTo>
                        <a:pt x="126" y="9"/>
                      </a:lnTo>
                      <a:lnTo>
                        <a:pt x="126" y="9"/>
                      </a:lnTo>
                      <a:lnTo>
                        <a:pt x="134" y="15"/>
                      </a:lnTo>
                      <a:lnTo>
                        <a:pt x="137" y="18"/>
                      </a:lnTo>
                      <a:lnTo>
                        <a:pt x="138" y="21"/>
                      </a:lnTo>
                      <a:lnTo>
                        <a:pt x="138" y="21"/>
                      </a:lnTo>
                      <a:lnTo>
                        <a:pt x="138" y="24"/>
                      </a:lnTo>
                      <a:lnTo>
                        <a:pt x="136" y="26"/>
                      </a:lnTo>
                      <a:lnTo>
                        <a:pt x="133" y="29"/>
                      </a:lnTo>
                      <a:lnTo>
                        <a:pt x="128" y="32"/>
                      </a:lnTo>
                      <a:lnTo>
                        <a:pt x="128" y="32"/>
                      </a:lnTo>
                      <a:lnTo>
                        <a:pt x="124" y="34"/>
                      </a:lnTo>
                      <a:close/>
                    </a:path>
                  </a:pathLst>
                </a:custGeom>
                <a:solidFill>
                  <a:srgbClr val="E49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44"/>
                <p:cNvSpPr>
                  <a:spLocks/>
                </p:cNvSpPr>
                <p:nvPr/>
              </p:nvSpPr>
              <p:spPr bwMode="auto">
                <a:xfrm>
                  <a:off x="7316595" y="2738611"/>
                  <a:ext cx="108463" cy="49583"/>
                </a:xfrm>
                <a:custGeom>
                  <a:avLst/>
                  <a:gdLst>
                    <a:gd name="T0" fmla="*/ 96 w 138"/>
                    <a:gd name="T1" fmla="*/ 21 h 64"/>
                    <a:gd name="T2" fmla="*/ 101 w 138"/>
                    <a:gd name="T3" fmla="*/ 20 h 64"/>
                    <a:gd name="T4" fmla="*/ 108 w 138"/>
                    <a:gd name="T5" fmla="*/ 15 h 64"/>
                    <a:gd name="T6" fmla="*/ 105 w 138"/>
                    <a:gd name="T7" fmla="*/ 13 h 64"/>
                    <a:gd name="T8" fmla="*/ 101 w 138"/>
                    <a:gd name="T9" fmla="*/ 13 h 64"/>
                    <a:gd name="T10" fmla="*/ 95 w 138"/>
                    <a:gd name="T11" fmla="*/ 14 h 64"/>
                    <a:gd name="T12" fmla="*/ 90 w 138"/>
                    <a:gd name="T13" fmla="*/ 17 h 64"/>
                    <a:gd name="T14" fmla="*/ 88 w 138"/>
                    <a:gd name="T15" fmla="*/ 19 h 64"/>
                    <a:gd name="T16" fmla="*/ 93 w 138"/>
                    <a:gd name="T17" fmla="*/ 30 h 64"/>
                    <a:gd name="T18" fmla="*/ 97 w 138"/>
                    <a:gd name="T19" fmla="*/ 36 h 64"/>
                    <a:gd name="T20" fmla="*/ 99 w 138"/>
                    <a:gd name="T21" fmla="*/ 41 h 64"/>
                    <a:gd name="T22" fmla="*/ 97 w 138"/>
                    <a:gd name="T23" fmla="*/ 48 h 64"/>
                    <a:gd name="T24" fmla="*/ 92 w 138"/>
                    <a:gd name="T25" fmla="*/ 52 h 64"/>
                    <a:gd name="T26" fmla="*/ 85 w 138"/>
                    <a:gd name="T27" fmla="*/ 57 h 64"/>
                    <a:gd name="T28" fmla="*/ 70 w 138"/>
                    <a:gd name="T29" fmla="*/ 61 h 64"/>
                    <a:gd name="T30" fmla="*/ 55 w 138"/>
                    <a:gd name="T31" fmla="*/ 64 h 64"/>
                    <a:gd name="T32" fmla="*/ 46 w 138"/>
                    <a:gd name="T33" fmla="*/ 64 h 64"/>
                    <a:gd name="T34" fmla="*/ 30 w 138"/>
                    <a:gd name="T35" fmla="*/ 61 h 64"/>
                    <a:gd name="T36" fmla="*/ 12 w 138"/>
                    <a:gd name="T37" fmla="*/ 64 h 64"/>
                    <a:gd name="T38" fmla="*/ 11 w 138"/>
                    <a:gd name="T39" fmla="*/ 52 h 64"/>
                    <a:gd name="T40" fmla="*/ 7 w 138"/>
                    <a:gd name="T41" fmla="*/ 49 h 64"/>
                    <a:gd name="T42" fmla="*/ 3 w 138"/>
                    <a:gd name="T43" fmla="*/ 42 h 64"/>
                    <a:gd name="T44" fmla="*/ 3 w 138"/>
                    <a:gd name="T45" fmla="*/ 38 h 64"/>
                    <a:gd name="T46" fmla="*/ 6 w 138"/>
                    <a:gd name="T47" fmla="*/ 31 h 64"/>
                    <a:gd name="T48" fmla="*/ 21 w 138"/>
                    <a:gd name="T49" fmla="*/ 24 h 64"/>
                    <a:gd name="T50" fmla="*/ 51 w 138"/>
                    <a:gd name="T51" fmla="*/ 34 h 64"/>
                    <a:gd name="T52" fmla="*/ 44 w 138"/>
                    <a:gd name="T53" fmla="*/ 37 h 64"/>
                    <a:gd name="T54" fmla="*/ 32 w 138"/>
                    <a:gd name="T55" fmla="*/ 43 h 64"/>
                    <a:gd name="T56" fmla="*/ 33 w 138"/>
                    <a:gd name="T57" fmla="*/ 47 h 64"/>
                    <a:gd name="T58" fmla="*/ 35 w 138"/>
                    <a:gd name="T59" fmla="*/ 48 h 64"/>
                    <a:gd name="T60" fmla="*/ 39 w 138"/>
                    <a:gd name="T61" fmla="*/ 48 h 64"/>
                    <a:gd name="T62" fmla="*/ 45 w 138"/>
                    <a:gd name="T63" fmla="*/ 46 h 64"/>
                    <a:gd name="T64" fmla="*/ 57 w 138"/>
                    <a:gd name="T65" fmla="*/ 40 h 64"/>
                    <a:gd name="T66" fmla="*/ 58 w 138"/>
                    <a:gd name="T67" fmla="*/ 38 h 64"/>
                    <a:gd name="T68" fmla="*/ 57 w 138"/>
                    <a:gd name="T69" fmla="*/ 31 h 64"/>
                    <a:gd name="T70" fmla="*/ 52 w 138"/>
                    <a:gd name="T71" fmla="*/ 19 h 64"/>
                    <a:gd name="T72" fmla="*/ 52 w 138"/>
                    <a:gd name="T73" fmla="*/ 15 h 64"/>
                    <a:gd name="T74" fmla="*/ 55 w 138"/>
                    <a:gd name="T75" fmla="*/ 12 h 64"/>
                    <a:gd name="T76" fmla="*/ 66 w 138"/>
                    <a:gd name="T77" fmla="*/ 5 h 64"/>
                    <a:gd name="T78" fmla="*/ 76 w 138"/>
                    <a:gd name="T79" fmla="*/ 1 h 64"/>
                    <a:gd name="T80" fmla="*/ 88 w 138"/>
                    <a:gd name="T81" fmla="*/ 0 h 64"/>
                    <a:gd name="T82" fmla="*/ 114 w 138"/>
                    <a:gd name="T83" fmla="*/ 5 h 64"/>
                    <a:gd name="T84" fmla="*/ 133 w 138"/>
                    <a:gd name="T85" fmla="*/ 7 h 64"/>
                    <a:gd name="T86" fmla="*/ 126 w 138"/>
                    <a:gd name="T87" fmla="*/ 9 h 64"/>
                    <a:gd name="T88" fmla="*/ 137 w 138"/>
                    <a:gd name="T89" fmla="*/ 18 h 64"/>
                    <a:gd name="T90" fmla="*/ 138 w 138"/>
                    <a:gd name="T91" fmla="*/ 21 h 64"/>
                    <a:gd name="T92" fmla="*/ 136 w 138"/>
                    <a:gd name="T93" fmla="*/ 26 h 64"/>
                    <a:gd name="T94" fmla="*/ 128 w 138"/>
                    <a:gd name="T95" fmla="*/ 32 h 64"/>
                    <a:gd name="T96" fmla="*/ 124 w 138"/>
                    <a:gd name="T97" fmla="*/ 3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64">
                      <a:moveTo>
                        <a:pt x="124" y="34"/>
                      </a:moveTo>
                      <a:lnTo>
                        <a:pt x="96" y="21"/>
                      </a:lnTo>
                      <a:lnTo>
                        <a:pt x="101" y="20"/>
                      </a:lnTo>
                      <a:lnTo>
                        <a:pt x="101" y="20"/>
                      </a:lnTo>
                      <a:lnTo>
                        <a:pt x="108" y="15"/>
                      </a:lnTo>
                      <a:lnTo>
                        <a:pt x="108" y="15"/>
                      </a:lnTo>
                      <a:lnTo>
                        <a:pt x="108" y="14"/>
                      </a:lnTo>
                      <a:lnTo>
                        <a:pt x="105" y="13"/>
                      </a:lnTo>
                      <a:lnTo>
                        <a:pt x="105" y="13"/>
                      </a:lnTo>
                      <a:lnTo>
                        <a:pt x="101" y="13"/>
                      </a:lnTo>
                      <a:lnTo>
                        <a:pt x="101" y="13"/>
                      </a:lnTo>
                      <a:lnTo>
                        <a:pt x="95" y="14"/>
                      </a:lnTo>
                      <a:lnTo>
                        <a:pt x="95" y="14"/>
                      </a:lnTo>
                      <a:lnTo>
                        <a:pt x="90" y="17"/>
                      </a:lnTo>
                      <a:lnTo>
                        <a:pt x="88" y="19"/>
                      </a:lnTo>
                      <a:lnTo>
                        <a:pt x="88" y="19"/>
                      </a:lnTo>
                      <a:lnTo>
                        <a:pt x="90" y="23"/>
                      </a:lnTo>
                      <a:lnTo>
                        <a:pt x="93" y="30"/>
                      </a:lnTo>
                      <a:lnTo>
                        <a:pt x="93" y="30"/>
                      </a:lnTo>
                      <a:lnTo>
                        <a:pt x="97" y="36"/>
                      </a:lnTo>
                      <a:lnTo>
                        <a:pt x="99" y="41"/>
                      </a:lnTo>
                      <a:lnTo>
                        <a:pt x="99" y="41"/>
                      </a:lnTo>
                      <a:lnTo>
                        <a:pt x="99" y="44"/>
                      </a:lnTo>
                      <a:lnTo>
                        <a:pt x="97" y="48"/>
                      </a:lnTo>
                      <a:lnTo>
                        <a:pt x="97" y="48"/>
                      </a:lnTo>
                      <a:lnTo>
                        <a:pt x="92" y="52"/>
                      </a:lnTo>
                      <a:lnTo>
                        <a:pt x="85" y="57"/>
                      </a:lnTo>
                      <a:lnTo>
                        <a:pt x="85" y="57"/>
                      </a:lnTo>
                      <a:lnTo>
                        <a:pt x="78" y="60"/>
                      </a:lnTo>
                      <a:lnTo>
                        <a:pt x="70" y="61"/>
                      </a:lnTo>
                      <a:lnTo>
                        <a:pt x="62" y="64"/>
                      </a:lnTo>
                      <a:lnTo>
                        <a:pt x="55" y="64"/>
                      </a:lnTo>
                      <a:lnTo>
                        <a:pt x="55" y="64"/>
                      </a:lnTo>
                      <a:lnTo>
                        <a:pt x="46" y="64"/>
                      </a:lnTo>
                      <a:lnTo>
                        <a:pt x="39" y="63"/>
                      </a:lnTo>
                      <a:lnTo>
                        <a:pt x="30" y="61"/>
                      </a:lnTo>
                      <a:lnTo>
                        <a:pt x="23" y="59"/>
                      </a:lnTo>
                      <a:lnTo>
                        <a:pt x="12" y="64"/>
                      </a:lnTo>
                      <a:lnTo>
                        <a:pt x="0" y="58"/>
                      </a:lnTo>
                      <a:lnTo>
                        <a:pt x="11" y="52"/>
                      </a:lnTo>
                      <a:lnTo>
                        <a:pt x="11" y="52"/>
                      </a:lnTo>
                      <a:lnTo>
                        <a:pt x="7" y="49"/>
                      </a:lnTo>
                      <a:lnTo>
                        <a:pt x="4" y="46"/>
                      </a:lnTo>
                      <a:lnTo>
                        <a:pt x="3" y="42"/>
                      </a:lnTo>
                      <a:lnTo>
                        <a:pt x="3" y="38"/>
                      </a:lnTo>
                      <a:lnTo>
                        <a:pt x="3" y="38"/>
                      </a:lnTo>
                      <a:lnTo>
                        <a:pt x="4" y="35"/>
                      </a:lnTo>
                      <a:lnTo>
                        <a:pt x="6" y="31"/>
                      </a:lnTo>
                      <a:lnTo>
                        <a:pt x="12" y="28"/>
                      </a:lnTo>
                      <a:lnTo>
                        <a:pt x="21" y="24"/>
                      </a:lnTo>
                      <a:lnTo>
                        <a:pt x="26" y="21"/>
                      </a:lnTo>
                      <a:lnTo>
                        <a:pt x="51" y="34"/>
                      </a:lnTo>
                      <a:lnTo>
                        <a:pt x="44" y="37"/>
                      </a:lnTo>
                      <a:lnTo>
                        <a:pt x="44" y="37"/>
                      </a:lnTo>
                      <a:lnTo>
                        <a:pt x="32" y="43"/>
                      </a:lnTo>
                      <a:lnTo>
                        <a:pt x="32" y="43"/>
                      </a:lnTo>
                      <a:lnTo>
                        <a:pt x="30" y="46"/>
                      </a:lnTo>
                      <a:lnTo>
                        <a:pt x="33" y="47"/>
                      </a:lnTo>
                      <a:lnTo>
                        <a:pt x="33" y="47"/>
                      </a:lnTo>
                      <a:lnTo>
                        <a:pt x="35" y="48"/>
                      </a:lnTo>
                      <a:lnTo>
                        <a:pt x="39" y="48"/>
                      </a:lnTo>
                      <a:lnTo>
                        <a:pt x="39" y="48"/>
                      </a:lnTo>
                      <a:lnTo>
                        <a:pt x="45" y="46"/>
                      </a:lnTo>
                      <a:lnTo>
                        <a:pt x="45" y="46"/>
                      </a:lnTo>
                      <a:lnTo>
                        <a:pt x="52" y="42"/>
                      </a:lnTo>
                      <a:lnTo>
                        <a:pt x="57" y="40"/>
                      </a:lnTo>
                      <a:lnTo>
                        <a:pt x="57" y="40"/>
                      </a:lnTo>
                      <a:lnTo>
                        <a:pt x="58" y="38"/>
                      </a:lnTo>
                      <a:lnTo>
                        <a:pt x="58" y="36"/>
                      </a:lnTo>
                      <a:lnTo>
                        <a:pt x="57" y="31"/>
                      </a:lnTo>
                      <a:lnTo>
                        <a:pt x="57" y="31"/>
                      </a:lnTo>
                      <a:lnTo>
                        <a:pt x="52" y="19"/>
                      </a:lnTo>
                      <a:lnTo>
                        <a:pt x="52" y="19"/>
                      </a:lnTo>
                      <a:lnTo>
                        <a:pt x="52" y="15"/>
                      </a:lnTo>
                      <a:lnTo>
                        <a:pt x="55" y="12"/>
                      </a:lnTo>
                      <a:lnTo>
                        <a:pt x="55" y="12"/>
                      </a:lnTo>
                      <a:lnTo>
                        <a:pt x="58" y="8"/>
                      </a:lnTo>
                      <a:lnTo>
                        <a:pt x="66" y="5"/>
                      </a:lnTo>
                      <a:lnTo>
                        <a:pt x="66" y="5"/>
                      </a:lnTo>
                      <a:lnTo>
                        <a:pt x="76" y="1"/>
                      </a:lnTo>
                      <a:lnTo>
                        <a:pt x="88" y="0"/>
                      </a:lnTo>
                      <a:lnTo>
                        <a:pt x="88" y="0"/>
                      </a:lnTo>
                      <a:lnTo>
                        <a:pt x="101" y="1"/>
                      </a:lnTo>
                      <a:lnTo>
                        <a:pt x="114" y="5"/>
                      </a:lnTo>
                      <a:lnTo>
                        <a:pt x="121" y="2"/>
                      </a:lnTo>
                      <a:lnTo>
                        <a:pt x="133" y="7"/>
                      </a:lnTo>
                      <a:lnTo>
                        <a:pt x="126" y="9"/>
                      </a:lnTo>
                      <a:lnTo>
                        <a:pt x="126" y="9"/>
                      </a:lnTo>
                      <a:lnTo>
                        <a:pt x="134" y="15"/>
                      </a:lnTo>
                      <a:lnTo>
                        <a:pt x="137" y="18"/>
                      </a:lnTo>
                      <a:lnTo>
                        <a:pt x="138" y="21"/>
                      </a:lnTo>
                      <a:lnTo>
                        <a:pt x="138" y="21"/>
                      </a:lnTo>
                      <a:lnTo>
                        <a:pt x="138" y="24"/>
                      </a:lnTo>
                      <a:lnTo>
                        <a:pt x="136" y="26"/>
                      </a:lnTo>
                      <a:lnTo>
                        <a:pt x="133" y="29"/>
                      </a:lnTo>
                      <a:lnTo>
                        <a:pt x="128" y="32"/>
                      </a:lnTo>
                      <a:lnTo>
                        <a:pt x="128" y="32"/>
                      </a:lnTo>
                      <a:lnTo>
                        <a:pt x="124"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45"/>
                <p:cNvSpPr>
                  <a:spLocks/>
                </p:cNvSpPr>
                <p:nvPr/>
              </p:nvSpPr>
              <p:spPr bwMode="auto">
                <a:xfrm>
                  <a:off x="7431254" y="2732413"/>
                  <a:ext cx="251013" cy="96068"/>
                </a:xfrm>
                <a:custGeom>
                  <a:avLst/>
                  <a:gdLst>
                    <a:gd name="T0" fmla="*/ 159 w 324"/>
                    <a:gd name="T1" fmla="*/ 2 h 123"/>
                    <a:gd name="T2" fmla="*/ 159 w 324"/>
                    <a:gd name="T3" fmla="*/ 2 h 123"/>
                    <a:gd name="T4" fmla="*/ 185 w 324"/>
                    <a:gd name="T5" fmla="*/ 8 h 123"/>
                    <a:gd name="T6" fmla="*/ 213 w 324"/>
                    <a:gd name="T7" fmla="*/ 16 h 123"/>
                    <a:gd name="T8" fmla="*/ 239 w 324"/>
                    <a:gd name="T9" fmla="*/ 24 h 123"/>
                    <a:gd name="T10" fmla="*/ 266 w 324"/>
                    <a:gd name="T11" fmla="*/ 34 h 123"/>
                    <a:gd name="T12" fmla="*/ 307 w 324"/>
                    <a:gd name="T13" fmla="*/ 49 h 123"/>
                    <a:gd name="T14" fmla="*/ 324 w 324"/>
                    <a:gd name="T15" fmla="*/ 57 h 123"/>
                    <a:gd name="T16" fmla="*/ 319 w 324"/>
                    <a:gd name="T17" fmla="*/ 88 h 123"/>
                    <a:gd name="T18" fmla="*/ 319 w 324"/>
                    <a:gd name="T19" fmla="*/ 88 h 123"/>
                    <a:gd name="T20" fmla="*/ 319 w 324"/>
                    <a:gd name="T21" fmla="*/ 91 h 123"/>
                    <a:gd name="T22" fmla="*/ 317 w 324"/>
                    <a:gd name="T23" fmla="*/ 95 h 123"/>
                    <a:gd name="T24" fmla="*/ 315 w 324"/>
                    <a:gd name="T25" fmla="*/ 99 h 123"/>
                    <a:gd name="T26" fmla="*/ 312 w 324"/>
                    <a:gd name="T27" fmla="*/ 104 h 123"/>
                    <a:gd name="T28" fmla="*/ 307 w 324"/>
                    <a:gd name="T29" fmla="*/ 107 h 123"/>
                    <a:gd name="T30" fmla="*/ 301 w 324"/>
                    <a:gd name="T31" fmla="*/ 111 h 123"/>
                    <a:gd name="T32" fmla="*/ 292 w 324"/>
                    <a:gd name="T33" fmla="*/ 115 h 123"/>
                    <a:gd name="T34" fmla="*/ 283 w 324"/>
                    <a:gd name="T35" fmla="*/ 118 h 123"/>
                    <a:gd name="T36" fmla="*/ 269 w 324"/>
                    <a:gd name="T37" fmla="*/ 121 h 123"/>
                    <a:gd name="T38" fmla="*/ 252 w 324"/>
                    <a:gd name="T39" fmla="*/ 122 h 123"/>
                    <a:gd name="T40" fmla="*/ 234 w 324"/>
                    <a:gd name="T41" fmla="*/ 123 h 123"/>
                    <a:gd name="T42" fmla="*/ 211 w 324"/>
                    <a:gd name="T43" fmla="*/ 122 h 123"/>
                    <a:gd name="T44" fmla="*/ 186 w 324"/>
                    <a:gd name="T45" fmla="*/ 120 h 123"/>
                    <a:gd name="T46" fmla="*/ 156 w 324"/>
                    <a:gd name="T47" fmla="*/ 116 h 123"/>
                    <a:gd name="T48" fmla="*/ 145 w 324"/>
                    <a:gd name="T49" fmla="*/ 115 h 123"/>
                    <a:gd name="T50" fmla="*/ 145 w 324"/>
                    <a:gd name="T51" fmla="*/ 115 h 123"/>
                    <a:gd name="T52" fmla="*/ 119 w 324"/>
                    <a:gd name="T53" fmla="*/ 109 h 123"/>
                    <a:gd name="T54" fmla="*/ 96 w 324"/>
                    <a:gd name="T55" fmla="*/ 103 h 123"/>
                    <a:gd name="T56" fmla="*/ 77 w 324"/>
                    <a:gd name="T57" fmla="*/ 95 h 123"/>
                    <a:gd name="T58" fmla="*/ 61 w 324"/>
                    <a:gd name="T59" fmla="*/ 89 h 123"/>
                    <a:gd name="T60" fmla="*/ 47 w 324"/>
                    <a:gd name="T61" fmla="*/ 83 h 123"/>
                    <a:gd name="T62" fmla="*/ 35 w 324"/>
                    <a:gd name="T63" fmla="*/ 78 h 123"/>
                    <a:gd name="T64" fmla="*/ 25 w 324"/>
                    <a:gd name="T65" fmla="*/ 72 h 123"/>
                    <a:gd name="T66" fmla="*/ 18 w 324"/>
                    <a:gd name="T67" fmla="*/ 68 h 123"/>
                    <a:gd name="T68" fmla="*/ 12 w 324"/>
                    <a:gd name="T69" fmla="*/ 61 h 123"/>
                    <a:gd name="T70" fmla="*/ 7 w 324"/>
                    <a:gd name="T71" fmla="*/ 58 h 123"/>
                    <a:gd name="T72" fmla="*/ 2 w 324"/>
                    <a:gd name="T73" fmla="*/ 49 h 123"/>
                    <a:gd name="T74" fmla="*/ 0 w 324"/>
                    <a:gd name="T75" fmla="*/ 43 h 123"/>
                    <a:gd name="T76" fmla="*/ 0 w 324"/>
                    <a:gd name="T77" fmla="*/ 41 h 123"/>
                    <a:gd name="T78" fmla="*/ 0 w 324"/>
                    <a:gd name="T79" fmla="*/ 41 h 123"/>
                    <a:gd name="T80" fmla="*/ 7 w 324"/>
                    <a:gd name="T81" fmla="*/ 5 h 123"/>
                    <a:gd name="T82" fmla="*/ 7 w 324"/>
                    <a:gd name="T83" fmla="*/ 5 h 123"/>
                    <a:gd name="T84" fmla="*/ 23 w 324"/>
                    <a:gd name="T85" fmla="*/ 2 h 123"/>
                    <a:gd name="T86" fmla="*/ 64 w 324"/>
                    <a:gd name="T87" fmla="*/ 0 h 123"/>
                    <a:gd name="T88" fmla="*/ 89 w 324"/>
                    <a:gd name="T89" fmla="*/ 0 h 123"/>
                    <a:gd name="T90" fmla="*/ 116 w 324"/>
                    <a:gd name="T91" fmla="*/ 0 h 123"/>
                    <a:gd name="T92" fmla="*/ 144 w 324"/>
                    <a:gd name="T93" fmla="*/ 1 h 123"/>
                    <a:gd name="T94" fmla="*/ 168 w 324"/>
                    <a:gd name="T95" fmla="*/ 5 h 123"/>
                    <a:gd name="T96" fmla="*/ 159 w 324"/>
                    <a:gd name="T97"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 h="123">
                      <a:moveTo>
                        <a:pt x="159" y="2"/>
                      </a:moveTo>
                      <a:lnTo>
                        <a:pt x="159" y="2"/>
                      </a:lnTo>
                      <a:lnTo>
                        <a:pt x="185" y="8"/>
                      </a:lnTo>
                      <a:lnTo>
                        <a:pt x="213" y="16"/>
                      </a:lnTo>
                      <a:lnTo>
                        <a:pt x="239" y="24"/>
                      </a:lnTo>
                      <a:lnTo>
                        <a:pt x="266" y="34"/>
                      </a:lnTo>
                      <a:lnTo>
                        <a:pt x="307" y="49"/>
                      </a:lnTo>
                      <a:lnTo>
                        <a:pt x="324" y="57"/>
                      </a:lnTo>
                      <a:lnTo>
                        <a:pt x="319" y="88"/>
                      </a:lnTo>
                      <a:lnTo>
                        <a:pt x="319" y="88"/>
                      </a:lnTo>
                      <a:lnTo>
                        <a:pt x="319" y="91"/>
                      </a:lnTo>
                      <a:lnTo>
                        <a:pt x="317" y="95"/>
                      </a:lnTo>
                      <a:lnTo>
                        <a:pt x="315" y="99"/>
                      </a:lnTo>
                      <a:lnTo>
                        <a:pt x="312" y="104"/>
                      </a:lnTo>
                      <a:lnTo>
                        <a:pt x="307" y="107"/>
                      </a:lnTo>
                      <a:lnTo>
                        <a:pt x="301" y="111"/>
                      </a:lnTo>
                      <a:lnTo>
                        <a:pt x="292" y="115"/>
                      </a:lnTo>
                      <a:lnTo>
                        <a:pt x="283" y="118"/>
                      </a:lnTo>
                      <a:lnTo>
                        <a:pt x="269" y="121"/>
                      </a:lnTo>
                      <a:lnTo>
                        <a:pt x="252" y="122"/>
                      </a:lnTo>
                      <a:lnTo>
                        <a:pt x="234" y="123"/>
                      </a:lnTo>
                      <a:lnTo>
                        <a:pt x="211" y="122"/>
                      </a:lnTo>
                      <a:lnTo>
                        <a:pt x="186" y="120"/>
                      </a:lnTo>
                      <a:lnTo>
                        <a:pt x="156" y="116"/>
                      </a:lnTo>
                      <a:lnTo>
                        <a:pt x="145" y="115"/>
                      </a:lnTo>
                      <a:lnTo>
                        <a:pt x="145" y="115"/>
                      </a:lnTo>
                      <a:lnTo>
                        <a:pt x="119" y="109"/>
                      </a:lnTo>
                      <a:lnTo>
                        <a:pt x="96" y="103"/>
                      </a:lnTo>
                      <a:lnTo>
                        <a:pt x="77" y="95"/>
                      </a:lnTo>
                      <a:lnTo>
                        <a:pt x="61" y="89"/>
                      </a:lnTo>
                      <a:lnTo>
                        <a:pt x="47" y="83"/>
                      </a:lnTo>
                      <a:lnTo>
                        <a:pt x="35" y="78"/>
                      </a:lnTo>
                      <a:lnTo>
                        <a:pt x="25" y="72"/>
                      </a:lnTo>
                      <a:lnTo>
                        <a:pt x="18" y="68"/>
                      </a:lnTo>
                      <a:lnTo>
                        <a:pt x="12" y="61"/>
                      </a:lnTo>
                      <a:lnTo>
                        <a:pt x="7" y="58"/>
                      </a:lnTo>
                      <a:lnTo>
                        <a:pt x="2" y="49"/>
                      </a:lnTo>
                      <a:lnTo>
                        <a:pt x="0" y="43"/>
                      </a:lnTo>
                      <a:lnTo>
                        <a:pt x="0" y="41"/>
                      </a:lnTo>
                      <a:lnTo>
                        <a:pt x="0" y="41"/>
                      </a:lnTo>
                      <a:lnTo>
                        <a:pt x="7" y="5"/>
                      </a:lnTo>
                      <a:lnTo>
                        <a:pt x="7" y="5"/>
                      </a:lnTo>
                      <a:lnTo>
                        <a:pt x="23" y="2"/>
                      </a:lnTo>
                      <a:lnTo>
                        <a:pt x="64" y="0"/>
                      </a:lnTo>
                      <a:lnTo>
                        <a:pt x="89" y="0"/>
                      </a:lnTo>
                      <a:lnTo>
                        <a:pt x="116" y="0"/>
                      </a:lnTo>
                      <a:lnTo>
                        <a:pt x="144" y="1"/>
                      </a:lnTo>
                      <a:lnTo>
                        <a:pt x="168" y="5"/>
                      </a:lnTo>
                      <a:lnTo>
                        <a:pt x="159" y="2"/>
                      </a:lnTo>
                      <a:close/>
                    </a:path>
                  </a:pathLst>
                </a:custGeom>
                <a:solidFill>
                  <a:srgbClr val="E089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646"/>
                <p:cNvSpPr>
                  <a:spLocks/>
                </p:cNvSpPr>
                <p:nvPr/>
              </p:nvSpPr>
              <p:spPr bwMode="auto">
                <a:xfrm>
                  <a:off x="7431254" y="2732413"/>
                  <a:ext cx="251013" cy="96068"/>
                </a:xfrm>
                <a:custGeom>
                  <a:avLst/>
                  <a:gdLst>
                    <a:gd name="T0" fmla="*/ 159 w 324"/>
                    <a:gd name="T1" fmla="*/ 2 h 123"/>
                    <a:gd name="T2" fmla="*/ 159 w 324"/>
                    <a:gd name="T3" fmla="*/ 2 h 123"/>
                    <a:gd name="T4" fmla="*/ 185 w 324"/>
                    <a:gd name="T5" fmla="*/ 8 h 123"/>
                    <a:gd name="T6" fmla="*/ 213 w 324"/>
                    <a:gd name="T7" fmla="*/ 16 h 123"/>
                    <a:gd name="T8" fmla="*/ 239 w 324"/>
                    <a:gd name="T9" fmla="*/ 24 h 123"/>
                    <a:gd name="T10" fmla="*/ 266 w 324"/>
                    <a:gd name="T11" fmla="*/ 34 h 123"/>
                    <a:gd name="T12" fmla="*/ 307 w 324"/>
                    <a:gd name="T13" fmla="*/ 49 h 123"/>
                    <a:gd name="T14" fmla="*/ 324 w 324"/>
                    <a:gd name="T15" fmla="*/ 57 h 123"/>
                    <a:gd name="T16" fmla="*/ 319 w 324"/>
                    <a:gd name="T17" fmla="*/ 88 h 123"/>
                    <a:gd name="T18" fmla="*/ 319 w 324"/>
                    <a:gd name="T19" fmla="*/ 88 h 123"/>
                    <a:gd name="T20" fmla="*/ 319 w 324"/>
                    <a:gd name="T21" fmla="*/ 91 h 123"/>
                    <a:gd name="T22" fmla="*/ 317 w 324"/>
                    <a:gd name="T23" fmla="*/ 95 h 123"/>
                    <a:gd name="T24" fmla="*/ 315 w 324"/>
                    <a:gd name="T25" fmla="*/ 99 h 123"/>
                    <a:gd name="T26" fmla="*/ 312 w 324"/>
                    <a:gd name="T27" fmla="*/ 104 h 123"/>
                    <a:gd name="T28" fmla="*/ 307 w 324"/>
                    <a:gd name="T29" fmla="*/ 107 h 123"/>
                    <a:gd name="T30" fmla="*/ 301 w 324"/>
                    <a:gd name="T31" fmla="*/ 111 h 123"/>
                    <a:gd name="T32" fmla="*/ 292 w 324"/>
                    <a:gd name="T33" fmla="*/ 115 h 123"/>
                    <a:gd name="T34" fmla="*/ 283 w 324"/>
                    <a:gd name="T35" fmla="*/ 118 h 123"/>
                    <a:gd name="T36" fmla="*/ 269 w 324"/>
                    <a:gd name="T37" fmla="*/ 121 h 123"/>
                    <a:gd name="T38" fmla="*/ 252 w 324"/>
                    <a:gd name="T39" fmla="*/ 122 h 123"/>
                    <a:gd name="T40" fmla="*/ 234 w 324"/>
                    <a:gd name="T41" fmla="*/ 123 h 123"/>
                    <a:gd name="T42" fmla="*/ 211 w 324"/>
                    <a:gd name="T43" fmla="*/ 122 h 123"/>
                    <a:gd name="T44" fmla="*/ 186 w 324"/>
                    <a:gd name="T45" fmla="*/ 120 h 123"/>
                    <a:gd name="T46" fmla="*/ 156 w 324"/>
                    <a:gd name="T47" fmla="*/ 116 h 123"/>
                    <a:gd name="T48" fmla="*/ 145 w 324"/>
                    <a:gd name="T49" fmla="*/ 115 h 123"/>
                    <a:gd name="T50" fmla="*/ 145 w 324"/>
                    <a:gd name="T51" fmla="*/ 115 h 123"/>
                    <a:gd name="T52" fmla="*/ 119 w 324"/>
                    <a:gd name="T53" fmla="*/ 109 h 123"/>
                    <a:gd name="T54" fmla="*/ 96 w 324"/>
                    <a:gd name="T55" fmla="*/ 103 h 123"/>
                    <a:gd name="T56" fmla="*/ 77 w 324"/>
                    <a:gd name="T57" fmla="*/ 95 h 123"/>
                    <a:gd name="T58" fmla="*/ 61 w 324"/>
                    <a:gd name="T59" fmla="*/ 89 h 123"/>
                    <a:gd name="T60" fmla="*/ 47 w 324"/>
                    <a:gd name="T61" fmla="*/ 83 h 123"/>
                    <a:gd name="T62" fmla="*/ 35 w 324"/>
                    <a:gd name="T63" fmla="*/ 78 h 123"/>
                    <a:gd name="T64" fmla="*/ 25 w 324"/>
                    <a:gd name="T65" fmla="*/ 72 h 123"/>
                    <a:gd name="T66" fmla="*/ 18 w 324"/>
                    <a:gd name="T67" fmla="*/ 68 h 123"/>
                    <a:gd name="T68" fmla="*/ 12 w 324"/>
                    <a:gd name="T69" fmla="*/ 61 h 123"/>
                    <a:gd name="T70" fmla="*/ 7 w 324"/>
                    <a:gd name="T71" fmla="*/ 58 h 123"/>
                    <a:gd name="T72" fmla="*/ 2 w 324"/>
                    <a:gd name="T73" fmla="*/ 49 h 123"/>
                    <a:gd name="T74" fmla="*/ 0 w 324"/>
                    <a:gd name="T75" fmla="*/ 43 h 123"/>
                    <a:gd name="T76" fmla="*/ 0 w 324"/>
                    <a:gd name="T77" fmla="*/ 41 h 123"/>
                    <a:gd name="T78" fmla="*/ 0 w 324"/>
                    <a:gd name="T79" fmla="*/ 41 h 123"/>
                    <a:gd name="T80" fmla="*/ 7 w 324"/>
                    <a:gd name="T81" fmla="*/ 5 h 123"/>
                    <a:gd name="T82" fmla="*/ 7 w 324"/>
                    <a:gd name="T83" fmla="*/ 5 h 123"/>
                    <a:gd name="T84" fmla="*/ 23 w 324"/>
                    <a:gd name="T85" fmla="*/ 2 h 123"/>
                    <a:gd name="T86" fmla="*/ 64 w 324"/>
                    <a:gd name="T87" fmla="*/ 0 h 123"/>
                    <a:gd name="T88" fmla="*/ 89 w 324"/>
                    <a:gd name="T89" fmla="*/ 0 h 123"/>
                    <a:gd name="T90" fmla="*/ 116 w 324"/>
                    <a:gd name="T91" fmla="*/ 0 h 123"/>
                    <a:gd name="T92" fmla="*/ 144 w 324"/>
                    <a:gd name="T93" fmla="*/ 1 h 123"/>
                    <a:gd name="T94" fmla="*/ 168 w 324"/>
                    <a:gd name="T95" fmla="*/ 5 h 123"/>
                    <a:gd name="T96" fmla="*/ 159 w 324"/>
                    <a:gd name="T97"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 h="123">
                      <a:moveTo>
                        <a:pt x="159" y="2"/>
                      </a:moveTo>
                      <a:lnTo>
                        <a:pt x="159" y="2"/>
                      </a:lnTo>
                      <a:lnTo>
                        <a:pt x="185" y="8"/>
                      </a:lnTo>
                      <a:lnTo>
                        <a:pt x="213" y="16"/>
                      </a:lnTo>
                      <a:lnTo>
                        <a:pt x="239" y="24"/>
                      </a:lnTo>
                      <a:lnTo>
                        <a:pt x="266" y="34"/>
                      </a:lnTo>
                      <a:lnTo>
                        <a:pt x="307" y="49"/>
                      </a:lnTo>
                      <a:lnTo>
                        <a:pt x="324" y="57"/>
                      </a:lnTo>
                      <a:lnTo>
                        <a:pt x="319" y="88"/>
                      </a:lnTo>
                      <a:lnTo>
                        <a:pt x="319" y="88"/>
                      </a:lnTo>
                      <a:lnTo>
                        <a:pt x="319" y="91"/>
                      </a:lnTo>
                      <a:lnTo>
                        <a:pt x="317" y="95"/>
                      </a:lnTo>
                      <a:lnTo>
                        <a:pt x="315" y="99"/>
                      </a:lnTo>
                      <a:lnTo>
                        <a:pt x="312" y="104"/>
                      </a:lnTo>
                      <a:lnTo>
                        <a:pt x="307" y="107"/>
                      </a:lnTo>
                      <a:lnTo>
                        <a:pt x="301" y="111"/>
                      </a:lnTo>
                      <a:lnTo>
                        <a:pt x="292" y="115"/>
                      </a:lnTo>
                      <a:lnTo>
                        <a:pt x="283" y="118"/>
                      </a:lnTo>
                      <a:lnTo>
                        <a:pt x="269" y="121"/>
                      </a:lnTo>
                      <a:lnTo>
                        <a:pt x="252" y="122"/>
                      </a:lnTo>
                      <a:lnTo>
                        <a:pt x="234" y="123"/>
                      </a:lnTo>
                      <a:lnTo>
                        <a:pt x="211" y="122"/>
                      </a:lnTo>
                      <a:lnTo>
                        <a:pt x="186" y="120"/>
                      </a:lnTo>
                      <a:lnTo>
                        <a:pt x="156" y="116"/>
                      </a:lnTo>
                      <a:lnTo>
                        <a:pt x="145" y="115"/>
                      </a:lnTo>
                      <a:lnTo>
                        <a:pt x="145" y="115"/>
                      </a:lnTo>
                      <a:lnTo>
                        <a:pt x="119" y="109"/>
                      </a:lnTo>
                      <a:lnTo>
                        <a:pt x="96" y="103"/>
                      </a:lnTo>
                      <a:lnTo>
                        <a:pt x="77" y="95"/>
                      </a:lnTo>
                      <a:lnTo>
                        <a:pt x="61" y="89"/>
                      </a:lnTo>
                      <a:lnTo>
                        <a:pt x="47" y="83"/>
                      </a:lnTo>
                      <a:lnTo>
                        <a:pt x="35" y="78"/>
                      </a:lnTo>
                      <a:lnTo>
                        <a:pt x="25" y="72"/>
                      </a:lnTo>
                      <a:lnTo>
                        <a:pt x="18" y="68"/>
                      </a:lnTo>
                      <a:lnTo>
                        <a:pt x="12" y="61"/>
                      </a:lnTo>
                      <a:lnTo>
                        <a:pt x="7" y="58"/>
                      </a:lnTo>
                      <a:lnTo>
                        <a:pt x="2" y="49"/>
                      </a:lnTo>
                      <a:lnTo>
                        <a:pt x="0" y="43"/>
                      </a:lnTo>
                      <a:lnTo>
                        <a:pt x="0" y="41"/>
                      </a:lnTo>
                      <a:lnTo>
                        <a:pt x="0" y="41"/>
                      </a:lnTo>
                      <a:lnTo>
                        <a:pt x="7" y="5"/>
                      </a:lnTo>
                      <a:lnTo>
                        <a:pt x="7" y="5"/>
                      </a:lnTo>
                      <a:lnTo>
                        <a:pt x="23" y="2"/>
                      </a:lnTo>
                      <a:lnTo>
                        <a:pt x="64" y="0"/>
                      </a:lnTo>
                      <a:lnTo>
                        <a:pt x="89" y="0"/>
                      </a:lnTo>
                      <a:lnTo>
                        <a:pt x="116" y="0"/>
                      </a:lnTo>
                      <a:lnTo>
                        <a:pt x="144" y="1"/>
                      </a:lnTo>
                      <a:lnTo>
                        <a:pt x="168" y="5"/>
                      </a:lnTo>
                      <a:lnTo>
                        <a:pt x="159"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47"/>
                <p:cNvSpPr>
                  <a:spLocks/>
                </p:cNvSpPr>
                <p:nvPr/>
              </p:nvSpPr>
              <p:spPr bwMode="auto">
                <a:xfrm>
                  <a:off x="7434354" y="2707621"/>
                  <a:ext cx="247914" cy="99165"/>
                </a:xfrm>
                <a:custGeom>
                  <a:avLst/>
                  <a:gdLst>
                    <a:gd name="T0" fmla="*/ 318 w 318"/>
                    <a:gd name="T1" fmla="*/ 89 h 124"/>
                    <a:gd name="T2" fmla="*/ 318 w 318"/>
                    <a:gd name="T3" fmla="*/ 89 h 124"/>
                    <a:gd name="T4" fmla="*/ 315 w 318"/>
                    <a:gd name="T5" fmla="*/ 94 h 124"/>
                    <a:gd name="T6" fmla="*/ 312 w 318"/>
                    <a:gd name="T7" fmla="*/ 100 h 124"/>
                    <a:gd name="T8" fmla="*/ 307 w 318"/>
                    <a:gd name="T9" fmla="*/ 105 h 124"/>
                    <a:gd name="T10" fmla="*/ 301 w 318"/>
                    <a:gd name="T11" fmla="*/ 109 h 124"/>
                    <a:gd name="T12" fmla="*/ 294 w 318"/>
                    <a:gd name="T13" fmla="*/ 112 h 124"/>
                    <a:gd name="T14" fmla="*/ 285 w 318"/>
                    <a:gd name="T15" fmla="*/ 116 h 124"/>
                    <a:gd name="T16" fmla="*/ 275 w 318"/>
                    <a:gd name="T17" fmla="*/ 118 h 124"/>
                    <a:gd name="T18" fmla="*/ 265 w 318"/>
                    <a:gd name="T19" fmla="*/ 121 h 124"/>
                    <a:gd name="T20" fmla="*/ 239 w 318"/>
                    <a:gd name="T21" fmla="*/ 124 h 124"/>
                    <a:gd name="T22" fmla="*/ 211 w 318"/>
                    <a:gd name="T23" fmla="*/ 124 h 124"/>
                    <a:gd name="T24" fmla="*/ 181 w 318"/>
                    <a:gd name="T25" fmla="*/ 123 h 124"/>
                    <a:gd name="T26" fmla="*/ 150 w 318"/>
                    <a:gd name="T27" fmla="*/ 118 h 124"/>
                    <a:gd name="T28" fmla="*/ 150 w 318"/>
                    <a:gd name="T29" fmla="*/ 118 h 124"/>
                    <a:gd name="T30" fmla="*/ 117 w 318"/>
                    <a:gd name="T31" fmla="*/ 112 h 124"/>
                    <a:gd name="T32" fmla="*/ 88 w 318"/>
                    <a:gd name="T33" fmla="*/ 104 h 124"/>
                    <a:gd name="T34" fmla="*/ 63 w 318"/>
                    <a:gd name="T35" fmla="*/ 94 h 124"/>
                    <a:gd name="T36" fmla="*/ 40 w 318"/>
                    <a:gd name="T37" fmla="*/ 83 h 124"/>
                    <a:gd name="T38" fmla="*/ 30 w 318"/>
                    <a:gd name="T39" fmla="*/ 77 h 124"/>
                    <a:gd name="T40" fmla="*/ 22 w 318"/>
                    <a:gd name="T41" fmla="*/ 71 h 124"/>
                    <a:gd name="T42" fmla="*/ 14 w 318"/>
                    <a:gd name="T43" fmla="*/ 65 h 124"/>
                    <a:gd name="T44" fmla="*/ 8 w 318"/>
                    <a:gd name="T45" fmla="*/ 59 h 124"/>
                    <a:gd name="T46" fmla="*/ 5 w 318"/>
                    <a:gd name="T47" fmla="*/ 53 h 124"/>
                    <a:gd name="T48" fmla="*/ 1 w 318"/>
                    <a:gd name="T49" fmla="*/ 47 h 124"/>
                    <a:gd name="T50" fmla="*/ 0 w 318"/>
                    <a:gd name="T51" fmla="*/ 41 h 124"/>
                    <a:gd name="T52" fmla="*/ 0 w 318"/>
                    <a:gd name="T53" fmla="*/ 35 h 124"/>
                    <a:gd name="T54" fmla="*/ 0 w 318"/>
                    <a:gd name="T55" fmla="*/ 35 h 124"/>
                    <a:gd name="T56" fmla="*/ 2 w 318"/>
                    <a:gd name="T57" fmla="*/ 29 h 124"/>
                    <a:gd name="T58" fmla="*/ 6 w 318"/>
                    <a:gd name="T59" fmla="*/ 24 h 124"/>
                    <a:gd name="T60" fmla="*/ 11 w 318"/>
                    <a:gd name="T61" fmla="*/ 19 h 124"/>
                    <a:gd name="T62" fmla="*/ 17 w 318"/>
                    <a:gd name="T63" fmla="*/ 16 h 124"/>
                    <a:gd name="T64" fmla="*/ 24 w 318"/>
                    <a:gd name="T65" fmla="*/ 12 h 124"/>
                    <a:gd name="T66" fmla="*/ 32 w 318"/>
                    <a:gd name="T67" fmla="*/ 8 h 124"/>
                    <a:gd name="T68" fmla="*/ 42 w 318"/>
                    <a:gd name="T69" fmla="*/ 6 h 124"/>
                    <a:gd name="T70" fmla="*/ 53 w 318"/>
                    <a:gd name="T71" fmla="*/ 3 h 124"/>
                    <a:gd name="T72" fmla="*/ 78 w 318"/>
                    <a:gd name="T73" fmla="*/ 0 h 124"/>
                    <a:gd name="T74" fmla="*/ 106 w 318"/>
                    <a:gd name="T75" fmla="*/ 0 h 124"/>
                    <a:gd name="T76" fmla="*/ 136 w 318"/>
                    <a:gd name="T77" fmla="*/ 1 h 124"/>
                    <a:gd name="T78" fmla="*/ 168 w 318"/>
                    <a:gd name="T79" fmla="*/ 6 h 124"/>
                    <a:gd name="T80" fmla="*/ 168 w 318"/>
                    <a:gd name="T81" fmla="*/ 6 h 124"/>
                    <a:gd name="T82" fmla="*/ 200 w 318"/>
                    <a:gd name="T83" fmla="*/ 12 h 124"/>
                    <a:gd name="T84" fmla="*/ 230 w 318"/>
                    <a:gd name="T85" fmla="*/ 20 h 124"/>
                    <a:gd name="T86" fmla="*/ 255 w 318"/>
                    <a:gd name="T87" fmla="*/ 30 h 124"/>
                    <a:gd name="T88" fmla="*/ 278 w 318"/>
                    <a:gd name="T89" fmla="*/ 41 h 124"/>
                    <a:gd name="T90" fmla="*/ 288 w 318"/>
                    <a:gd name="T91" fmla="*/ 47 h 124"/>
                    <a:gd name="T92" fmla="*/ 296 w 318"/>
                    <a:gd name="T93" fmla="*/ 53 h 124"/>
                    <a:gd name="T94" fmla="*/ 303 w 318"/>
                    <a:gd name="T95" fmla="*/ 59 h 124"/>
                    <a:gd name="T96" fmla="*/ 308 w 318"/>
                    <a:gd name="T97" fmla="*/ 65 h 124"/>
                    <a:gd name="T98" fmla="*/ 313 w 318"/>
                    <a:gd name="T99" fmla="*/ 71 h 124"/>
                    <a:gd name="T100" fmla="*/ 317 w 318"/>
                    <a:gd name="T101" fmla="*/ 77 h 124"/>
                    <a:gd name="T102" fmla="*/ 318 w 318"/>
                    <a:gd name="T103" fmla="*/ 83 h 124"/>
                    <a:gd name="T104" fmla="*/ 318 w 318"/>
                    <a:gd name="T105" fmla="*/ 8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8" h="124">
                      <a:moveTo>
                        <a:pt x="318" y="89"/>
                      </a:moveTo>
                      <a:lnTo>
                        <a:pt x="318" y="89"/>
                      </a:lnTo>
                      <a:lnTo>
                        <a:pt x="315" y="94"/>
                      </a:lnTo>
                      <a:lnTo>
                        <a:pt x="312" y="100"/>
                      </a:lnTo>
                      <a:lnTo>
                        <a:pt x="307" y="105"/>
                      </a:lnTo>
                      <a:lnTo>
                        <a:pt x="301" y="109"/>
                      </a:lnTo>
                      <a:lnTo>
                        <a:pt x="294" y="112"/>
                      </a:lnTo>
                      <a:lnTo>
                        <a:pt x="285" y="116"/>
                      </a:lnTo>
                      <a:lnTo>
                        <a:pt x="275" y="118"/>
                      </a:lnTo>
                      <a:lnTo>
                        <a:pt x="265" y="121"/>
                      </a:lnTo>
                      <a:lnTo>
                        <a:pt x="239" y="124"/>
                      </a:lnTo>
                      <a:lnTo>
                        <a:pt x="211" y="124"/>
                      </a:lnTo>
                      <a:lnTo>
                        <a:pt x="181" y="123"/>
                      </a:lnTo>
                      <a:lnTo>
                        <a:pt x="150" y="118"/>
                      </a:lnTo>
                      <a:lnTo>
                        <a:pt x="150" y="118"/>
                      </a:lnTo>
                      <a:lnTo>
                        <a:pt x="117" y="112"/>
                      </a:lnTo>
                      <a:lnTo>
                        <a:pt x="88" y="104"/>
                      </a:lnTo>
                      <a:lnTo>
                        <a:pt x="63" y="94"/>
                      </a:lnTo>
                      <a:lnTo>
                        <a:pt x="40" y="83"/>
                      </a:lnTo>
                      <a:lnTo>
                        <a:pt x="30" y="77"/>
                      </a:lnTo>
                      <a:lnTo>
                        <a:pt x="22" y="71"/>
                      </a:lnTo>
                      <a:lnTo>
                        <a:pt x="14" y="65"/>
                      </a:lnTo>
                      <a:lnTo>
                        <a:pt x="8" y="59"/>
                      </a:lnTo>
                      <a:lnTo>
                        <a:pt x="5" y="53"/>
                      </a:lnTo>
                      <a:lnTo>
                        <a:pt x="1" y="47"/>
                      </a:lnTo>
                      <a:lnTo>
                        <a:pt x="0" y="41"/>
                      </a:lnTo>
                      <a:lnTo>
                        <a:pt x="0" y="35"/>
                      </a:lnTo>
                      <a:lnTo>
                        <a:pt x="0" y="35"/>
                      </a:lnTo>
                      <a:lnTo>
                        <a:pt x="2" y="29"/>
                      </a:lnTo>
                      <a:lnTo>
                        <a:pt x="6" y="24"/>
                      </a:lnTo>
                      <a:lnTo>
                        <a:pt x="11" y="19"/>
                      </a:lnTo>
                      <a:lnTo>
                        <a:pt x="17" y="16"/>
                      </a:lnTo>
                      <a:lnTo>
                        <a:pt x="24" y="12"/>
                      </a:lnTo>
                      <a:lnTo>
                        <a:pt x="32" y="8"/>
                      </a:lnTo>
                      <a:lnTo>
                        <a:pt x="42" y="6"/>
                      </a:lnTo>
                      <a:lnTo>
                        <a:pt x="53" y="3"/>
                      </a:lnTo>
                      <a:lnTo>
                        <a:pt x="78" y="0"/>
                      </a:lnTo>
                      <a:lnTo>
                        <a:pt x="106" y="0"/>
                      </a:lnTo>
                      <a:lnTo>
                        <a:pt x="136" y="1"/>
                      </a:lnTo>
                      <a:lnTo>
                        <a:pt x="168" y="6"/>
                      </a:lnTo>
                      <a:lnTo>
                        <a:pt x="168" y="6"/>
                      </a:lnTo>
                      <a:lnTo>
                        <a:pt x="200" y="12"/>
                      </a:lnTo>
                      <a:lnTo>
                        <a:pt x="230" y="20"/>
                      </a:lnTo>
                      <a:lnTo>
                        <a:pt x="255" y="30"/>
                      </a:lnTo>
                      <a:lnTo>
                        <a:pt x="278" y="41"/>
                      </a:lnTo>
                      <a:lnTo>
                        <a:pt x="288" y="47"/>
                      </a:lnTo>
                      <a:lnTo>
                        <a:pt x="296" y="53"/>
                      </a:lnTo>
                      <a:lnTo>
                        <a:pt x="303" y="59"/>
                      </a:lnTo>
                      <a:lnTo>
                        <a:pt x="308" y="65"/>
                      </a:lnTo>
                      <a:lnTo>
                        <a:pt x="313" y="71"/>
                      </a:lnTo>
                      <a:lnTo>
                        <a:pt x="317" y="77"/>
                      </a:lnTo>
                      <a:lnTo>
                        <a:pt x="318" y="83"/>
                      </a:lnTo>
                      <a:lnTo>
                        <a:pt x="318" y="89"/>
                      </a:lnTo>
                      <a:close/>
                    </a:path>
                  </a:pathLst>
                </a:custGeom>
                <a:solidFill>
                  <a:srgbClr val="FCD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48"/>
                <p:cNvSpPr>
                  <a:spLocks/>
                </p:cNvSpPr>
                <p:nvPr/>
              </p:nvSpPr>
              <p:spPr bwMode="auto">
                <a:xfrm>
                  <a:off x="7434354" y="2707621"/>
                  <a:ext cx="247914" cy="99165"/>
                </a:xfrm>
                <a:custGeom>
                  <a:avLst/>
                  <a:gdLst>
                    <a:gd name="T0" fmla="*/ 318 w 318"/>
                    <a:gd name="T1" fmla="*/ 89 h 124"/>
                    <a:gd name="T2" fmla="*/ 318 w 318"/>
                    <a:gd name="T3" fmla="*/ 89 h 124"/>
                    <a:gd name="T4" fmla="*/ 315 w 318"/>
                    <a:gd name="T5" fmla="*/ 94 h 124"/>
                    <a:gd name="T6" fmla="*/ 312 w 318"/>
                    <a:gd name="T7" fmla="*/ 100 h 124"/>
                    <a:gd name="T8" fmla="*/ 307 w 318"/>
                    <a:gd name="T9" fmla="*/ 105 h 124"/>
                    <a:gd name="T10" fmla="*/ 301 w 318"/>
                    <a:gd name="T11" fmla="*/ 109 h 124"/>
                    <a:gd name="T12" fmla="*/ 294 w 318"/>
                    <a:gd name="T13" fmla="*/ 112 h 124"/>
                    <a:gd name="T14" fmla="*/ 285 w 318"/>
                    <a:gd name="T15" fmla="*/ 116 h 124"/>
                    <a:gd name="T16" fmla="*/ 275 w 318"/>
                    <a:gd name="T17" fmla="*/ 118 h 124"/>
                    <a:gd name="T18" fmla="*/ 265 w 318"/>
                    <a:gd name="T19" fmla="*/ 121 h 124"/>
                    <a:gd name="T20" fmla="*/ 239 w 318"/>
                    <a:gd name="T21" fmla="*/ 124 h 124"/>
                    <a:gd name="T22" fmla="*/ 211 w 318"/>
                    <a:gd name="T23" fmla="*/ 124 h 124"/>
                    <a:gd name="T24" fmla="*/ 181 w 318"/>
                    <a:gd name="T25" fmla="*/ 123 h 124"/>
                    <a:gd name="T26" fmla="*/ 150 w 318"/>
                    <a:gd name="T27" fmla="*/ 118 h 124"/>
                    <a:gd name="T28" fmla="*/ 150 w 318"/>
                    <a:gd name="T29" fmla="*/ 118 h 124"/>
                    <a:gd name="T30" fmla="*/ 117 w 318"/>
                    <a:gd name="T31" fmla="*/ 112 h 124"/>
                    <a:gd name="T32" fmla="*/ 88 w 318"/>
                    <a:gd name="T33" fmla="*/ 104 h 124"/>
                    <a:gd name="T34" fmla="*/ 63 w 318"/>
                    <a:gd name="T35" fmla="*/ 94 h 124"/>
                    <a:gd name="T36" fmla="*/ 40 w 318"/>
                    <a:gd name="T37" fmla="*/ 83 h 124"/>
                    <a:gd name="T38" fmla="*/ 30 w 318"/>
                    <a:gd name="T39" fmla="*/ 77 h 124"/>
                    <a:gd name="T40" fmla="*/ 22 w 318"/>
                    <a:gd name="T41" fmla="*/ 71 h 124"/>
                    <a:gd name="T42" fmla="*/ 14 w 318"/>
                    <a:gd name="T43" fmla="*/ 65 h 124"/>
                    <a:gd name="T44" fmla="*/ 8 w 318"/>
                    <a:gd name="T45" fmla="*/ 59 h 124"/>
                    <a:gd name="T46" fmla="*/ 5 w 318"/>
                    <a:gd name="T47" fmla="*/ 53 h 124"/>
                    <a:gd name="T48" fmla="*/ 1 w 318"/>
                    <a:gd name="T49" fmla="*/ 47 h 124"/>
                    <a:gd name="T50" fmla="*/ 0 w 318"/>
                    <a:gd name="T51" fmla="*/ 41 h 124"/>
                    <a:gd name="T52" fmla="*/ 0 w 318"/>
                    <a:gd name="T53" fmla="*/ 35 h 124"/>
                    <a:gd name="T54" fmla="*/ 0 w 318"/>
                    <a:gd name="T55" fmla="*/ 35 h 124"/>
                    <a:gd name="T56" fmla="*/ 2 w 318"/>
                    <a:gd name="T57" fmla="*/ 29 h 124"/>
                    <a:gd name="T58" fmla="*/ 6 w 318"/>
                    <a:gd name="T59" fmla="*/ 24 h 124"/>
                    <a:gd name="T60" fmla="*/ 11 w 318"/>
                    <a:gd name="T61" fmla="*/ 19 h 124"/>
                    <a:gd name="T62" fmla="*/ 17 w 318"/>
                    <a:gd name="T63" fmla="*/ 16 h 124"/>
                    <a:gd name="T64" fmla="*/ 24 w 318"/>
                    <a:gd name="T65" fmla="*/ 12 h 124"/>
                    <a:gd name="T66" fmla="*/ 32 w 318"/>
                    <a:gd name="T67" fmla="*/ 8 h 124"/>
                    <a:gd name="T68" fmla="*/ 42 w 318"/>
                    <a:gd name="T69" fmla="*/ 6 h 124"/>
                    <a:gd name="T70" fmla="*/ 53 w 318"/>
                    <a:gd name="T71" fmla="*/ 3 h 124"/>
                    <a:gd name="T72" fmla="*/ 78 w 318"/>
                    <a:gd name="T73" fmla="*/ 0 h 124"/>
                    <a:gd name="T74" fmla="*/ 106 w 318"/>
                    <a:gd name="T75" fmla="*/ 0 h 124"/>
                    <a:gd name="T76" fmla="*/ 136 w 318"/>
                    <a:gd name="T77" fmla="*/ 1 h 124"/>
                    <a:gd name="T78" fmla="*/ 168 w 318"/>
                    <a:gd name="T79" fmla="*/ 6 h 124"/>
                    <a:gd name="T80" fmla="*/ 168 w 318"/>
                    <a:gd name="T81" fmla="*/ 6 h 124"/>
                    <a:gd name="T82" fmla="*/ 200 w 318"/>
                    <a:gd name="T83" fmla="*/ 12 h 124"/>
                    <a:gd name="T84" fmla="*/ 230 w 318"/>
                    <a:gd name="T85" fmla="*/ 20 h 124"/>
                    <a:gd name="T86" fmla="*/ 255 w 318"/>
                    <a:gd name="T87" fmla="*/ 30 h 124"/>
                    <a:gd name="T88" fmla="*/ 278 w 318"/>
                    <a:gd name="T89" fmla="*/ 41 h 124"/>
                    <a:gd name="T90" fmla="*/ 288 w 318"/>
                    <a:gd name="T91" fmla="*/ 47 h 124"/>
                    <a:gd name="T92" fmla="*/ 296 w 318"/>
                    <a:gd name="T93" fmla="*/ 53 h 124"/>
                    <a:gd name="T94" fmla="*/ 303 w 318"/>
                    <a:gd name="T95" fmla="*/ 59 h 124"/>
                    <a:gd name="T96" fmla="*/ 308 w 318"/>
                    <a:gd name="T97" fmla="*/ 65 h 124"/>
                    <a:gd name="T98" fmla="*/ 313 w 318"/>
                    <a:gd name="T99" fmla="*/ 71 h 124"/>
                    <a:gd name="T100" fmla="*/ 317 w 318"/>
                    <a:gd name="T101" fmla="*/ 77 h 124"/>
                    <a:gd name="T102" fmla="*/ 318 w 318"/>
                    <a:gd name="T103" fmla="*/ 83 h 124"/>
                    <a:gd name="T104" fmla="*/ 318 w 318"/>
                    <a:gd name="T105" fmla="*/ 8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8" h="124">
                      <a:moveTo>
                        <a:pt x="318" y="89"/>
                      </a:moveTo>
                      <a:lnTo>
                        <a:pt x="318" y="89"/>
                      </a:lnTo>
                      <a:lnTo>
                        <a:pt x="315" y="94"/>
                      </a:lnTo>
                      <a:lnTo>
                        <a:pt x="312" y="100"/>
                      </a:lnTo>
                      <a:lnTo>
                        <a:pt x="307" y="105"/>
                      </a:lnTo>
                      <a:lnTo>
                        <a:pt x="301" y="109"/>
                      </a:lnTo>
                      <a:lnTo>
                        <a:pt x="294" y="112"/>
                      </a:lnTo>
                      <a:lnTo>
                        <a:pt x="285" y="116"/>
                      </a:lnTo>
                      <a:lnTo>
                        <a:pt x="275" y="118"/>
                      </a:lnTo>
                      <a:lnTo>
                        <a:pt x="265" y="121"/>
                      </a:lnTo>
                      <a:lnTo>
                        <a:pt x="239" y="124"/>
                      </a:lnTo>
                      <a:lnTo>
                        <a:pt x="211" y="124"/>
                      </a:lnTo>
                      <a:lnTo>
                        <a:pt x="181" y="123"/>
                      </a:lnTo>
                      <a:lnTo>
                        <a:pt x="150" y="118"/>
                      </a:lnTo>
                      <a:lnTo>
                        <a:pt x="150" y="118"/>
                      </a:lnTo>
                      <a:lnTo>
                        <a:pt x="117" y="112"/>
                      </a:lnTo>
                      <a:lnTo>
                        <a:pt x="88" y="104"/>
                      </a:lnTo>
                      <a:lnTo>
                        <a:pt x="63" y="94"/>
                      </a:lnTo>
                      <a:lnTo>
                        <a:pt x="40" y="83"/>
                      </a:lnTo>
                      <a:lnTo>
                        <a:pt x="30" y="77"/>
                      </a:lnTo>
                      <a:lnTo>
                        <a:pt x="22" y="71"/>
                      </a:lnTo>
                      <a:lnTo>
                        <a:pt x="14" y="65"/>
                      </a:lnTo>
                      <a:lnTo>
                        <a:pt x="8" y="59"/>
                      </a:lnTo>
                      <a:lnTo>
                        <a:pt x="5" y="53"/>
                      </a:lnTo>
                      <a:lnTo>
                        <a:pt x="1" y="47"/>
                      </a:lnTo>
                      <a:lnTo>
                        <a:pt x="0" y="41"/>
                      </a:lnTo>
                      <a:lnTo>
                        <a:pt x="0" y="35"/>
                      </a:lnTo>
                      <a:lnTo>
                        <a:pt x="0" y="35"/>
                      </a:lnTo>
                      <a:lnTo>
                        <a:pt x="2" y="29"/>
                      </a:lnTo>
                      <a:lnTo>
                        <a:pt x="6" y="24"/>
                      </a:lnTo>
                      <a:lnTo>
                        <a:pt x="11" y="19"/>
                      </a:lnTo>
                      <a:lnTo>
                        <a:pt x="17" y="16"/>
                      </a:lnTo>
                      <a:lnTo>
                        <a:pt x="24" y="12"/>
                      </a:lnTo>
                      <a:lnTo>
                        <a:pt x="32" y="8"/>
                      </a:lnTo>
                      <a:lnTo>
                        <a:pt x="42" y="6"/>
                      </a:lnTo>
                      <a:lnTo>
                        <a:pt x="53" y="3"/>
                      </a:lnTo>
                      <a:lnTo>
                        <a:pt x="78" y="0"/>
                      </a:lnTo>
                      <a:lnTo>
                        <a:pt x="106" y="0"/>
                      </a:lnTo>
                      <a:lnTo>
                        <a:pt x="136" y="1"/>
                      </a:lnTo>
                      <a:lnTo>
                        <a:pt x="168" y="6"/>
                      </a:lnTo>
                      <a:lnTo>
                        <a:pt x="168" y="6"/>
                      </a:lnTo>
                      <a:lnTo>
                        <a:pt x="200" y="12"/>
                      </a:lnTo>
                      <a:lnTo>
                        <a:pt x="230" y="20"/>
                      </a:lnTo>
                      <a:lnTo>
                        <a:pt x="255" y="30"/>
                      </a:lnTo>
                      <a:lnTo>
                        <a:pt x="278" y="41"/>
                      </a:lnTo>
                      <a:lnTo>
                        <a:pt x="288" y="47"/>
                      </a:lnTo>
                      <a:lnTo>
                        <a:pt x="296" y="53"/>
                      </a:lnTo>
                      <a:lnTo>
                        <a:pt x="303" y="59"/>
                      </a:lnTo>
                      <a:lnTo>
                        <a:pt x="308" y="65"/>
                      </a:lnTo>
                      <a:lnTo>
                        <a:pt x="313" y="71"/>
                      </a:lnTo>
                      <a:lnTo>
                        <a:pt x="317" y="77"/>
                      </a:lnTo>
                      <a:lnTo>
                        <a:pt x="318" y="83"/>
                      </a:lnTo>
                      <a:lnTo>
                        <a:pt x="318" y="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650"/>
                <p:cNvSpPr>
                  <a:spLocks/>
                </p:cNvSpPr>
                <p:nvPr/>
              </p:nvSpPr>
              <p:spPr bwMode="auto">
                <a:xfrm>
                  <a:off x="7505628" y="2732413"/>
                  <a:ext cx="108463" cy="46485"/>
                </a:xfrm>
                <a:custGeom>
                  <a:avLst/>
                  <a:gdLst>
                    <a:gd name="T0" fmla="*/ 102 w 143"/>
                    <a:gd name="T1" fmla="*/ 24 h 59"/>
                    <a:gd name="T2" fmla="*/ 106 w 143"/>
                    <a:gd name="T3" fmla="*/ 23 h 59"/>
                    <a:gd name="T4" fmla="*/ 114 w 143"/>
                    <a:gd name="T5" fmla="*/ 20 h 59"/>
                    <a:gd name="T6" fmla="*/ 113 w 143"/>
                    <a:gd name="T7" fmla="*/ 17 h 59"/>
                    <a:gd name="T8" fmla="*/ 108 w 143"/>
                    <a:gd name="T9" fmla="*/ 16 h 59"/>
                    <a:gd name="T10" fmla="*/ 101 w 143"/>
                    <a:gd name="T11" fmla="*/ 16 h 59"/>
                    <a:gd name="T12" fmla="*/ 96 w 143"/>
                    <a:gd name="T13" fmla="*/ 18 h 59"/>
                    <a:gd name="T14" fmla="*/ 95 w 143"/>
                    <a:gd name="T15" fmla="*/ 20 h 59"/>
                    <a:gd name="T16" fmla="*/ 98 w 143"/>
                    <a:gd name="T17" fmla="*/ 31 h 59"/>
                    <a:gd name="T18" fmla="*/ 101 w 143"/>
                    <a:gd name="T19" fmla="*/ 39 h 59"/>
                    <a:gd name="T20" fmla="*/ 102 w 143"/>
                    <a:gd name="T21" fmla="*/ 42 h 59"/>
                    <a:gd name="T22" fmla="*/ 98 w 143"/>
                    <a:gd name="T23" fmla="*/ 49 h 59"/>
                    <a:gd name="T24" fmla="*/ 94 w 143"/>
                    <a:gd name="T25" fmla="*/ 53 h 59"/>
                    <a:gd name="T26" fmla="*/ 85 w 143"/>
                    <a:gd name="T27" fmla="*/ 55 h 59"/>
                    <a:gd name="T28" fmla="*/ 69 w 143"/>
                    <a:gd name="T29" fmla="*/ 59 h 59"/>
                    <a:gd name="T30" fmla="*/ 54 w 143"/>
                    <a:gd name="T31" fmla="*/ 59 h 59"/>
                    <a:gd name="T32" fmla="*/ 46 w 143"/>
                    <a:gd name="T33" fmla="*/ 57 h 59"/>
                    <a:gd name="T34" fmla="*/ 31 w 143"/>
                    <a:gd name="T35" fmla="*/ 52 h 59"/>
                    <a:gd name="T36" fmla="*/ 11 w 143"/>
                    <a:gd name="T37" fmla="*/ 51 h 59"/>
                    <a:gd name="T38" fmla="*/ 13 w 143"/>
                    <a:gd name="T39" fmla="*/ 40 h 59"/>
                    <a:gd name="T40" fmla="*/ 9 w 143"/>
                    <a:gd name="T41" fmla="*/ 36 h 59"/>
                    <a:gd name="T42" fmla="*/ 6 w 143"/>
                    <a:gd name="T43" fmla="*/ 29 h 59"/>
                    <a:gd name="T44" fmla="*/ 6 w 143"/>
                    <a:gd name="T45" fmla="*/ 25 h 59"/>
                    <a:gd name="T46" fmla="*/ 13 w 143"/>
                    <a:gd name="T47" fmla="*/ 19 h 59"/>
                    <a:gd name="T48" fmla="*/ 27 w 143"/>
                    <a:gd name="T49" fmla="*/ 13 h 59"/>
                    <a:gd name="T50" fmla="*/ 55 w 143"/>
                    <a:gd name="T51" fmla="*/ 28 h 59"/>
                    <a:gd name="T52" fmla="*/ 48 w 143"/>
                    <a:gd name="T53" fmla="*/ 30 h 59"/>
                    <a:gd name="T54" fmla="*/ 34 w 143"/>
                    <a:gd name="T55" fmla="*/ 35 h 59"/>
                    <a:gd name="T56" fmla="*/ 35 w 143"/>
                    <a:gd name="T57" fmla="*/ 37 h 59"/>
                    <a:gd name="T58" fmla="*/ 38 w 143"/>
                    <a:gd name="T59" fmla="*/ 39 h 59"/>
                    <a:gd name="T60" fmla="*/ 40 w 143"/>
                    <a:gd name="T61" fmla="*/ 40 h 59"/>
                    <a:gd name="T62" fmla="*/ 48 w 143"/>
                    <a:gd name="T63" fmla="*/ 39 h 59"/>
                    <a:gd name="T64" fmla="*/ 61 w 143"/>
                    <a:gd name="T65" fmla="*/ 35 h 59"/>
                    <a:gd name="T66" fmla="*/ 62 w 143"/>
                    <a:gd name="T67" fmla="*/ 34 h 59"/>
                    <a:gd name="T68" fmla="*/ 62 w 143"/>
                    <a:gd name="T69" fmla="*/ 26 h 59"/>
                    <a:gd name="T70" fmla="*/ 58 w 143"/>
                    <a:gd name="T71" fmla="*/ 14 h 59"/>
                    <a:gd name="T72" fmla="*/ 60 w 143"/>
                    <a:gd name="T73" fmla="*/ 11 h 59"/>
                    <a:gd name="T74" fmla="*/ 62 w 143"/>
                    <a:gd name="T75" fmla="*/ 7 h 59"/>
                    <a:gd name="T76" fmla="*/ 74 w 143"/>
                    <a:gd name="T77" fmla="*/ 1 h 59"/>
                    <a:gd name="T78" fmla="*/ 85 w 143"/>
                    <a:gd name="T79" fmla="*/ 0 h 59"/>
                    <a:gd name="T80" fmla="*/ 97 w 143"/>
                    <a:gd name="T81" fmla="*/ 1 h 59"/>
                    <a:gd name="T82" fmla="*/ 123 w 143"/>
                    <a:gd name="T83" fmla="*/ 11 h 59"/>
                    <a:gd name="T84" fmla="*/ 142 w 143"/>
                    <a:gd name="T85" fmla="*/ 16 h 59"/>
                    <a:gd name="T86" fmla="*/ 133 w 143"/>
                    <a:gd name="T87" fmla="*/ 17 h 59"/>
                    <a:gd name="T88" fmla="*/ 143 w 143"/>
                    <a:gd name="T89" fmla="*/ 28 h 59"/>
                    <a:gd name="T90" fmla="*/ 143 w 143"/>
                    <a:gd name="T91" fmla="*/ 30 h 59"/>
                    <a:gd name="T92" fmla="*/ 141 w 143"/>
                    <a:gd name="T93" fmla="*/ 35 h 59"/>
                    <a:gd name="T94" fmla="*/ 132 w 143"/>
                    <a:gd name="T95" fmla="*/ 40 h 59"/>
                    <a:gd name="T96" fmla="*/ 126 w 143"/>
                    <a:gd name="T97"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59">
                      <a:moveTo>
                        <a:pt x="126" y="41"/>
                      </a:moveTo>
                      <a:lnTo>
                        <a:pt x="102" y="24"/>
                      </a:lnTo>
                      <a:lnTo>
                        <a:pt x="106" y="23"/>
                      </a:lnTo>
                      <a:lnTo>
                        <a:pt x="106" y="23"/>
                      </a:lnTo>
                      <a:lnTo>
                        <a:pt x="114" y="20"/>
                      </a:lnTo>
                      <a:lnTo>
                        <a:pt x="114" y="20"/>
                      </a:lnTo>
                      <a:lnTo>
                        <a:pt x="114" y="19"/>
                      </a:lnTo>
                      <a:lnTo>
                        <a:pt x="113" y="17"/>
                      </a:lnTo>
                      <a:lnTo>
                        <a:pt x="113" y="17"/>
                      </a:lnTo>
                      <a:lnTo>
                        <a:pt x="108" y="16"/>
                      </a:lnTo>
                      <a:lnTo>
                        <a:pt x="108" y="16"/>
                      </a:lnTo>
                      <a:lnTo>
                        <a:pt x="101" y="16"/>
                      </a:lnTo>
                      <a:lnTo>
                        <a:pt x="101" y="16"/>
                      </a:lnTo>
                      <a:lnTo>
                        <a:pt x="96" y="18"/>
                      </a:lnTo>
                      <a:lnTo>
                        <a:pt x="95" y="20"/>
                      </a:lnTo>
                      <a:lnTo>
                        <a:pt x="95" y="20"/>
                      </a:lnTo>
                      <a:lnTo>
                        <a:pt x="96" y="24"/>
                      </a:lnTo>
                      <a:lnTo>
                        <a:pt x="98" y="31"/>
                      </a:lnTo>
                      <a:lnTo>
                        <a:pt x="98" y="31"/>
                      </a:lnTo>
                      <a:lnTo>
                        <a:pt x="101" y="39"/>
                      </a:lnTo>
                      <a:lnTo>
                        <a:pt x="102" y="42"/>
                      </a:lnTo>
                      <a:lnTo>
                        <a:pt x="102" y="42"/>
                      </a:lnTo>
                      <a:lnTo>
                        <a:pt x="101" y="46"/>
                      </a:lnTo>
                      <a:lnTo>
                        <a:pt x="98" y="49"/>
                      </a:lnTo>
                      <a:lnTo>
                        <a:pt x="98" y="49"/>
                      </a:lnTo>
                      <a:lnTo>
                        <a:pt x="94" y="53"/>
                      </a:lnTo>
                      <a:lnTo>
                        <a:pt x="85" y="55"/>
                      </a:lnTo>
                      <a:lnTo>
                        <a:pt x="85" y="55"/>
                      </a:lnTo>
                      <a:lnTo>
                        <a:pt x="77" y="58"/>
                      </a:lnTo>
                      <a:lnTo>
                        <a:pt x="69" y="59"/>
                      </a:lnTo>
                      <a:lnTo>
                        <a:pt x="62" y="59"/>
                      </a:lnTo>
                      <a:lnTo>
                        <a:pt x="54" y="59"/>
                      </a:lnTo>
                      <a:lnTo>
                        <a:pt x="54" y="59"/>
                      </a:lnTo>
                      <a:lnTo>
                        <a:pt x="46" y="57"/>
                      </a:lnTo>
                      <a:lnTo>
                        <a:pt x="38" y="54"/>
                      </a:lnTo>
                      <a:lnTo>
                        <a:pt x="31" y="52"/>
                      </a:lnTo>
                      <a:lnTo>
                        <a:pt x="23" y="48"/>
                      </a:lnTo>
                      <a:lnTo>
                        <a:pt x="11" y="51"/>
                      </a:lnTo>
                      <a:lnTo>
                        <a:pt x="0" y="42"/>
                      </a:lnTo>
                      <a:lnTo>
                        <a:pt x="13" y="40"/>
                      </a:lnTo>
                      <a:lnTo>
                        <a:pt x="13" y="40"/>
                      </a:lnTo>
                      <a:lnTo>
                        <a:pt x="9" y="36"/>
                      </a:lnTo>
                      <a:lnTo>
                        <a:pt x="8" y="32"/>
                      </a:lnTo>
                      <a:lnTo>
                        <a:pt x="6" y="29"/>
                      </a:lnTo>
                      <a:lnTo>
                        <a:pt x="6" y="25"/>
                      </a:lnTo>
                      <a:lnTo>
                        <a:pt x="6" y="25"/>
                      </a:lnTo>
                      <a:lnTo>
                        <a:pt x="8" y="22"/>
                      </a:lnTo>
                      <a:lnTo>
                        <a:pt x="13" y="19"/>
                      </a:lnTo>
                      <a:lnTo>
                        <a:pt x="19" y="16"/>
                      </a:lnTo>
                      <a:lnTo>
                        <a:pt x="27" y="13"/>
                      </a:lnTo>
                      <a:lnTo>
                        <a:pt x="32" y="12"/>
                      </a:lnTo>
                      <a:lnTo>
                        <a:pt x="55" y="28"/>
                      </a:lnTo>
                      <a:lnTo>
                        <a:pt x="48" y="30"/>
                      </a:lnTo>
                      <a:lnTo>
                        <a:pt x="48" y="30"/>
                      </a:lnTo>
                      <a:lnTo>
                        <a:pt x="34" y="35"/>
                      </a:lnTo>
                      <a:lnTo>
                        <a:pt x="34" y="35"/>
                      </a:lnTo>
                      <a:lnTo>
                        <a:pt x="33" y="36"/>
                      </a:lnTo>
                      <a:lnTo>
                        <a:pt x="35" y="37"/>
                      </a:lnTo>
                      <a:lnTo>
                        <a:pt x="35" y="37"/>
                      </a:lnTo>
                      <a:lnTo>
                        <a:pt x="38" y="39"/>
                      </a:lnTo>
                      <a:lnTo>
                        <a:pt x="40" y="40"/>
                      </a:lnTo>
                      <a:lnTo>
                        <a:pt x="40" y="40"/>
                      </a:lnTo>
                      <a:lnTo>
                        <a:pt x="48" y="39"/>
                      </a:lnTo>
                      <a:lnTo>
                        <a:pt x="48" y="39"/>
                      </a:lnTo>
                      <a:lnTo>
                        <a:pt x="56" y="36"/>
                      </a:lnTo>
                      <a:lnTo>
                        <a:pt x="61" y="35"/>
                      </a:lnTo>
                      <a:lnTo>
                        <a:pt x="61" y="35"/>
                      </a:lnTo>
                      <a:lnTo>
                        <a:pt x="62" y="34"/>
                      </a:lnTo>
                      <a:lnTo>
                        <a:pt x="62" y="31"/>
                      </a:lnTo>
                      <a:lnTo>
                        <a:pt x="62" y="26"/>
                      </a:lnTo>
                      <a:lnTo>
                        <a:pt x="62" y="26"/>
                      </a:lnTo>
                      <a:lnTo>
                        <a:pt x="58" y="14"/>
                      </a:lnTo>
                      <a:lnTo>
                        <a:pt x="58" y="14"/>
                      </a:lnTo>
                      <a:lnTo>
                        <a:pt x="60" y="11"/>
                      </a:lnTo>
                      <a:lnTo>
                        <a:pt x="62" y="7"/>
                      </a:lnTo>
                      <a:lnTo>
                        <a:pt x="62" y="7"/>
                      </a:lnTo>
                      <a:lnTo>
                        <a:pt x="67" y="3"/>
                      </a:lnTo>
                      <a:lnTo>
                        <a:pt x="74" y="1"/>
                      </a:lnTo>
                      <a:lnTo>
                        <a:pt x="74" y="1"/>
                      </a:lnTo>
                      <a:lnTo>
                        <a:pt x="85" y="0"/>
                      </a:lnTo>
                      <a:lnTo>
                        <a:pt x="97" y="1"/>
                      </a:lnTo>
                      <a:lnTo>
                        <a:pt x="97" y="1"/>
                      </a:lnTo>
                      <a:lnTo>
                        <a:pt x="109" y="5"/>
                      </a:lnTo>
                      <a:lnTo>
                        <a:pt x="123" y="11"/>
                      </a:lnTo>
                      <a:lnTo>
                        <a:pt x="131" y="8"/>
                      </a:lnTo>
                      <a:lnTo>
                        <a:pt x="142" y="16"/>
                      </a:lnTo>
                      <a:lnTo>
                        <a:pt x="133" y="17"/>
                      </a:lnTo>
                      <a:lnTo>
                        <a:pt x="133" y="17"/>
                      </a:lnTo>
                      <a:lnTo>
                        <a:pt x="141" y="24"/>
                      </a:lnTo>
                      <a:lnTo>
                        <a:pt x="143" y="28"/>
                      </a:lnTo>
                      <a:lnTo>
                        <a:pt x="143" y="30"/>
                      </a:lnTo>
                      <a:lnTo>
                        <a:pt x="143" y="30"/>
                      </a:lnTo>
                      <a:lnTo>
                        <a:pt x="143" y="32"/>
                      </a:lnTo>
                      <a:lnTo>
                        <a:pt x="141" y="35"/>
                      </a:lnTo>
                      <a:lnTo>
                        <a:pt x="137" y="37"/>
                      </a:lnTo>
                      <a:lnTo>
                        <a:pt x="132" y="40"/>
                      </a:lnTo>
                      <a:lnTo>
                        <a:pt x="132" y="40"/>
                      </a:lnTo>
                      <a:lnTo>
                        <a:pt x="126" y="41"/>
                      </a:lnTo>
                      <a:close/>
                    </a:path>
                  </a:pathLst>
                </a:custGeom>
                <a:solidFill>
                  <a:srgbClr val="E49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51"/>
                <p:cNvSpPr>
                  <a:spLocks/>
                </p:cNvSpPr>
                <p:nvPr/>
              </p:nvSpPr>
              <p:spPr bwMode="auto">
                <a:xfrm>
                  <a:off x="7502530" y="2732413"/>
                  <a:ext cx="108463" cy="46485"/>
                </a:xfrm>
                <a:custGeom>
                  <a:avLst/>
                  <a:gdLst>
                    <a:gd name="T0" fmla="*/ 102 w 143"/>
                    <a:gd name="T1" fmla="*/ 24 h 59"/>
                    <a:gd name="T2" fmla="*/ 106 w 143"/>
                    <a:gd name="T3" fmla="*/ 23 h 59"/>
                    <a:gd name="T4" fmla="*/ 114 w 143"/>
                    <a:gd name="T5" fmla="*/ 20 h 59"/>
                    <a:gd name="T6" fmla="*/ 113 w 143"/>
                    <a:gd name="T7" fmla="*/ 17 h 59"/>
                    <a:gd name="T8" fmla="*/ 108 w 143"/>
                    <a:gd name="T9" fmla="*/ 16 h 59"/>
                    <a:gd name="T10" fmla="*/ 101 w 143"/>
                    <a:gd name="T11" fmla="*/ 16 h 59"/>
                    <a:gd name="T12" fmla="*/ 96 w 143"/>
                    <a:gd name="T13" fmla="*/ 18 h 59"/>
                    <a:gd name="T14" fmla="*/ 95 w 143"/>
                    <a:gd name="T15" fmla="*/ 20 h 59"/>
                    <a:gd name="T16" fmla="*/ 98 w 143"/>
                    <a:gd name="T17" fmla="*/ 31 h 59"/>
                    <a:gd name="T18" fmla="*/ 101 w 143"/>
                    <a:gd name="T19" fmla="*/ 39 h 59"/>
                    <a:gd name="T20" fmla="*/ 102 w 143"/>
                    <a:gd name="T21" fmla="*/ 42 h 59"/>
                    <a:gd name="T22" fmla="*/ 98 w 143"/>
                    <a:gd name="T23" fmla="*/ 49 h 59"/>
                    <a:gd name="T24" fmla="*/ 94 w 143"/>
                    <a:gd name="T25" fmla="*/ 53 h 59"/>
                    <a:gd name="T26" fmla="*/ 85 w 143"/>
                    <a:gd name="T27" fmla="*/ 55 h 59"/>
                    <a:gd name="T28" fmla="*/ 69 w 143"/>
                    <a:gd name="T29" fmla="*/ 59 h 59"/>
                    <a:gd name="T30" fmla="*/ 54 w 143"/>
                    <a:gd name="T31" fmla="*/ 59 h 59"/>
                    <a:gd name="T32" fmla="*/ 46 w 143"/>
                    <a:gd name="T33" fmla="*/ 57 h 59"/>
                    <a:gd name="T34" fmla="*/ 31 w 143"/>
                    <a:gd name="T35" fmla="*/ 52 h 59"/>
                    <a:gd name="T36" fmla="*/ 11 w 143"/>
                    <a:gd name="T37" fmla="*/ 51 h 59"/>
                    <a:gd name="T38" fmla="*/ 13 w 143"/>
                    <a:gd name="T39" fmla="*/ 40 h 59"/>
                    <a:gd name="T40" fmla="*/ 9 w 143"/>
                    <a:gd name="T41" fmla="*/ 36 h 59"/>
                    <a:gd name="T42" fmla="*/ 6 w 143"/>
                    <a:gd name="T43" fmla="*/ 29 h 59"/>
                    <a:gd name="T44" fmla="*/ 6 w 143"/>
                    <a:gd name="T45" fmla="*/ 25 h 59"/>
                    <a:gd name="T46" fmla="*/ 13 w 143"/>
                    <a:gd name="T47" fmla="*/ 19 h 59"/>
                    <a:gd name="T48" fmla="*/ 27 w 143"/>
                    <a:gd name="T49" fmla="*/ 13 h 59"/>
                    <a:gd name="T50" fmla="*/ 55 w 143"/>
                    <a:gd name="T51" fmla="*/ 28 h 59"/>
                    <a:gd name="T52" fmla="*/ 48 w 143"/>
                    <a:gd name="T53" fmla="*/ 30 h 59"/>
                    <a:gd name="T54" fmla="*/ 34 w 143"/>
                    <a:gd name="T55" fmla="*/ 35 h 59"/>
                    <a:gd name="T56" fmla="*/ 35 w 143"/>
                    <a:gd name="T57" fmla="*/ 37 h 59"/>
                    <a:gd name="T58" fmla="*/ 38 w 143"/>
                    <a:gd name="T59" fmla="*/ 39 h 59"/>
                    <a:gd name="T60" fmla="*/ 40 w 143"/>
                    <a:gd name="T61" fmla="*/ 40 h 59"/>
                    <a:gd name="T62" fmla="*/ 48 w 143"/>
                    <a:gd name="T63" fmla="*/ 39 h 59"/>
                    <a:gd name="T64" fmla="*/ 61 w 143"/>
                    <a:gd name="T65" fmla="*/ 35 h 59"/>
                    <a:gd name="T66" fmla="*/ 62 w 143"/>
                    <a:gd name="T67" fmla="*/ 34 h 59"/>
                    <a:gd name="T68" fmla="*/ 62 w 143"/>
                    <a:gd name="T69" fmla="*/ 26 h 59"/>
                    <a:gd name="T70" fmla="*/ 58 w 143"/>
                    <a:gd name="T71" fmla="*/ 14 h 59"/>
                    <a:gd name="T72" fmla="*/ 60 w 143"/>
                    <a:gd name="T73" fmla="*/ 11 h 59"/>
                    <a:gd name="T74" fmla="*/ 62 w 143"/>
                    <a:gd name="T75" fmla="*/ 7 h 59"/>
                    <a:gd name="T76" fmla="*/ 74 w 143"/>
                    <a:gd name="T77" fmla="*/ 1 h 59"/>
                    <a:gd name="T78" fmla="*/ 85 w 143"/>
                    <a:gd name="T79" fmla="*/ 0 h 59"/>
                    <a:gd name="T80" fmla="*/ 97 w 143"/>
                    <a:gd name="T81" fmla="*/ 1 h 59"/>
                    <a:gd name="T82" fmla="*/ 123 w 143"/>
                    <a:gd name="T83" fmla="*/ 11 h 59"/>
                    <a:gd name="T84" fmla="*/ 142 w 143"/>
                    <a:gd name="T85" fmla="*/ 16 h 59"/>
                    <a:gd name="T86" fmla="*/ 133 w 143"/>
                    <a:gd name="T87" fmla="*/ 17 h 59"/>
                    <a:gd name="T88" fmla="*/ 143 w 143"/>
                    <a:gd name="T89" fmla="*/ 28 h 59"/>
                    <a:gd name="T90" fmla="*/ 143 w 143"/>
                    <a:gd name="T91" fmla="*/ 30 h 59"/>
                    <a:gd name="T92" fmla="*/ 141 w 143"/>
                    <a:gd name="T93" fmla="*/ 35 h 59"/>
                    <a:gd name="T94" fmla="*/ 132 w 143"/>
                    <a:gd name="T95" fmla="*/ 40 h 59"/>
                    <a:gd name="T96" fmla="*/ 126 w 143"/>
                    <a:gd name="T97"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59">
                      <a:moveTo>
                        <a:pt x="126" y="41"/>
                      </a:moveTo>
                      <a:lnTo>
                        <a:pt x="102" y="24"/>
                      </a:lnTo>
                      <a:lnTo>
                        <a:pt x="106" y="23"/>
                      </a:lnTo>
                      <a:lnTo>
                        <a:pt x="106" y="23"/>
                      </a:lnTo>
                      <a:lnTo>
                        <a:pt x="114" y="20"/>
                      </a:lnTo>
                      <a:lnTo>
                        <a:pt x="114" y="20"/>
                      </a:lnTo>
                      <a:lnTo>
                        <a:pt x="114" y="19"/>
                      </a:lnTo>
                      <a:lnTo>
                        <a:pt x="113" y="17"/>
                      </a:lnTo>
                      <a:lnTo>
                        <a:pt x="113" y="17"/>
                      </a:lnTo>
                      <a:lnTo>
                        <a:pt x="108" y="16"/>
                      </a:lnTo>
                      <a:lnTo>
                        <a:pt x="108" y="16"/>
                      </a:lnTo>
                      <a:lnTo>
                        <a:pt x="101" y="16"/>
                      </a:lnTo>
                      <a:lnTo>
                        <a:pt x="101" y="16"/>
                      </a:lnTo>
                      <a:lnTo>
                        <a:pt x="96" y="18"/>
                      </a:lnTo>
                      <a:lnTo>
                        <a:pt x="95" y="20"/>
                      </a:lnTo>
                      <a:lnTo>
                        <a:pt x="95" y="20"/>
                      </a:lnTo>
                      <a:lnTo>
                        <a:pt x="96" y="24"/>
                      </a:lnTo>
                      <a:lnTo>
                        <a:pt x="98" y="31"/>
                      </a:lnTo>
                      <a:lnTo>
                        <a:pt x="98" y="31"/>
                      </a:lnTo>
                      <a:lnTo>
                        <a:pt x="101" y="39"/>
                      </a:lnTo>
                      <a:lnTo>
                        <a:pt x="102" y="42"/>
                      </a:lnTo>
                      <a:lnTo>
                        <a:pt x="102" y="42"/>
                      </a:lnTo>
                      <a:lnTo>
                        <a:pt x="101" y="46"/>
                      </a:lnTo>
                      <a:lnTo>
                        <a:pt x="98" y="49"/>
                      </a:lnTo>
                      <a:lnTo>
                        <a:pt x="98" y="49"/>
                      </a:lnTo>
                      <a:lnTo>
                        <a:pt x="94" y="53"/>
                      </a:lnTo>
                      <a:lnTo>
                        <a:pt x="85" y="55"/>
                      </a:lnTo>
                      <a:lnTo>
                        <a:pt x="85" y="55"/>
                      </a:lnTo>
                      <a:lnTo>
                        <a:pt x="77" y="58"/>
                      </a:lnTo>
                      <a:lnTo>
                        <a:pt x="69" y="59"/>
                      </a:lnTo>
                      <a:lnTo>
                        <a:pt x="62" y="59"/>
                      </a:lnTo>
                      <a:lnTo>
                        <a:pt x="54" y="59"/>
                      </a:lnTo>
                      <a:lnTo>
                        <a:pt x="54" y="59"/>
                      </a:lnTo>
                      <a:lnTo>
                        <a:pt x="46" y="57"/>
                      </a:lnTo>
                      <a:lnTo>
                        <a:pt x="38" y="54"/>
                      </a:lnTo>
                      <a:lnTo>
                        <a:pt x="31" y="52"/>
                      </a:lnTo>
                      <a:lnTo>
                        <a:pt x="23" y="48"/>
                      </a:lnTo>
                      <a:lnTo>
                        <a:pt x="11" y="51"/>
                      </a:lnTo>
                      <a:lnTo>
                        <a:pt x="0" y="42"/>
                      </a:lnTo>
                      <a:lnTo>
                        <a:pt x="13" y="40"/>
                      </a:lnTo>
                      <a:lnTo>
                        <a:pt x="13" y="40"/>
                      </a:lnTo>
                      <a:lnTo>
                        <a:pt x="9" y="36"/>
                      </a:lnTo>
                      <a:lnTo>
                        <a:pt x="8" y="32"/>
                      </a:lnTo>
                      <a:lnTo>
                        <a:pt x="6" y="29"/>
                      </a:lnTo>
                      <a:lnTo>
                        <a:pt x="6" y="25"/>
                      </a:lnTo>
                      <a:lnTo>
                        <a:pt x="6" y="25"/>
                      </a:lnTo>
                      <a:lnTo>
                        <a:pt x="8" y="22"/>
                      </a:lnTo>
                      <a:lnTo>
                        <a:pt x="13" y="19"/>
                      </a:lnTo>
                      <a:lnTo>
                        <a:pt x="19" y="16"/>
                      </a:lnTo>
                      <a:lnTo>
                        <a:pt x="27" y="13"/>
                      </a:lnTo>
                      <a:lnTo>
                        <a:pt x="32" y="12"/>
                      </a:lnTo>
                      <a:lnTo>
                        <a:pt x="55" y="28"/>
                      </a:lnTo>
                      <a:lnTo>
                        <a:pt x="48" y="30"/>
                      </a:lnTo>
                      <a:lnTo>
                        <a:pt x="48" y="30"/>
                      </a:lnTo>
                      <a:lnTo>
                        <a:pt x="34" y="35"/>
                      </a:lnTo>
                      <a:lnTo>
                        <a:pt x="34" y="35"/>
                      </a:lnTo>
                      <a:lnTo>
                        <a:pt x="33" y="36"/>
                      </a:lnTo>
                      <a:lnTo>
                        <a:pt x="35" y="37"/>
                      </a:lnTo>
                      <a:lnTo>
                        <a:pt x="35" y="37"/>
                      </a:lnTo>
                      <a:lnTo>
                        <a:pt x="38" y="39"/>
                      </a:lnTo>
                      <a:lnTo>
                        <a:pt x="40" y="40"/>
                      </a:lnTo>
                      <a:lnTo>
                        <a:pt x="40" y="40"/>
                      </a:lnTo>
                      <a:lnTo>
                        <a:pt x="48" y="39"/>
                      </a:lnTo>
                      <a:lnTo>
                        <a:pt x="48" y="39"/>
                      </a:lnTo>
                      <a:lnTo>
                        <a:pt x="56" y="36"/>
                      </a:lnTo>
                      <a:lnTo>
                        <a:pt x="61" y="35"/>
                      </a:lnTo>
                      <a:lnTo>
                        <a:pt x="61" y="35"/>
                      </a:lnTo>
                      <a:lnTo>
                        <a:pt x="62" y="34"/>
                      </a:lnTo>
                      <a:lnTo>
                        <a:pt x="62" y="31"/>
                      </a:lnTo>
                      <a:lnTo>
                        <a:pt x="62" y="26"/>
                      </a:lnTo>
                      <a:lnTo>
                        <a:pt x="62" y="26"/>
                      </a:lnTo>
                      <a:lnTo>
                        <a:pt x="58" y="14"/>
                      </a:lnTo>
                      <a:lnTo>
                        <a:pt x="58" y="14"/>
                      </a:lnTo>
                      <a:lnTo>
                        <a:pt x="60" y="11"/>
                      </a:lnTo>
                      <a:lnTo>
                        <a:pt x="62" y="7"/>
                      </a:lnTo>
                      <a:lnTo>
                        <a:pt x="62" y="7"/>
                      </a:lnTo>
                      <a:lnTo>
                        <a:pt x="67" y="3"/>
                      </a:lnTo>
                      <a:lnTo>
                        <a:pt x="74" y="1"/>
                      </a:lnTo>
                      <a:lnTo>
                        <a:pt x="74" y="1"/>
                      </a:lnTo>
                      <a:lnTo>
                        <a:pt x="85" y="0"/>
                      </a:lnTo>
                      <a:lnTo>
                        <a:pt x="97" y="1"/>
                      </a:lnTo>
                      <a:lnTo>
                        <a:pt x="97" y="1"/>
                      </a:lnTo>
                      <a:lnTo>
                        <a:pt x="109" y="5"/>
                      </a:lnTo>
                      <a:lnTo>
                        <a:pt x="123" y="11"/>
                      </a:lnTo>
                      <a:lnTo>
                        <a:pt x="131" y="8"/>
                      </a:lnTo>
                      <a:lnTo>
                        <a:pt x="142" y="16"/>
                      </a:lnTo>
                      <a:lnTo>
                        <a:pt x="133" y="17"/>
                      </a:lnTo>
                      <a:lnTo>
                        <a:pt x="133" y="17"/>
                      </a:lnTo>
                      <a:lnTo>
                        <a:pt x="141" y="24"/>
                      </a:lnTo>
                      <a:lnTo>
                        <a:pt x="143" y="28"/>
                      </a:lnTo>
                      <a:lnTo>
                        <a:pt x="143" y="30"/>
                      </a:lnTo>
                      <a:lnTo>
                        <a:pt x="143" y="30"/>
                      </a:lnTo>
                      <a:lnTo>
                        <a:pt x="143" y="32"/>
                      </a:lnTo>
                      <a:lnTo>
                        <a:pt x="141" y="35"/>
                      </a:lnTo>
                      <a:lnTo>
                        <a:pt x="137" y="37"/>
                      </a:lnTo>
                      <a:lnTo>
                        <a:pt x="132" y="40"/>
                      </a:lnTo>
                      <a:lnTo>
                        <a:pt x="132" y="40"/>
                      </a:lnTo>
                      <a:lnTo>
                        <a:pt x="126"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09" name="Shape 22077"/>
          <p:cNvSpPr/>
          <p:nvPr/>
        </p:nvSpPr>
        <p:spPr>
          <a:xfrm>
            <a:off x="5741303" y="2332661"/>
            <a:ext cx="401935" cy="377579"/>
          </a:xfrm>
          <a:custGeom>
            <a:avLst/>
            <a:gdLst/>
            <a:ahLst/>
            <a:cxnLst>
              <a:cxn ang="0">
                <a:pos x="wd2" y="hd2"/>
              </a:cxn>
              <a:cxn ang="5400000">
                <a:pos x="wd2" y="hd2"/>
              </a:cxn>
              <a:cxn ang="10800000">
                <a:pos x="wd2" y="hd2"/>
              </a:cxn>
              <a:cxn ang="16200000">
                <a:pos x="wd2" y="hd2"/>
              </a:cxn>
            </a:cxnLst>
            <a:rect l="0" t="0" r="r" b="b"/>
            <a:pathLst>
              <a:path w="21600" h="21600" extrusionOk="0">
                <a:moveTo>
                  <a:pt x="17018" y="19510"/>
                </a:moveTo>
                <a:lnTo>
                  <a:pt x="4582" y="19510"/>
                </a:lnTo>
                <a:lnTo>
                  <a:pt x="4582" y="17419"/>
                </a:lnTo>
                <a:lnTo>
                  <a:pt x="17018" y="17419"/>
                </a:lnTo>
                <a:cubicBezTo>
                  <a:pt x="17018" y="17419"/>
                  <a:pt x="17018" y="19510"/>
                  <a:pt x="17018" y="19510"/>
                </a:cubicBezTo>
                <a:close/>
                <a:moveTo>
                  <a:pt x="2945" y="2090"/>
                </a:moveTo>
                <a:cubicBezTo>
                  <a:pt x="3487" y="2090"/>
                  <a:pt x="3927" y="2559"/>
                  <a:pt x="3927" y="3135"/>
                </a:cubicBezTo>
                <a:cubicBezTo>
                  <a:pt x="3927" y="3712"/>
                  <a:pt x="3487" y="4181"/>
                  <a:pt x="2945" y="4181"/>
                </a:cubicBezTo>
                <a:cubicBezTo>
                  <a:pt x="2404" y="4181"/>
                  <a:pt x="1964" y="3712"/>
                  <a:pt x="1964" y="3135"/>
                </a:cubicBezTo>
                <a:cubicBezTo>
                  <a:pt x="1964" y="2559"/>
                  <a:pt x="2404" y="2090"/>
                  <a:pt x="2945" y="2090"/>
                </a:cubicBezTo>
                <a:cubicBezTo>
                  <a:pt x="2945" y="2090"/>
                  <a:pt x="2945" y="2090"/>
                  <a:pt x="2945" y="2090"/>
                </a:cubicBezTo>
                <a:close/>
                <a:moveTo>
                  <a:pt x="6137" y="11160"/>
                </a:moveTo>
                <a:cubicBezTo>
                  <a:pt x="6426" y="11186"/>
                  <a:pt x="6710" y="11074"/>
                  <a:pt x="6914" y="10856"/>
                </a:cubicBezTo>
                <a:lnTo>
                  <a:pt x="10800" y="6706"/>
                </a:lnTo>
                <a:lnTo>
                  <a:pt x="14686" y="10856"/>
                </a:lnTo>
                <a:cubicBezTo>
                  <a:pt x="14891" y="11074"/>
                  <a:pt x="15174" y="11186"/>
                  <a:pt x="15463" y="11160"/>
                </a:cubicBezTo>
                <a:cubicBezTo>
                  <a:pt x="15751" y="11134"/>
                  <a:pt x="16014" y="10975"/>
                  <a:pt x="16182" y="10724"/>
                </a:cubicBezTo>
                <a:lnTo>
                  <a:pt x="17460" y="8813"/>
                </a:lnTo>
                <a:lnTo>
                  <a:pt x="17078" y="15329"/>
                </a:lnTo>
                <a:lnTo>
                  <a:pt x="10819" y="15329"/>
                </a:lnTo>
                <a:cubicBezTo>
                  <a:pt x="10806" y="15329"/>
                  <a:pt x="10794" y="15329"/>
                  <a:pt x="10781" y="15329"/>
                </a:cubicBezTo>
                <a:lnTo>
                  <a:pt x="4522" y="15329"/>
                </a:lnTo>
                <a:lnTo>
                  <a:pt x="4140" y="8813"/>
                </a:lnTo>
                <a:lnTo>
                  <a:pt x="5418" y="10724"/>
                </a:lnTo>
                <a:cubicBezTo>
                  <a:pt x="5586" y="10975"/>
                  <a:pt x="5849" y="11134"/>
                  <a:pt x="6137" y="11160"/>
                </a:cubicBezTo>
                <a:cubicBezTo>
                  <a:pt x="6137" y="11160"/>
                  <a:pt x="6137" y="11160"/>
                  <a:pt x="6137" y="11160"/>
                </a:cubicBezTo>
                <a:close/>
                <a:moveTo>
                  <a:pt x="10800" y="2090"/>
                </a:moveTo>
                <a:cubicBezTo>
                  <a:pt x="11341" y="2090"/>
                  <a:pt x="11782" y="2559"/>
                  <a:pt x="11782" y="3135"/>
                </a:cubicBezTo>
                <a:cubicBezTo>
                  <a:pt x="11782" y="3712"/>
                  <a:pt x="11341" y="4181"/>
                  <a:pt x="10800" y="4181"/>
                </a:cubicBezTo>
                <a:cubicBezTo>
                  <a:pt x="10259" y="4181"/>
                  <a:pt x="9818" y="3712"/>
                  <a:pt x="9818" y="3135"/>
                </a:cubicBezTo>
                <a:cubicBezTo>
                  <a:pt x="9818" y="2559"/>
                  <a:pt x="10259" y="2090"/>
                  <a:pt x="10800" y="2090"/>
                </a:cubicBezTo>
                <a:cubicBezTo>
                  <a:pt x="10800" y="2090"/>
                  <a:pt x="10800" y="2090"/>
                  <a:pt x="10800" y="2090"/>
                </a:cubicBezTo>
                <a:close/>
                <a:moveTo>
                  <a:pt x="18655" y="2090"/>
                </a:moveTo>
                <a:cubicBezTo>
                  <a:pt x="19196" y="2090"/>
                  <a:pt x="19636" y="2559"/>
                  <a:pt x="19636" y="3135"/>
                </a:cubicBezTo>
                <a:cubicBezTo>
                  <a:pt x="19636" y="3712"/>
                  <a:pt x="19196" y="4181"/>
                  <a:pt x="18655" y="4181"/>
                </a:cubicBezTo>
                <a:cubicBezTo>
                  <a:pt x="18113" y="4181"/>
                  <a:pt x="17673" y="3712"/>
                  <a:pt x="17673" y="3135"/>
                </a:cubicBezTo>
                <a:cubicBezTo>
                  <a:pt x="17673" y="2559"/>
                  <a:pt x="18113" y="2090"/>
                  <a:pt x="18655" y="2090"/>
                </a:cubicBezTo>
                <a:cubicBezTo>
                  <a:pt x="18655" y="2090"/>
                  <a:pt x="18655" y="2090"/>
                  <a:pt x="18655" y="2090"/>
                </a:cubicBezTo>
                <a:close/>
                <a:moveTo>
                  <a:pt x="21600" y="3135"/>
                </a:moveTo>
                <a:cubicBezTo>
                  <a:pt x="21600" y="1407"/>
                  <a:pt x="20279" y="0"/>
                  <a:pt x="18655" y="0"/>
                </a:cubicBezTo>
                <a:cubicBezTo>
                  <a:pt x="17031" y="0"/>
                  <a:pt x="15709" y="1407"/>
                  <a:pt x="15709" y="3135"/>
                </a:cubicBezTo>
                <a:cubicBezTo>
                  <a:pt x="15709" y="4247"/>
                  <a:pt x="16256" y="5225"/>
                  <a:pt x="17078" y="5782"/>
                </a:cubicBezTo>
                <a:lnTo>
                  <a:pt x="15257" y="8504"/>
                </a:lnTo>
                <a:lnTo>
                  <a:pt x="12572" y="5638"/>
                </a:lnTo>
                <a:cubicBezTo>
                  <a:pt x="13284" y="5065"/>
                  <a:pt x="13745" y="4157"/>
                  <a:pt x="13745" y="3135"/>
                </a:cubicBezTo>
                <a:cubicBezTo>
                  <a:pt x="13745" y="1407"/>
                  <a:pt x="12424" y="0"/>
                  <a:pt x="10800" y="0"/>
                </a:cubicBezTo>
                <a:cubicBezTo>
                  <a:pt x="9176" y="0"/>
                  <a:pt x="7855" y="1407"/>
                  <a:pt x="7855" y="3135"/>
                </a:cubicBezTo>
                <a:cubicBezTo>
                  <a:pt x="7855" y="4157"/>
                  <a:pt x="8316" y="5065"/>
                  <a:pt x="9028" y="5638"/>
                </a:cubicBezTo>
                <a:lnTo>
                  <a:pt x="6343" y="8504"/>
                </a:lnTo>
                <a:lnTo>
                  <a:pt x="4523" y="5782"/>
                </a:lnTo>
                <a:cubicBezTo>
                  <a:pt x="5344" y="5225"/>
                  <a:pt x="5891" y="4247"/>
                  <a:pt x="5891" y="3135"/>
                </a:cubicBezTo>
                <a:cubicBezTo>
                  <a:pt x="5891" y="1407"/>
                  <a:pt x="4570" y="0"/>
                  <a:pt x="2945" y="0"/>
                </a:cubicBezTo>
                <a:cubicBezTo>
                  <a:pt x="1322" y="0"/>
                  <a:pt x="0" y="1407"/>
                  <a:pt x="0" y="3135"/>
                </a:cubicBezTo>
                <a:cubicBezTo>
                  <a:pt x="0" y="4518"/>
                  <a:pt x="845" y="5693"/>
                  <a:pt x="2013" y="6109"/>
                </a:cubicBezTo>
                <a:lnTo>
                  <a:pt x="2618" y="16407"/>
                </a:lnTo>
                <a:lnTo>
                  <a:pt x="2618" y="20555"/>
                </a:lnTo>
                <a:cubicBezTo>
                  <a:pt x="2618" y="21132"/>
                  <a:pt x="3058" y="21600"/>
                  <a:pt x="3600" y="21600"/>
                </a:cubicBezTo>
                <a:lnTo>
                  <a:pt x="18000" y="21600"/>
                </a:lnTo>
                <a:cubicBezTo>
                  <a:pt x="18542" y="21600"/>
                  <a:pt x="18982" y="21132"/>
                  <a:pt x="18982" y="20555"/>
                </a:cubicBezTo>
                <a:lnTo>
                  <a:pt x="18982" y="16407"/>
                </a:lnTo>
                <a:lnTo>
                  <a:pt x="19587" y="6109"/>
                </a:lnTo>
                <a:cubicBezTo>
                  <a:pt x="20755" y="5693"/>
                  <a:pt x="21600" y="4518"/>
                  <a:pt x="21600" y="3135"/>
                </a:cubicBezTo>
                <a:cubicBezTo>
                  <a:pt x="21600" y="3135"/>
                  <a:pt x="21600" y="3135"/>
                  <a:pt x="21600" y="3135"/>
                </a:cubicBezTo>
                <a:close/>
              </a:path>
            </a:pathLst>
          </a:custGeom>
          <a:solidFill>
            <a:schemeClr val="tx1">
              <a:lumMod val="75000"/>
              <a:lumOff val="2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0" name="Shape 22078"/>
          <p:cNvSpPr/>
          <p:nvPr/>
        </p:nvSpPr>
        <p:spPr>
          <a:xfrm>
            <a:off x="8794892" y="2318156"/>
            <a:ext cx="380929" cy="381088"/>
          </a:xfrm>
          <a:custGeom>
            <a:avLst/>
            <a:gdLst/>
            <a:ahLst/>
            <a:cxnLst>
              <a:cxn ang="0">
                <a:pos x="wd2" y="hd2"/>
              </a:cxn>
              <a:cxn ang="5400000">
                <a:pos x="wd2" y="hd2"/>
              </a:cxn>
              <a:cxn ang="10800000">
                <a:pos x="wd2" y="hd2"/>
              </a:cxn>
              <a:cxn ang="16200000">
                <a:pos x="wd2" y="hd2"/>
              </a:cxn>
            </a:cxnLst>
            <a:rect l="0" t="0" r="r" b="b"/>
            <a:pathLst>
              <a:path w="21600" h="21600" extrusionOk="0">
                <a:moveTo>
                  <a:pt x="4907" y="0"/>
                </a:moveTo>
                <a:cubicBezTo>
                  <a:pt x="4364" y="0"/>
                  <a:pt x="3929" y="444"/>
                  <a:pt x="3929" y="986"/>
                </a:cubicBezTo>
                <a:lnTo>
                  <a:pt x="3929" y="3927"/>
                </a:lnTo>
                <a:lnTo>
                  <a:pt x="978" y="3927"/>
                </a:lnTo>
                <a:cubicBezTo>
                  <a:pt x="435" y="3927"/>
                  <a:pt x="0" y="4362"/>
                  <a:pt x="0" y="4905"/>
                </a:cubicBezTo>
                <a:lnTo>
                  <a:pt x="0" y="16686"/>
                </a:lnTo>
                <a:cubicBezTo>
                  <a:pt x="0" y="17228"/>
                  <a:pt x="435" y="17673"/>
                  <a:pt x="978" y="17673"/>
                </a:cubicBezTo>
                <a:lnTo>
                  <a:pt x="3929" y="17673"/>
                </a:lnTo>
                <a:lnTo>
                  <a:pt x="3929" y="20614"/>
                </a:lnTo>
                <a:cubicBezTo>
                  <a:pt x="3929" y="21156"/>
                  <a:pt x="4364" y="21600"/>
                  <a:pt x="4907" y="21600"/>
                </a:cubicBezTo>
                <a:lnTo>
                  <a:pt x="16693" y="21600"/>
                </a:lnTo>
                <a:cubicBezTo>
                  <a:pt x="17236" y="21600"/>
                  <a:pt x="17671" y="21156"/>
                  <a:pt x="17671" y="20614"/>
                </a:cubicBezTo>
                <a:lnTo>
                  <a:pt x="17671" y="17673"/>
                </a:lnTo>
                <a:lnTo>
                  <a:pt x="20622" y="17673"/>
                </a:lnTo>
                <a:cubicBezTo>
                  <a:pt x="21165" y="17673"/>
                  <a:pt x="21600" y="17228"/>
                  <a:pt x="21600" y="16686"/>
                </a:cubicBezTo>
                <a:lnTo>
                  <a:pt x="21600" y="4905"/>
                </a:lnTo>
                <a:cubicBezTo>
                  <a:pt x="21600" y="4362"/>
                  <a:pt x="21165" y="3927"/>
                  <a:pt x="20622" y="3927"/>
                </a:cubicBezTo>
                <a:lnTo>
                  <a:pt x="17671" y="3927"/>
                </a:lnTo>
                <a:lnTo>
                  <a:pt x="17671" y="986"/>
                </a:lnTo>
                <a:cubicBezTo>
                  <a:pt x="17671" y="444"/>
                  <a:pt x="17236" y="0"/>
                  <a:pt x="16693" y="0"/>
                </a:cubicBezTo>
                <a:lnTo>
                  <a:pt x="4907" y="0"/>
                </a:lnTo>
                <a:close/>
                <a:moveTo>
                  <a:pt x="5884" y="1964"/>
                </a:moveTo>
                <a:lnTo>
                  <a:pt x="15707" y="1964"/>
                </a:lnTo>
                <a:lnTo>
                  <a:pt x="15707" y="3927"/>
                </a:lnTo>
                <a:lnTo>
                  <a:pt x="5884" y="3927"/>
                </a:lnTo>
                <a:cubicBezTo>
                  <a:pt x="5884" y="3927"/>
                  <a:pt x="5884" y="1964"/>
                  <a:pt x="5884" y="1964"/>
                </a:cubicBezTo>
                <a:close/>
                <a:moveTo>
                  <a:pt x="1964" y="5891"/>
                </a:moveTo>
                <a:lnTo>
                  <a:pt x="19636" y="5891"/>
                </a:lnTo>
                <a:cubicBezTo>
                  <a:pt x="19636" y="5891"/>
                  <a:pt x="19636" y="15709"/>
                  <a:pt x="19636" y="15709"/>
                </a:cubicBezTo>
                <a:lnTo>
                  <a:pt x="17671" y="15709"/>
                </a:lnTo>
                <a:lnTo>
                  <a:pt x="17671" y="8832"/>
                </a:lnTo>
                <a:cubicBezTo>
                  <a:pt x="17671" y="8289"/>
                  <a:pt x="17236" y="7855"/>
                  <a:pt x="16693" y="7855"/>
                </a:cubicBezTo>
                <a:lnTo>
                  <a:pt x="4907" y="7855"/>
                </a:lnTo>
                <a:cubicBezTo>
                  <a:pt x="4364" y="7855"/>
                  <a:pt x="3929" y="8289"/>
                  <a:pt x="3929" y="8832"/>
                </a:cubicBezTo>
                <a:lnTo>
                  <a:pt x="3929" y="15709"/>
                </a:lnTo>
                <a:lnTo>
                  <a:pt x="1964" y="15709"/>
                </a:lnTo>
                <a:lnTo>
                  <a:pt x="1964" y="5891"/>
                </a:lnTo>
                <a:close/>
                <a:moveTo>
                  <a:pt x="5884" y="9818"/>
                </a:moveTo>
                <a:lnTo>
                  <a:pt x="15707" y="9818"/>
                </a:lnTo>
                <a:cubicBezTo>
                  <a:pt x="15707" y="9818"/>
                  <a:pt x="15707" y="19636"/>
                  <a:pt x="15707" y="19636"/>
                </a:cubicBezTo>
                <a:lnTo>
                  <a:pt x="5884" y="19636"/>
                </a:lnTo>
                <a:lnTo>
                  <a:pt x="5884" y="9818"/>
                </a:lnTo>
                <a:close/>
                <a:moveTo>
                  <a:pt x="8799" y="11872"/>
                </a:moveTo>
                <a:cubicBezTo>
                  <a:pt x="8257" y="11872"/>
                  <a:pt x="7822" y="12316"/>
                  <a:pt x="7822" y="12859"/>
                </a:cubicBezTo>
                <a:cubicBezTo>
                  <a:pt x="7822" y="13401"/>
                  <a:pt x="8257" y="13836"/>
                  <a:pt x="8799" y="13836"/>
                </a:cubicBezTo>
                <a:lnTo>
                  <a:pt x="12728" y="13836"/>
                </a:lnTo>
                <a:cubicBezTo>
                  <a:pt x="13271" y="13836"/>
                  <a:pt x="13715" y="13401"/>
                  <a:pt x="13715" y="12859"/>
                </a:cubicBezTo>
                <a:cubicBezTo>
                  <a:pt x="13715" y="12316"/>
                  <a:pt x="13271" y="11872"/>
                  <a:pt x="12728" y="11872"/>
                </a:cubicBezTo>
                <a:lnTo>
                  <a:pt x="8799" y="11872"/>
                </a:lnTo>
                <a:close/>
                <a:moveTo>
                  <a:pt x="8799" y="15637"/>
                </a:moveTo>
                <a:cubicBezTo>
                  <a:pt x="8257" y="15637"/>
                  <a:pt x="7822" y="16081"/>
                  <a:pt x="7822" y="16623"/>
                </a:cubicBezTo>
                <a:cubicBezTo>
                  <a:pt x="7822" y="17165"/>
                  <a:pt x="8257" y="17600"/>
                  <a:pt x="8799" y="17600"/>
                </a:cubicBezTo>
                <a:lnTo>
                  <a:pt x="12728" y="17600"/>
                </a:lnTo>
                <a:cubicBezTo>
                  <a:pt x="13271" y="17600"/>
                  <a:pt x="13715" y="17165"/>
                  <a:pt x="13715" y="16623"/>
                </a:cubicBezTo>
                <a:cubicBezTo>
                  <a:pt x="13715" y="16081"/>
                  <a:pt x="13271" y="15637"/>
                  <a:pt x="12728" y="15637"/>
                </a:cubicBezTo>
                <a:lnTo>
                  <a:pt x="8799" y="15637"/>
                </a:lnTo>
                <a:close/>
              </a:path>
            </a:pathLst>
          </a:custGeom>
          <a:solidFill>
            <a:schemeClr val="tx1">
              <a:lumMod val="75000"/>
              <a:lumOff val="2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1" name="Shape 22079"/>
          <p:cNvSpPr/>
          <p:nvPr/>
        </p:nvSpPr>
        <p:spPr>
          <a:xfrm>
            <a:off x="5751742" y="3567074"/>
            <a:ext cx="381056" cy="381054"/>
          </a:xfrm>
          <a:custGeom>
            <a:avLst/>
            <a:gdLst/>
            <a:ahLst/>
            <a:cxnLst>
              <a:cxn ang="0">
                <a:pos x="wd2" y="hd2"/>
              </a:cxn>
              <a:cxn ang="5400000">
                <a:pos x="wd2" y="hd2"/>
              </a:cxn>
              <a:cxn ang="10800000">
                <a:pos x="wd2" y="hd2"/>
              </a:cxn>
              <a:cxn ang="16200000">
                <a:pos x="wd2" y="hd2"/>
              </a:cxn>
            </a:cxnLst>
            <a:rect l="0" t="0" r="r" b="b"/>
            <a:pathLst>
              <a:path w="21410" h="21505" extrusionOk="0">
                <a:moveTo>
                  <a:pt x="15246" y="19145"/>
                </a:moveTo>
                <a:lnTo>
                  <a:pt x="12081" y="15966"/>
                </a:lnTo>
                <a:lnTo>
                  <a:pt x="15895" y="12135"/>
                </a:lnTo>
                <a:lnTo>
                  <a:pt x="19061" y="15314"/>
                </a:lnTo>
                <a:cubicBezTo>
                  <a:pt x="19061" y="15314"/>
                  <a:pt x="15246" y="19145"/>
                  <a:pt x="15246" y="19145"/>
                </a:cubicBezTo>
                <a:close/>
                <a:moveTo>
                  <a:pt x="5761" y="19550"/>
                </a:moveTo>
                <a:lnTo>
                  <a:pt x="1947" y="19550"/>
                </a:lnTo>
                <a:lnTo>
                  <a:pt x="1947" y="15719"/>
                </a:lnTo>
                <a:lnTo>
                  <a:pt x="6201" y="11446"/>
                </a:lnTo>
                <a:cubicBezTo>
                  <a:pt x="6202" y="11446"/>
                  <a:pt x="6202" y="11445"/>
                  <a:pt x="6203" y="11444"/>
                </a:cubicBezTo>
                <a:cubicBezTo>
                  <a:pt x="6203" y="11444"/>
                  <a:pt x="6204" y="11443"/>
                  <a:pt x="6205" y="11442"/>
                </a:cubicBezTo>
                <a:lnTo>
                  <a:pt x="10705" y="6922"/>
                </a:lnTo>
                <a:lnTo>
                  <a:pt x="11924" y="8146"/>
                </a:lnTo>
                <a:lnTo>
                  <a:pt x="4256" y="15847"/>
                </a:lnTo>
                <a:cubicBezTo>
                  <a:pt x="3877" y="16229"/>
                  <a:pt x="3877" y="16848"/>
                  <a:pt x="4256" y="17230"/>
                </a:cubicBezTo>
                <a:cubicBezTo>
                  <a:pt x="4446" y="17421"/>
                  <a:pt x="4695" y="17516"/>
                  <a:pt x="4945" y="17516"/>
                </a:cubicBezTo>
                <a:cubicBezTo>
                  <a:pt x="5194" y="17516"/>
                  <a:pt x="5443" y="17421"/>
                  <a:pt x="5633" y="17230"/>
                </a:cubicBezTo>
                <a:lnTo>
                  <a:pt x="13300" y="9529"/>
                </a:lnTo>
                <a:lnTo>
                  <a:pt x="14519" y="10753"/>
                </a:lnTo>
                <a:cubicBezTo>
                  <a:pt x="14519" y="10753"/>
                  <a:pt x="5761" y="19550"/>
                  <a:pt x="5761" y="19550"/>
                </a:cubicBezTo>
                <a:close/>
                <a:moveTo>
                  <a:pt x="2349" y="6191"/>
                </a:moveTo>
                <a:lnTo>
                  <a:pt x="6163" y="2361"/>
                </a:lnTo>
                <a:lnTo>
                  <a:pt x="9329" y="5540"/>
                </a:lnTo>
                <a:lnTo>
                  <a:pt x="5515" y="9371"/>
                </a:lnTo>
                <a:cubicBezTo>
                  <a:pt x="5515" y="9371"/>
                  <a:pt x="2349" y="6191"/>
                  <a:pt x="2349" y="6191"/>
                </a:cubicBezTo>
                <a:close/>
                <a:moveTo>
                  <a:pt x="15246" y="2361"/>
                </a:moveTo>
                <a:lnTo>
                  <a:pt x="19061" y="6191"/>
                </a:lnTo>
                <a:lnTo>
                  <a:pt x="15895" y="9371"/>
                </a:lnTo>
                <a:lnTo>
                  <a:pt x="12081" y="5540"/>
                </a:lnTo>
                <a:cubicBezTo>
                  <a:pt x="12081" y="5540"/>
                  <a:pt x="15246" y="2361"/>
                  <a:pt x="15246" y="2361"/>
                </a:cubicBezTo>
                <a:close/>
                <a:moveTo>
                  <a:pt x="17271" y="10753"/>
                </a:moveTo>
                <a:lnTo>
                  <a:pt x="21125" y="6882"/>
                </a:lnTo>
                <a:cubicBezTo>
                  <a:pt x="21505" y="6501"/>
                  <a:pt x="21505" y="5882"/>
                  <a:pt x="21125" y="5500"/>
                </a:cubicBezTo>
                <a:lnTo>
                  <a:pt x="15934" y="287"/>
                </a:lnTo>
                <a:cubicBezTo>
                  <a:pt x="15555" y="-95"/>
                  <a:pt x="14938" y="-95"/>
                  <a:pt x="14558" y="287"/>
                </a:cubicBezTo>
                <a:lnTo>
                  <a:pt x="10705" y="4157"/>
                </a:lnTo>
                <a:lnTo>
                  <a:pt x="6852" y="287"/>
                </a:lnTo>
                <a:cubicBezTo>
                  <a:pt x="6472" y="-95"/>
                  <a:pt x="5856" y="-95"/>
                  <a:pt x="5475" y="287"/>
                </a:cubicBezTo>
                <a:lnTo>
                  <a:pt x="285" y="5500"/>
                </a:lnTo>
                <a:cubicBezTo>
                  <a:pt x="-95" y="5882"/>
                  <a:pt x="-95" y="6501"/>
                  <a:pt x="285" y="6882"/>
                </a:cubicBezTo>
                <a:lnTo>
                  <a:pt x="4139" y="10753"/>
                </a:lnTo>
                <a:lnTo>
                  <a:pt x="285" y="14623"/>
                </a:lnTo>
                <a:cubicBezTo>
                  <a:pt x="103" y="14807"/>
                  <a:pt x="0" y="15055"/>
                  <a:pt x="0" y="15314"/>
                </a:cubicBezTo>
                <a:lnTo>
                  <a:pt x="0" y="20528"/>
                </a:lnTo>
                <a:cubicBezTo>
                  <a:pt x="0" y="21068"/>
                  <a:pt x="436" y="21505"/>
                  <a:pt x="973" y="21505"/>
                </a:cubicBezTo>
                <a:lnTo>
                  <a:pt x="6163" y="21505"/>
                </a:lnTo>
                <a:cubicBezTo>
                  <a:pt x="6422" y="21505"/>
                  <a:pt x="6669" y="21402"/>
                  <a:pt x="6852" y="21219"/>
                </a:cubicBezTo>
                <a:lnTo>
                  <a:pt x="10705" y="17349"/>
                </a:lnTo>
                <a:lnTo>
                  <a:pt x="14558" y="21219"/>
                </a:lnTo>
                <a:cubicBezTo>
                  <a:pt x="14748" y="21410"/>
                  <a:pt x="14997" y="21505"/>
                  <a:pt x="15246" y="21505"/>
                </a:cubicBezTo>
                <a:cubicBezTo>
                  <a:pt x="15495" y="21505"/>
                  <a:pt x="15745" y="21410"/>
                  <a:pt x="15934" y="21219"/>
                </a:cubicBezTo>
                <a:lnTo>
                  <a:pt x="21125" y="16005"/>
                </a:lnTo>
                <a:cubicBezTo>
                  <a:pt x="21505" y="15624"/>
                  <a:pt x="21505" y="15005"/>
                  <a:pt x="21125" y="14623"/>
                </a:cubicBezTo>
                <a:cubicBezTo>
                  <a:pt x="21125" y="14623"/>
                  <a:pt x="17271" y="10753"/>
                  <a:pt x="17271" y="10753"/>
                </a:cubicBezTo>
                <a:close/>
              </a:path>
            </a:pathLst>
          </a:custGeom>
          <a:solidFill>
            <a:schemeClr val="tx1">
              <a:lumMod val="75000"/>
              <a:lumOff val="2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2" name="Shape 22080"/>
          <p:cNvSpPr/>
          <p:nvPr/>
        </p:nvSpPr>
        <p:spPr>
          <a:xfrm>
            <a:off x="8824527" y="3571187"/>
            <a:ext cx="321657" cy="381088"/>
          </a:xfrm>
          <a:custGeom>
            <a:avLst/>
            <a:gdLst/>
            <a:ahLst/>
            <a:cxnLst>
              <a:cxn ang="0">
                <a:pos x="wd2" y="hd2"/>
              </a:cxn>
              <a:cxn ang="5400000">
                <a:pos x="wd2" y="hd2"/>
              </a:cxn>
              <a:cxn ang="10800000">
                <a:pos x="wd2" y="hd2"/>
              </a:cxn>
              <a:cxn ang="16200000">
                <a:pos x="wd2" y="hd2"/>
              </a:cxn>
            </a:cxnLst>
            <a:rect l="0" t="0" r="r" b="b"/>
            <a:pathLst>
              <a:path w="21600" h="21600" extrusionOk="0">
                <a:moveTo>
                  <a:pt x="15055" y="11602"/>
                </a:moveTo>
                <a:lnTo>
                  <a:pt x="15055" y="9945"/>
                </a:lnTo>
                <a:lnTo>
                  <a:pt x="19636" y="9945"/>
                </a:lnTo>
                <a:lnTo>
                  <a:pt x="19636" y="11602"/>
                </a:lnTo>
                <a:cubicBezTo>
                  <a:pt x="19636" y="11602"/>
                  <a:pt x="15055" y="11602"/>
                  <a:pt x="15055" y="11602"/>
                </a:cubicBezTo>
                <a:close/>
                <a:moveTo>
                  <a:pt x="17673" y="19943"/>
                </a:moveTo>
                <a:lnTo>
                  <a:pt x="13091" y="19943"/>
                </a:lnTo>
                <a:lnTo>
                  <a:pt x="13091" y="13259"/>
                </a:lnTo>
                <a:lnTo>
                  <a:pt x="17673" y="13259"/>
                </a:lnTo>
                <a:cubicBezTo>
                  <a:pt x="17673" y="13259"/>
                  <a:pt x="17673" y="19943"/>
                  <a:pt x="17673" y="19943"/>
                </a:cubicBezTo>
                <a:close/>
                <a:moveTo>
                  <a:pt x="3927" y="18258"/>
                </a:moveTo>
                <a:lnTo>
                  <a:pt x="11127" y="18258"/>
                </a:lnTo>
                <a:lnTo>
                  <a:pt x="11127" y="19943"/>
                </a:lnTo>
                <a:lnTo>
                  <a:pt x="3927" y="19943"/>
                </a:lnTo>
                <a:cubicBezTo>
                  <a:pt x="3927" y="19943"/>
                  <a:pt x="3927" y="18258"/>
                  <a:pt x="3927" y="18258"/>
                </a:cubicBezTo>
                <a:close/>
                <a:moveTo>
                  <a:pt x="7527" y="13259"/>
                </a:moveTo>
                <a:lnTo>
                  <a:pt x="11127" y="13259"/>
                </a:lnTo>
                <a:lnTo>
                  <a:pt x="11127" y="16601"/>
                </a:lnTo>
                <a:lnTo>
                  <a:pt x="3927" y="16601"/>
                </a:lnTo>
                <a:lnTo>
                  <a:pt x="3927" y="13259"/>
                </a:lnTo>
                <a:cubicBezTo>
                  <a:pt x="3927" y="13259"/>
                  <a:pt x="7527" y="13259"/>
                  <a:pt x="7527" y="13259"/>
                </a:cubicBezTo>
                <a:close/>
                <a:moveTo>
                  <a:pt x="3653" y="4972"/>
                </a:moveTo>
                <a:lnTo>
                  <a:pt x="7085" y="4972"/>
                </a:lnTo>
                <a:lnTo>
                  <a:pt x="6648" y="8287"/>
                </a:lnTo>
                <a:lnTo>
                  <a:pt x="2344" y="8287"/>
                </a:lnTo>
                <a:cubicBezTo>
                  <a:pt x="2344" y="8287"/>
                  <a:pt x="3653" y="4972"/>
                  <a:pt x="3653" y="4972"/>
                </a:cubicBezTo>
                <a:close/>
                <a:moveTo>
                  <a:pt x="6545" y="1657"/>
                </a:moveTo>
                <a:lnTo>
                  <a:pt x="15055" y="1657"/>
                </a:lnTo>
                <a:lnTo>
                  <a:pt x="15055" y="3315"/>
                </a:lnTo>
                <a:lnTo>
                  <a:pt x="6545" y="3315"/>
                </a:lnTo>
                <a:cubicBezTo>
                  <a:pt x="6545" y="3315"/>
                  <a:pt x="6545" y="1657"/>
                  <a:pt x="6545" y="1657"/>
                </a:cubicBezTo>
                <a:close/>
                <a:moveTo>
                  <a:pt x="12976" y="8287"/>
                </a:moveTo>
                <a:lnTo>
                  <a:pt x="8624" y="8287"/>
                </a:lnTo>
                <a:lnTo>
                  <a:pt x="9061" y="4972"/>
                </a:lnTo>
                <a:lnTo>
                  <a:pt x="12539" y="4972"/>
                </a:lnTo>
                <a:cubicBezTo>
                  <a:pt x="12539" y="4972"/>
                  <a:pt x="12976" y="8287"/>
                  <a:pt x="12976" y="8287"/>
                </a:cubicBezTo>
                <a:close/>
                <a:moveTo>
                  <a:pt x="1964" y="11602"/>
                </a:moveTo>
                <a:lnTo>
                  <a:pt x="1964" y="9945"/>
                </a:lnTo>
                <a:lnTo>
                  <a:pt x="6545" y="9945"/>
                </a:lnTo>
                <a:lnTo>
                  <a:pt x="6545" y="11602"/>
                </a:lnTo>
                <a:cubicBezTo>
                  <a:pt x="6545" y="11602"/>
                  <a:pt x="1964" y="11602"/>
                  <a:pt x="1964" y="11602"/>
                </a:cubicBezTo>
                <a:close/>
                <a:moveTo>
                  <a:pt x="8509" y="11602"/>
                </a:moveTo>
                <a:lnTo>
                  <a:pt x="8509" y="9945"/>
                </a:lnTo>
                <a:lnTo>
                  <a:pt x="13091" y="9945"/>
                </a:lnTo>
                <a:lnTo>
                  <a:pt x="13091" y="11602"/>
                </a:lnTo>
                <a:cubicBezTo>
                  <a:pt x="13091" y="11602"/>
                  <a:pt x="8509" y="11602"/>
                  <a:pt x="8509" y="11602"/>
                </a:cubicBezTo>
                <a:close/>
                <a:moveTo>
                  <a:pt x="19256" y="8287"/>
                </a:moveTo>
                <a:lnTo>
                  <a:pt x="14952" y="8287"/>
                </a:lnTo>
                <a:lnTo>
                  <a:pt x="14515" y="4972"/>
                </a:lnTo>
                <a:lnTo>
                  <a:pt x="17947" y="4972"/>
                </a:lnTo>
                <a:cubicBezTo>
                  <a:pt x="17947" y="4972"/>
                  <a:pt x="19256" y="8287"/>
                  <a:pt x="19256" y="8287"/>
                </a:cubicBezTo>
                <a:close/>
                <a:moveTo>
                  <a:pt x="21550" y="8853"/>
                </a:moveTo>
                <a:lnTo>
                  <a:pt x="19586" y="3881"/>
                </a:lnTo>
                <a:cubicBezTo>
                  <a:pt x="19452" y="3543"/>
                  <a:pt x="19077" y="3315"/>
                  <a:pt x="18655" y="3315"/>
                </a:cubicBezTo>
                <a:lnTo>
                  <a:pt x="17018" y="3315"/>
                </a:lnTo>
                <a:lnTo>
                  <a:pt x="17018" y="829"/>
                </a:lnTo>
                <a:cubicBezTo>
                  <a:pt x="17018" y="371"/>
                  <a:pt x="16578" y="0"/>
                  <a:pt x="16036" y="0"/>
                </a:cubicBezTo>
                <a:lnTo>
                  <a:pt x="5563" y="0"/>
                </a:lnTo>
                <a:cubicBezTo>
                  <a:pt x="5021" y="0"/>
                  <a:pt x="4582" y="371"/>
                  <a:pt x="4582" y="829"/>
                </a:cubicBezTo>
                <a:lnTo>
                  <a:pt x="4582" y="3315"/>
                </a:lnTo>
                <a:lnTo>
                  <a:pt x="2945" y="3315"/>
                </a:lnTo>
                <a:cubicBezTo>
                  <a:pt x="2523" y="3315"/>
                  <a:pt x="2148" y="3543"/>
                  <a:pt x="2014" y="3881"/>
                </a:cubicBezTo>
                <a:lnTo>
                  <a:pt x="50" y="8853"/>
                </a:lnTo>
                <a:cubicBezTo>
                  <a:pt x="17" y="8938"/>
                  <a:pt x="0" y="9026"/>
                  <a:pt x="0" y="9116"/>
                </a:cubicBezTo>
                <a:lnTo>
                  <a:pt x="0" y="12431"/>
                </a:lnTo>
                <a:cubicBezTo>
                  <a:pt x="0" y="12888"/>
                  <a:pt x="439" y="13259"/>
                  <a:pt x="982" y="13259"/>
                </a:cubicBezTo>
                <a:lnTo>
                  <a:pt x="1964" y="13259"/>
                </a:lnTo>
                <a:lnTo>
                  <a:pt x="1964" y="20771"/>
                </a:lnTo>
                <a:cubicBezTo>
                  <a:pt x="1964" y="21229"/>
                  <a:pt x="2403" y="21600"/>
                  <a:pt x="2945" y="21600"/>
                </a:cubicBezTo>
                <a:lnTo>
                  <a:pt x="18655" y="21600"/>
                </a:lnTo>
                <a:cubicBezTo>
                  <a:pt x="19197" y="21600"/>
                  <a:pt x="19636" y="21229"/>
                  <a:pt x="19636" y="20771"/>
                </a:cubicBezTo>
                <a:lnTo>
                  <a:pt x="19636" y="13259"/>
                </a:lnTo>
                <a:lnTo>
                  <a:pt x="20618" y="13259"/>
                </a:lnTo>
                <a:cubicBezTo>
                  <a:pt x="21161" y="13259"/>
                  <a:pt x="21600" y="12888"/>
                  <a:pt x="21600" y="12431"/>
                </a:cubicBezTo>
                <a:lnTo>
                  <a:pt x="21600" y="9116"/>
                </a:lnTo>
                <a:cubicBezTo>
                  <a:pt x="21600" y="9026"/>
                  <a:pt x="21583" y="8938"/>
                  <a:pt x="21550" y="8853"/>
                </a:cubicBezTo>
                <a:cubicBezTo>
                  <a:pt x="21550" y="8853"/>
                  <a:pt x="21550" y="8853"/>
                  <a:pt x="21550" y="8853"/>
                </a:cubicBezTo>
                <a:close/>
              </a:path>
            </a:pathLst>
          </a:custGeom>
          <a:solidFill>
            <a:schemeClr val="tx1">
              <a:lumMod val="75000"/>
              <a:lumOff val="2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3" name="Rectangle 112"/>
          <p:cNvSpPr/>
          <p:nvPr/>
        </p:nvSpPr>
        <p:spPr>
          <a:xfrm>
            <a:off x="6438145" y="2539446"/>
            <a:ext cx="2164012" cy="553998"/>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14" name="TextBox 113"/>
          <p:cNvSpPr txBox="1"/>
          <p:nvPr/>
        </p:nvSpPr>
        <p:spPr>
          <a:xfrm>
            <a:off x="6438145" y="2209680"/>
            <a:ext cx="1644372" cy="307777"/>
          </a:xfrm>
          <a:prstGeom prst="rect">
            <a:avLst/>
          </a:prstGeom>
          <a:noFill/>
        </p:spPr>
        <p:txBody>
          <a:bodyPr wrap="square" rtlCol="0">
            <a:spAutoFit/>
          </a:bodyPr>
          <a:lstStyle/>
          <a:p>
            <a:r>
              <a:rPr lang="en-US" sz="1400" b="1" dirty="0">
                <a:solidFill>
                  <a:schemeClr val="tx1">
                    <a:lumMod val="85000"/>
                    <a:lumOff val="15000"/>
                  </a:schemeClr>
                </a:solidFill>
                <a:latin typeface="Montserrat" panose="00000500000000000000" pitchFamily="2" charset="0"/>
                <a:ea typeface="Roboto" panose="02000000000000000000" pitchFamily="2" charset="0"/>
                <a:cs typeface="Open Sans"/>
              </a:rPr>
              <a:t>LEADERSHIP</a:t>
            </a:r>
          </a:p>
        </p:txBody>
      </p:sp>
      <p:sp>
        <p:nvSpPr>
          <p:cNvPr id="115" name="Rectangle 114"/>
          <p:cNvSpPr/>
          <p:nvPr/>
        </p:nvSpPr>
        <p:spPr>
          <a:xfrm>
            <a:off x="9495507" y="2539446"/>
            <a:ext cx="2164012" cy="553998"/>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116" name="TextBox 115"/>
          <p:cNvSpPr txBox="1"/>
          <p:nvPr/>
        </p:nvSpPr>
        <p:spPr>
          <a:xfrm>
            <a:off x="9495507" y="2209680"/>
            <a:ext cx="1644372" cy="307777"/>
          </a:xfrm>
          <a:prstGeom prst="rect">
            <a:avLst/>
          </a:prstGeom>
          <a:noFill/>
        </p:spPr>
        <p:txBody>
          <a:bodyPr wrap="square" rtlCol="0">
            <a:spAutoFit/>
          </a:bodyPr>
          <a:lstStyle/>
          <a:p>
            <a:r>
              <a:rPr lang="en-US" sz="1400" b="1" dirty="0">
                <a:solidFill>
                  <a:schemeClr val="tx1">
                    <a:lumMod val="85000"/>
                    <a:lumOff val="15000"/>
                  </a:schemeClr>
                </a:solidFill>
                <a:latin typeface="Montserrat" panose="00000500000000000000" pitchFamily="2" charset="0"/>
                <a:ea typeface="Roboto" panose="02000000000000000000" pitchFamily="2" charset="0"/>
                <a:cs typeface="Open Sans"/>
              </a:rPr>
              <a:t>LEADERSHIP</a:t>
            </a:r>
          </a:p>
        </p:txBody>
      </p:sp>
      <p:sp>
        <p:nvSpPr>
          <p:cNvPr id="117" name="Rectangle 116"/>
          <p:cNvSpPr/>
          <p:nvPr/>
        </p:nvSpPr>
        <p:spPr>
          <a:xfrm>
            <a:off x="6438145" y="3833668"/>
            <a:ext cx="2164012" cy="553998"/>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118" name="TextBox 117"/>
          <p:cNvSpPr txBox="1"/>
          <p:nvPr/>
        </p:nvSpPr>
        <p:spPr>
          <a:xfrm>
            <a:off x="6438145" y="3503902"/>
            <a:ext cx="1644372" cy="307777"/>
          </a:xfrm>
          <a:prstGeom prst="rect">
            <a:avLst/>
          </a:prstGeom>
          <a:noFill/>
        </p:spPr>
        <p:txBody>
          <a:bodyPr wrap="square" rtlCol="0">
            <a:spAutoFit/>
          </a:bodyPr>
          <a:lstStyle/>
          <a:p>
            <a:r>
              <a:rPr lang="en-US" sz="1400" b="1" dirty="0">
                <a:solidFill>
                  <a:schemeClr val="tx1">
                    <a:lumMod val="85000"/>
                    <a:lumOff val="15000"/>
                  </a:schemeClr>
                </a:solidFill>
                <a:latin typeface="Montserrat" panose="00000500000000000000" pitchFamily="2" charset="0"/>
                <a:ea typeface="Roboto" panose="02000000000000000000" pitchFamily="2" charset="0"/>
                <a:cs typeface="Open Sans"/>
              </a:rPr>
              <a:t>LEADERSHIP</a:t>
            </a:r>
          </a:p>
        </p:txBody>
      </p:sp>
      <p:sp>
        <p:nvSpPr>
          <p:cNvPr id="119" name="Rectangle 118"/>
          <p:cNvSpPr/>
          <p:nvPr/>
        </p:nvSpPr>
        <p:spPr>
          <a:xfrm>
            <a:off x="9495507" y="3833668"/>
            <a:ext cx="2164012" cy="553998"/>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120" name="TextBox 119"/>
          <p:cNvSpPr txBox="1"/>
          <p:nvPr/>
        </p:nvSpPr>
        <p:spPr>
          <a:xfrm>
            <a:off x="9495507" y="3503902"/>
            <a:ext cx="1644372" cy="307777"/>
          </a:xfrm>
          <a:prstGeom prst="rect">
            <a:avLst/>
          </a:prstGeom>
          <a:noFill/>
        </p:spPr>
        <p:txBody>
          <a:bodyPr wrap="square" rtlCol="0">
            <a:spAutoFit/>
          </a:bodyPr>
          <a:lstStyle/>
          <a:p>
            <a:r>
              <a:rPr lang="en-US" sz="1400" b="1" dirty="0">
                <a:solidFill>
                  <a:schemeClr val="tx1">
                    <a:lumMod val="85000"/>
                    <a:lumOff val="15000"/>
                  </a:schemeClr>
                </a:solidFill>
                <a:latin typeface="Montserrat" panose="00000500000000000000" pitchFamily="2" charset="0"/>
                <a:ea typeface="Roboto" panose="02000000000000000000" pitchFamily="2" charset="0"/>
                <a:cs typeface="Open Sans"/>
              </a:rPr>
              <a:t>LEADERSHIP</a:t>
            </a:r>
          </a:p>
        </p:txBody>
      </p:sp>
      <p:sp>
        <p:nvSpPr>
          <p:cNvPr id="3" name="Slide Number Placeholder 2"/>
          <p:cNvSpPr>
            <a:spLocks noGrp="1"/>
          </p:cNvSpPr>
          <p:nvPr>
            <p:ph type="sldNum" sz="quarter" idx="12"/>
          </p:nvPr>
        </p:nvSpPr>
        <p:spPr/>
        <p:txBody>
          <a:bodyPr/>
          <a:lstStyle/>
          <a:p>
            <a:fld id="{DE156FE7-4276-48C2-8D29-2DA35A3BAE26}" type="slidenum">
              <a:rPr lang="en-US" smtClean="0"/>
              <a:t>17</a:t>
            </a:fld>
            <a:endParaRPr lang="en-US"/>
          </a:p>
        </p:txBody>
      </p:sp>
    </p:spTree>
    <p:extLst>
      <p:ext uri="{BB962C8B-B14F-4D97-AF65-F5344CB8AC3E}">
        <p14:creationId xmlns:p14="http://schemas.microsoft.com/office/powerpoint/2010/main" val="2307062334"/>
      </p:ext>
    </p:extLst>
  </p:cSld>
  <p:clrMapOvr>
    <a:masterClrMapping/>
  </p:clrMapOvr>
  <p:transition spd="med">
    <p:pull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HAT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E DO</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109" name="Rectangle 108"/>
          <p:cNvSpPr/>
          <p:nvPr/>
        </p:nvSpPr>
        <p:spPr>
          <a:xfrm>
            <a:off x="0" y="3719115"/>
            <a:ext cx="12192000" cy="3138887"/>
          </a:xfrm>
          <a:prstGeom prst="rect">
            <a:avLst/>
          </a:prstGeom>
          <a:solidFill>
            <a:schemeClr val="bg1">
              <a:lumMod val="7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0" name="Oval 109"/>
          <p:cNvSpPr/>
          <p:nvPr/>
        </p:nvSpPr>
        <p:spPr>
          <a:xfrm>
            <a:off x="1222590" y="3140899"/>
            <a:ext cx="1178183" cy="1178315"/>
          </a:xfrm>
          <a:prstGeom prst="ellipse">
            <a:avLst/>
          </a:prstGeom>
          <a:gradFill>
            <a:gsLst>
              <a:gs pos="0">
                <a:schemeClr val="accent1"/>
              </a:gs>
              <a:gs pos="100000">
                <a:schemeClr val="accent2"/>
              </a:gs>
            </a:gsLst>
            <a:lin ang="5400000" scaled="1"/>
          </a:gradFill>
          <a:ln w="6350">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285737" indent="-285737">
              <a:buFont typeface="Arial"/>
              <a:buChar char="•"/>
            </a:pPr>
            <a:endParaRPr lang="en-US" sz="1050" dirty="0">
              <a:latin typeface="Calibri Light" panose="020F0302020204030204" pitchFamily="34" charset="0"/>
            </a:endParaRPr>
          </a:p>
        </p:txBody>
      </p:sp>
      <p:sp>
        <p:nvSpPr>
          <p:cNvPr id="111" name="Rectangle 110"/>
          <p:cNvSpPr/>
          <p:nvPr/>
        </p:nvSpPr>
        <p:spPr>
          <a:xfrm>
            <a:off x="1318150" y="3686857"/>
            <a:ext cx="987071" cy="184666"/>
          </a:xfrm>
          <a:prstGeom prst="rect">
            <a:avLst/>
          </a:prstGeom>
        </p:spPr>
        <p:txBody>
          <a:bodyPr wrap="square" lIns="0" tIns="0" rIns="0" bIns="0">
            <a:spAutoFit/>
          </a:bodyPr>
          <a:lstStyle/>
          <a:p>
            <a:pPr algn="ctr"/>
            <a:r>
              <a:rPr lang="en-US" sz="1200" dirty="0">
                <a:solidFill>
                  <a:schemeClr val="bg1">
                    <a:lumMod val="95000"/>
                  </a:schemeClr>
                </a:solidFill>
                <a:latin typeface="Montserrat" panose="00000500000000000000" pitchFamily="2" charset="0"/>
                <a:ea typeface="Roboto Light" panose="02000000000000000000" pitchFamily="2" charset="0"/>
              </a:rPr>
              <a:t>TEXT HERE</a:t>
            </a:r>
          </a:p>
        </p:txBody>
      </p:sp>
      <p:sp>
        <p:nvSpPr>
          <p:cNvPr id="112" name="Oval 111"/>
          <p:cNvSpPr/>
          <p:nvPr/>
        </p:nvSpPr>
        <p:spPr>
          <a:xfrm>
            <a:off x="1537232" y="2938852"/>
            <a:ext cx="548905" cy="548905"/>
          </a:xfrm>
          <a:prstGeom prst="ellipse">
            <a:avLst/>
          </a:prstGeom>
          <a:solidFill>
            <a:srgbClr val="2F343B">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nvGrpSpPr>
          <p:cNvPr id="113" name="Group 112"/>
          <p:cNvGrpSpPr/>
          <p:nvPr/>
        </p:nvGrpSpPr>
        <p:grpSpPr>
          <a:xfrm>
            <a:off x="1683639" y="3096604"/>
            <a:ext cx="256088" cy="233397"/>
            <a:chOff x="9672638" y="0"/>
            <a:chExt cx="7524750" cy="6858000"/>
          </a:xfrm>
          <a:solidFill>
            <a:schemeClr val="bg1">
              <a:lumMod val="95000"/>
            </a:schemeClr>
          </a:solidFill>
        </p:grpSpPr>
        <p:sp>
          <p:nvSpPr>
            <p:cNvPr id="114" name="Freeform 113"/>
            <p:cNvSpPr>
              <a:spLocks/>
            </p:cNvSpPr>
            <p:nvPr/>
          </p:nvSpPr>
          <p:spPr bwMode="auto">
            <a:xfrm>
              <a:off x="12142788" y="0"/>
              <a:ext cx="2579688" cy="2622550"/>
            </a:xfrm>
            <a:custGeom>
              <a:avLst/>
              <a:gdLst>
                <a:gd name="T0" fmla="*/ 280 w 1625"/>
                <a:gd name="T1" fmla="*/ 1200 h 1652"/>
                <a:gd name="T2" fmla="*/ 374 w 1625"/>
                <a:gd name="T3" fmla="*/ 1348 h 1652"/>
                <a:gd name="T4" fmla="*/ 523 w 1625"/>
                <a:gd name="T5" fmla="*/ 1508 h 1652"/>
                <a:gd name="T6" fmla="*/ 676 w 1625"/>
                <a:gd name="T7" fmla="*/ 1615 h 1652"/>
                <a:gd name="T8" fmla="*/ 748 w 1625"/>
                <a:gd name="T9" fmla="*/ 1643 h 1652"/>
                <a:gd name="T10" fmla="*/ 813 w 1625"/>
                <a:gd name="T11" fmla="*/ 1652 h 1652"/>
                <a:gd name="T12" fmla="*/ 860 w 1625"/>
                <a:gd name="T13" fmla="*/ 1647 h 1652"/>
                <a:gd name="T14" fmla="*/ 931 w 1625"/>
                <a:gd name="T15" fmla="*/ 1623 h 1652"/>
                <a:gd name="T16" fmla="*/ 1063 w 1625"/>
                <a:gd name="T17" fmla="*/ 1540 h 1652"/>
                <a:gd name="T18" fmla="*/ 1215 w 1625"/>
                <a:gd name="T19" fmla="*/ 1392 h 1652"/>
                <a:gd name="T20" fmla="*/ 1332 w 1625"/>
                <a:gd name="T21" fmla="*/ 1226 h 1652"/>
                <a:gd name="T22" fmla="*/ 1372 w 1625"/>
                <a:gd name="T23" fmla="*/ 1147 h 1652"/>
                <a:gd name="T24" fmla="*/ 1435 w 1625"/>
                <a:gd name="T25" fmla="*/ 1144 h 1652"/>
                <a:gd name="T26" fmla="*/ 1502 w 1625"/>
                <a:gd name="T27" fmla="*/ 1124 h 1652"/>
                <a:gd name="T28" fmla="*/ 1561 w 1625"/>
                <a:gd name="T29" fmla="*/ 1085 h 1652"/>
                <a:gd name="T30" fmla="*/ 1603 w 1625"/>
                <a:gd name="T31" fmla="*/ 1030 h 1652"/>
                <a:gd name="T32" fmla="*/ 1623 w 1625"/>
                <a:gd name="T33" fmla="*/ 960 h 1652"/>
                <a:gd name="T34" fmla="*/ 1619 w 1625"/>
                <a:gd name="T35" fmla="*/ 883 h 1652"/>
                <a:gd name="T36" fmla="*/ 1588 w 1625"/>
                <a:gd name="T37" fmla="*/ 828 h 1652"/>
                <a:gd name="T38" fmla="*/ 1542 w 1625"/>
                <a:gd name="T39" fmla="*/ 802 h 1652"/>
                <a:gd name="T40" fmla="*/ 1506 w 1625"/>
                <a:gd name="T41" fmla="*/ 805 h 1652"/>
                <a:gd name="T42" fmla="*/ 1465 w 1625"/>
                <a:gd name="T43" fmla="*/ 825 h 1652"/>
                <a:gd name="T44" fmla="*/ 1452 w 1625"/>
                <a:gd name="T45" fmla="*/ 813 h 1652"/>
                <a:gd name="T46" fmla="*/ 1450 w 1625"/>
                <a:gd name="T47" fmla="*/ 723 h 1652"/>
                <a:gd name="T48" fmla="*/ 1424 w 1625"/>
                <a:gd name="T49" fmla="*/ 566 h 1652"/>
                <a:gd name="T50" fmla="*/ 1376 w 1625"/>
                <a:gd name="T51" fmla="*/ 421 h 1652"/>
                <a:gd name="T52" fmla="*/ 1306 w 1625"/>
                <a:gd name="T53" fmla="*/ 292 h 1652"/>
                <a:gd name="T54" fmla="*/ 1220 w 1625"/>
                <a:gd name="T55" fmla="*/ 184 h 1652"/>
                <a:gd name="T56" fmla="*/ 1117 w 1625"/>
                <a:gd name="T57" fmla="*/ 97 h 1652"/>
                <a:gd name="T58" fmla="*/ 1003 w 1625"/>
                <a:gd name="T59" fmla="*/ 36 h 1652"/>
                <a:gd name="T60" fmla="*/ 878 w 1625"/>
                <a:gd name="T61" fmla="*/ 4 h 1652"/>
                <a:gd name="T62" fmla="*/ 779 w 1625"/>
                <a:gd name="T63" fmla="*/ 1 h 1652"/>
                <a:gd name="T64" fmla="*/ 652 w 1625"/>
                <a:gd name="T65" fmla="*/ 25 h 1652"/>
                <a:gd name="T66" fmla="*/ 535 w 1625"/>
                <a:gd name="T67" fmla="*/ 79 h 1652"/>
                <a:gd name="T68" fmla="*/ 429 w 1625"/>
                <a:gd name="T69" fmla="*/ 160 h 1652"/>
                <a:gd name="T70" fmla="*/ 338 w 1625"/>
                <a:gd name="T71" fmla="*/ 264 h 1652"/>
                <a:gd name="T72" fmla="*/ 264 w 1625"/>
                <a:gd name="T73" fmla="*/ 388 h 1652"/>
                <a:gd name="T74" fmla="*/ 210 w 1625"/>
                <a:gd name="T75" fmla="*/ 528 h 1652"/>
                <a:gd name="T76" fmla="*/ 180 w 1625"/>
                <a:gd name="T77" fmla="*/ 683 h 1652"/>
                <a:gd name="T78" fmla="*/ 172 w 1625"/>
                <a:gd name="T79" fmla="*/ 805 h 1652"/>
                <a:gd name="T80" fmla="*/ 176 w 1625"/>
                <a:gd name="T81" fmla="*/ 838 h 1652"/>
                <a:gd name="T82" fmla="*/ 131 w 1625"/>
                <a:gd name="T83" fmla="*/ 807 h 1652"/>
                <a:gd name="T84" fmla="*/ 95 w 1625"/>
                <a:gd name="T85" fmla="*/ 801 h 1652"/>
                <a:gd name="T86" fmla="*/ 48 w 1625"/>
                <a:gd name="T87" fmla="*/ 818 h 1652"/>
                <a:gd name="T88" fmla="*/ 13 w 1625"/>
                <a:gd name="T89" fmla="*/ 866 h 1652"/>
                <a:gd name="T90" fmla="*/ 0 w 1625"/>
                <a:gd name="T91" fmla="*/ 939 h 1652"/>
                <a:gd name="T92" fmla="*/ 23 w 1625"/>
                <a:gd name="T93" fmla="*/ 1030 h 1652"/>
                <a:gd name="T94" fmla="*/ 51 w 1625"/>
                <a:gd name="T95" fmla="*/ 1073 h 1652"/>
                <a:gd name="T96" fmla="*/ 107 w 1625"/>
                <a:gd name="T97" fmla="*/ 1116 h 1652"/>
                <a:gd name="T98" fmla="*/ 173 w 1625"/>
                <a:gd name="T99" fmla="*/ 1140 h 1652"/>
                <a:gd name="T100" fmla="*/ 239 w 1625"/>
                <a:gd name="T101" fmla="*/ 114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5" h="1652">
                  <a:moveTo>
                    <a:pt x="253" y="1147"/>
                  </a:moveTo>
                  <a:lnTo>
                    <a:pt x="253" y="1147"/>
                  </a:lnTo>
                  <a:lnTo>
                    <a:pt x="265" y="1174"/>
                  </a:lnTo>
                  <a:lnTo>
                    <a:pt x="280" y="1200"/>
                  </a:lnTo>
                  <a:lnTo>
                    <a:pt x="294" y="1226"/>
                  </a:lnTo>
                  <a:lnTo>
                    <a:pt x="308" y="1251"/>
                  </a:lnTo>
                  <a:lnTo>
                    <a:pt x="341" y="1301"/>
                  </a:lnTo>
                  <a:lnTo>
                    <a:pt x="374" y="1348"/>
                  </a:lnTo>
                  <a:lnTo>
                    <a:pt x="410" y="1392"/>
                  </a:lnTo>
                  <a:lnTo>
                    <a:pt x="446" y="1434"/>
                  </a:lnTo>
                  <a:lnTo>
                    <a:pt x="484" y="1473"/>
                  </a:lnTo>
                  <a:lnTo>
                    <a:pt x="523" y="1508"/>
                  </a:lnTo>
                  <a:lnTo>
                    <a:pt x="562" y="1540"/>
                  </a:lnTo>
                  <a:lnTo>
                    <a:pt x="601" y="1569"/>
                  </a:lnTo>
                  <a:lnTo>
                    <a:pt x="638" y="1593"/>
                  </a:lnTo>
                  <a:lnTo>
                    <a:pt x="676" y="1615"/>
                  </a:lnTo>
                  <a:lnTo>
                    <a:pt x="695" y="1623"/>
                  </a:lnTo>
                  <a:lnTo>
                    <a:pt x="713" y="1631"/>
                  </a:lnTo>
                  <a:lnTo>
                    <a:pt x="731" y="1638"/>
                  </a:lnTo>
                  <a:lnTo>
                    <a:pt x="748" y="1643"/>
                  </a:lnTo>
                  <a:lnTo>
                    <a:pt x="764" y="1647"/>
                  </a:lnTo>
                  <a:lnTo>
                    <a:pt x="782" y="1650"/>
                  </a:lnTo>
                  <a:lnTo>
                    <a:pt x="797" y="1652"/>
                  </a:lnTo>
                  <a:lnTo>
                    <a:pt x="813" y="1652"/>
                  </a:lnTo>
                  <a:lnTo>
                    <a:pt x="813" y="1652"/>
                  </a:lnTo>
                  <a:lnTo>
                    <a:pt x="827" y="1652"/>
                  </a:lnTo>
                  <a:lnTo>
                    <a:pt x="844" y="1650"/>
                  </a:lnTo>
                  <a:lnTo>
                    <a:pt x="860" y="1647"/>
                  </a:lnTo>
                  <a:lnTo>
                    <a:pt x="877" y="1643"/>
                  </a:lnTo>
                  <a:lnTo>
                    <a:pt x="894" y="1638"/>
                  </a:lnTo>
                  <a:lnTo>
                    <a:pt x="912" y="1631"/>
                  </a:lnTo>
                  <a:lnTo>
                    <a:pt x="931" y="1623"/>
                  </a:lnTo>
                  <a:lnTo>
                    <a:pt x="948" y="1615"/>
                  </a:lnTo>
                  <a:lnTo>
                    <a:pt x="986" y="1593"/>
                  </a:lnTo>
                  <a:lnTo>
                    <a:pt x="1025" y="1569"/>
                  </a:lnTo>
                  <a:lnTo>
                    <a:pt x="1063" y="1540"/>
                  </a:lnTo>
                  <a:lnTo>
                    <a:pt x="1102" y="1508"/>
                  </a:lnTo>
                  <a:lnTo>
                    <a:pt x="1141" y="1473"/>
                  </a:lnTo>
                  <a:lnTo>
                    <a:pt x="1179" y="1434"/>
                  </a:lnTo>
                  <a:lnTo>
                    <a:pt x="1215" y="1392"/>
                  </a:lnTo>
                  <a:lnTo>
                    <a:pt x="1251" y="1348"/>
                  </a:lnTo>
                  <a:lnTo>
                    <a:pt x="1285" y="1301"/>
                  </a:lnTo>
                  <a:lnTo>
                    <a:pt x="1316" y="1251"/>
                  </a:lnTo>
                  <a:lnTo>
                    <a:pt x="1332" y="1226"/>
                  </a:lnTo>
                  <a:lnTo>
                    <a:pt x="1345" y="1200"/>
                  </a:lnTo>
                  <a:lnTo>
                    <a:pt x="1359" y="1174"/>
                  </a:lnTo>
                  <a:lnTo>
                    <a:pt x="1372" y="1147"/>
                  </a:lnTo>
                  <a:lnTo>
                    <a:pt x="1372" y="1147"/>
                  </a:lnTo>
                  <a:lnTo>
                    <a:pt x="1387" y="1148"/>
                  </a:lnTo>
                  <a:lnTo>
                    <a:pt x="1403" y="1147"/>
                  </a:lnTo>
                  <a:lnTo>
                    <a:pt x="1419" y="1145"/>
                  </a:lnTo>
                  <a:lnTo>
                    <a:pt x="1435" y="1144"/>
                  </a:lnTo>
                  <a:lnTo>
                    <a:pt x="1452" y="1140"/>
                  </a:lnTo>
                  <a:lnTo>
                    <a:pt x="1469" y="1136"/>
                  </a:lnTo>
                  <a:lnTo>
                    <a:pt x="1486" y="1131"/>
                  </a:lnTo>
                  <a:lnTo>
                    <a:pt x="1502" y="1124"/>
                  </a:lnTo>
                  <a:lnTo>
                    <a:pt x="1518" y="1116"/>
                  </a:lnTo>
                  <a:lnTo>
                    <a:pt x="1533" y="1106"/>
                  </a:lnTo>
                  <a:lnTo>
                    <a:pt x="1548" y="1097"/>
                  </a:lnTo>
                  <a:lnTo>
                    <a:pt x="1561" y="1085"/>
                  </a:lnTo>
                  <a:lnTo>
                    <a:pt x="1573" y="1073"/>
                  </a:lnTo>
                  <a:lnTo>
                    <a:pt x="1585" y="1060"/>
                  </a:lnTo>
                  <a:lnTo>
                    <a:pt x="1595" y="1046"/>
                  </a:lnTo>
                  <a:lnTo>
                    <a:pt x="1603" y="1030"/>
                  </a:lnTo>
                  <a:lnTo>
                    <a:pt x="1603" y="1030"/>
                  </a:lnTo>
                  <a:lnTo>
                    <a:pt x="1612" y="1006"/>
                  </a:lnTo>
                  <a:lnTo>
                    <a:pt x="1619" y="983"/>
                  </a:lnTo>
                  <a:lnTo>
                    <a:pt x="1623" y="960"/>
                  </a:lnTo>
                  <a:lnTo>
                    <a:pt x="1625" y="939"/>
                  </a:lnTo>
                  <a:lnTo>
                    <a:pt x="1624" y="919"/>
                  </a:lnTo>
                  <a:lnTo>
                    <a:pt x="1623" y="900"/>
                  </a:lnTo>
                  <a:lnTo>
                    <a:pt x="1619" y="883"/>
                  </a:lnTo>
                  <a:lnTo>
                    <a:pt x="1612" y="866"/>
                  </a:lnTo>
                  <a:lnTo>
                    <a:pt x="1605" y="852"/>
                  </a:lnTo>
                  <a:lnTo>
                    <a:pt x="1597" y="840"/>
                  </a:lnTo>
                  <a:lnTo>
                    <a:pt x="1588" y="828"/>
                  </a:lnTo>
                  <a:lnTo>
                    <a:pt x="1577" y="818"/>
                  </a:lnTo>
                  <a:lnTo>
                    <a:pt x="1566" y="811"/>
                  </a:lnTo>
                  <a:lnTo>
                    <a:pt x="1554" y="806"/>
                  </a:lnTo>
                  <a:lnTo>
                    <a:pt x="1542" y="802"/>
                  </a:lnTo>
                  <a:lnTo>
                    <a:pt x="1530" y="801"/>
                  </a:lnTo>
                  <a:lnTo>
                    <a:pt x="1530" y="801"/>
                  </a:lnTo>
                  <a:lnTo>
                    <a:pt x="1517" y="802"/>
                  </a:lnTo>
                  <a:lnTo>
                    <a:pt x="1506" y="805"/>
                  </a:lnTo>
                  <a:lnTo>
                    <a:pt x="1494" y="807"/>
                  </a:lnTo>
                  <a:lnTo>
                    <a:pt x="1483" y="813"/>
                  </a:lnTo>
                  <a:lnTo>
                    <a:pt x="1474" y="818"/>
                  </a:lnTo>
                  <a:lnTo>
                    <a:pt x="1465" y="825"/>
                  </a:lnTo>
                  <a:lnTo>
                    <a:pt x="1448" y="838"/>
                  </a:lnTo>
                  <a:lnTo>
                    <a:pt x="1448" y="838"/>
                  </a:lnTo>
                  <a:lnTo>
                    <a:pt x="1451" y="822"/>
                  </a:lnTo>
                  <a:lnTo>
                    <a:pt x="1452" y="813"/>
                  </a:lnTo>
                  <a:lnTo>
                    <a:pt x="1452" y="805"/>
                  </a:lnTo>
                  <a:lnTo>
                    <a:pt x="1452" y="805"/>
                  </a:lnTo>
                  <a:lnTo>
                    <a:pt x="1452" y="763"/>
                  </a:lnTo>
                  <a:lnTo>
                    <a:pt x="1450" y="723"/>
                  </a:lnTo>
                  <a:lnTo>
                    <a:pt x="1446" y="683"/>
                  </a:lnTo>
                  <a:lnTo>
                    <a:pt x="1440" y="642"/>
                  </a:lnTo>
                  <a:lnTo>
                    <a:pt x="1432" y="604"/>
                  </a:lnTo>
                  <a:lnTo>
                    <a:pt x="1424" y="566"/>
                  </a:lnTo>
                  <a:lnTo>
                    <a:pt x="1414" y="528"/>
                  </a:lnTo>
                  <a:lnTo>
                    <a:pt x="1403" y="491"/>
                  </a:lnTo>
                  <a:lnTo>
                    <a:pt x="1389" y="456"/>
                  </a:lnTo>
                  <a:lnTo>
                    <a:pt x="1376" y="421"/>
                  </a:lnTo>
                  <a:lnTo>
                    <a:pt x="1360" y="388"/>
                  </a:lnTo>
                  <a:lnTo>
                    <a:pt x="1344" y="355"/>
                  </a:lnTo>
                  <a:lnTo>
                    <a:pt x="1325" y="323"/>
                  </a:lnTo>
                  <a:lnTo>
                    <a:pt x="1306" y="292"/>
                  </a:lnTo>
                  <a:lnTo>
                    <a:pt x="1286" y="264"/>
                  </a:lnTo>
                  <a:lnTo>
                    <a:pt x="1265" y="236"/>
                  </a:lnTo>
                  <a:lnTo>
                    <a:pt x="1243" y="209"/>
                  </a:lnTo>
                  <a:lnTo>
                    <a:pt x="1220" y="184"/>
                  </a:lnTo>
                  <a:lnTo>
                    <a:pt x="1196" y="160"/>
                  </a:lnTo>
                  <a:lnTo>
                    <a:pt x="1171" y="138"/>
                  </a:lnTo>
                  <a:lnTo>
                    <a:pt x="1144" y="117"/>
                  </a:lnTo>
                  <a:lnTo>
                    <a:pt x="1117" y="97"/>
                  </a:lnTo>
                  <a:lnTo>
                    <a:pt x="1090" y="79"/>
                  </a:lnTo>
                  <a:lnTo>
                    <a:pt x="1062" y="63"/>
                  </a:lnTo>
                  <a:lnTo>
                    <a:pt x="1033" y="48"/>
                  </a:lnTo>
                  <a:lnTo>
                    <a:pt x="1003" y="36"/>
                  </a:lnTo>
                  <a:lnTo>
                    <a:pt x="972" y="25"/>
                  </a:lnTo>
                  <a:lnTo>
                    <a:pt x="941" y="16"/>
                  </a:lnTo>
                  <a:lnTo>
                    <a:pt x="911" y="9"/>
                  </a:lnTo>
                  <a:lnTo>
                    <a:pt x="878" y="4"/>
                  </a:lnTo>
                  <a:lnTo>
                    <a:pt x="845" y="1"/>
                  </a:lnTo>
                  <a:lnTo>
                    <a:pt x="813" y="0"/>
                  </a:lnTo>
                  <a:lnTo>
                    <a:pt x="813" y="0"/>
                  </a:lnTo>
                  <a:lnTo>
                    <a:pt x="779" y="1"/>
                  </a:lnTo>
                  <a:lnTo>
                    <a:pt x="747" y="4"/>
                  </a:lnTo>
                  <a:lnTo>
                    <a:pt x="715" y="9"/>
                  </a:lnTo>
                  <a:lnTo>
                    <a:pt x="684" y="16"/>
                  </a:lnTo>
                  <a:lnTo>
                    <a:pt x="652" y="25"/>
                  </a:lnTo>
                  <a:lnTo>
                    <a:pt x="622" y="36"/>
                  </a:lnTo>
                  <a:lnTo>
                    <a:pt x="593" y="48"/>
                  </a:lnTo>
                  <a:lnTo>
                    <a:pt x="563" y="63"/>
                  </a:lnTo>
                  <a:lnTo>
                    <a:pt x="535" y="79"/>
                  </a:lnTo>
                  <a:lnTo>
                    <a:pt x="507" y="97"/>
                  </a:lnTo>
                  <a:lnTo>
                    <a:pt x="480" y="117"/>
                  </a:lnTo>
                  <a:lnTo>
                    <a:pt x="455" y="138"/>
                  </a:lnTo>
                  <a:lnTo>
                    <a:pt x="429" y="160"/>
                  </a:lnTo>
                  <a:lnTo>
                    <a:pt x="405" y="184"/>
                  </a:lnTo>
                  <a:lnTo>
                    <a:pt x="382" y="209"/>
                  </a:lnTo>
                  <a:lnTo>
                    <a:pt x="359" y="236"/>
                  </a:lnTo>
                  <a:lnTo>
                    <a:pt x="338" y="264"/>
                  </a:lnTo>
                  <a:lnTo>
                    <a:pt x="318" y="292"/>
                  </a:lnTo>
                  <a:lnTo>
                    <a:pt x="299" y="323"/>
                  </a:lnTo>
                  <a:lnTo>
                    <a:pt x="282" y="355"/>
                  </a:lnTo>
                  <a:lnTo>
                    <a:pt x="264" y="388"/>
                  </a:lnTo>
                  <a:lnTo>
                    <a:pt x="249" y="421"/>
                  </a:lnTo>
                  <a:lnTo>
                    <a:pt x="235" y="456"/>
                  </a:lnTo>
                  <a:lnTo>
                    <a:pt x="223" y="491"/>
                  </a:lnTo>
                  <a:lnTo>
                    <a:pt x="210" y="528"/>
                  </a:lnTo>
                  <a:lnTo>
                    <a:pt x="201" y="566"/>
                  </a:lnTo>
                  <a:lnTo>
                    <a:pt x="192" y="604"/>
                  </a:lnTo>
                  <a:lnTo>
                    <a:pt x="185" y="642"/>
                  </a:lnTo>
                  <a:lnTo>
                    <a:pt x="180" y="683"/>
                  </a:lnTo>
                  <a:lnTo>
                    <a:pt x="176" y="723"/>
                  </a:lnTo>
                  <a:lnTo>
                    <a:pt x="173" y="763"/>
                  </a:lnTo>
                  <a:lnTo>
                    <a:pt x="172" y="805"/>
                  </a:lnTo>
                  <a:lnTo>
                    <a:pt x="172" y="805"/>
                  </a:lnTo>
                  <a:lnTo>
                    <a:pt x="173" y="813"/>
                  </a:lnTo>
                  <a:lnTo>
                    <a:pt x="174" y="822"/>
                  </a:lnTo>
                  <a:lnTo>
                    <a:pt x="176" y="838"/>
                  </a:lnTo>
                  <a:lnTo>
                    <a:pt x="176" y="838"/>
                  </a:lnTo>
                  <a:lnTo>
                    <a:pt x="161" y="825"/>
                  </a:lnTo>
                  <a:lnTo>
                    <a:pt x="151" y="818"/>
                  </a:lnTo>
                  <a:lnTo>
                    <a:pt x="141" y="813"/>
                  </a:lnTo>
                  <a:lnTo>
                    <a:pt x="131" y="807"/>
                  </a:lnTo>
                  <a:lnTo>
                    <a:pt x="119" y="805"/>
                  </a:lnTo>
                  <a:lnTo>
                    <a:pt x="107" y="802"/>
                  </a:lnTo>
                  <a:lnTo>
                    <a:pt x="95" y="801"/>
                  </a:lnTo>
                  <a:lnTo>
                    <a:pt x="95" y="801"/>
                  </a:lnTo>
                  <a:lnTo>
                    <a:pt x="83" y="802"/>
                  </a:lnTo>
                  <a:lnTo>
                    <a:pt x="71" y="806"/>
                  </a:lnTo>
                  <a:lnTo>
                    <a:pt x="59" y="811"/>
                  </a:lnTo>
                  <a:lnTo>
                    <a:pt x="48" y="818"/>
                  </a:lnTo>
                  <a:lnTo>
                    <a:pt x="37" y="828"/>
                  </a:lnTo>
                  <a:lnTo>
                    <a:pt x="28" y="840"/>
                  </a:lnTo>
                  <a:lnTo>
                    <a:pt x="20" y="852"/>
                  </a:lnTo>
                  <a:lnTo>
                    <a:pt x="13" y="866"/>
                  </a:lnTo>
                  <a:lnTo>
                    <a:pt x="7" y="883"/>
                  </a:lnTo>
                  <a:lnTo>
                    <a:pt x="3" y="900"/>
                  </a:lnTo>
                  <a:lnTo>
                    <a:pt x="0" y="919"/>
                  </a:lnTo>
                  <a:lnTo>
                    <a:pt x="0" y="939"/>
                  </a:lnTo>
                  <a:lnTo>
                    <a:pt x="3" y="960"/>
                  </a:lnTo>
                  <a:lnTo>
                    <a:pt x="7" y="983"/>
                  </a:lnTo>
                  <a:lnTo>
                    <a:pt x="13" y="1006"/>
                  </a:lnTo>
                  <a:lnTo>
                    <a:pt x="23" y="1030"/>
                  </a:lnTo>
                  <a:lnTo>
                    <a:pt x="23" y="1030"/>
                  </a:lnTo>
                  <a:lnTo>
                    <a:pt x="31" y="1046"/>
                  </a:lnTo>
                  <a:lnTo>
                    <a:pt x="40" y="1060"/>
                  </a:lnTo>
                  <a:lnTo>
                    <a:pt x="51" y="1073"/>
                  </a:lnTo>
                  <a:lnTo>
                    <a:pt x="64" y="1085"/>
                  </a:lnTo>
                  <a:lnTo>
                    <a:pt x="78" y="1097"/>
                  </a:lnTo>
                  <a:lnTo>
                    <a:pt x="91" y="1106"/>
                  </a:lnTo>
                  <a:lnTo>
                    <a:pt x="107" y="1116"/>
                  </a:lnTo>
                  <a:lnTo>
                    <a:pt x="123" y="1124"/>
                  </a:lnTo>
                  <a:lnTo>
                    <a:pt x="139" y="1131"/>
                  </a:lnTo>
                  <a:lnTo>
                    <a:pt x="155" y="1136"/>
                  </a:lnTo>
                  <a:lnTo>
                    <a:pt x="173" y="1140"/>
                  </a:lnTo>
                  <a:lnTo>
                    <a:pt x="189" y="1144"/>
                  </a:lnTo>
                  <a:lnTo>
                    <a:pt x="206" y="1145"/>
                  </a:lnTo>
                  <a:lnTo>
                    <a:pt x="223" y="1147"/>
                  </a:lnTo>
                  <a:lnTo>
                    <a:pt x="239" y="1148"/>
                  </a:lnTo>
                  <a:lnTo>
                    <a:pt x="253" y="1147"/>
                  </a:lnTo>
                  <a:lnTo>
                    <a:pt x="25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6"/>
            <p:cNvSpPr>
              <a:spLocks/>
            </p:cNvSpPr>
            <p:nvPr/>
          </p:nvSpPr>
          <p:spPr bwMode="auto">
            <a:xfrm>
              <a:off x="11368088" y="2835275"/>
              <a:ext cx="4130675" cy="4022725"/>
            </a:xfrm>
            <a:custGeom>
              <a:avLst/>
              <a:gdLst>
                <a:gd name="T0" fmla="*/ 2323 w 2602"/>
                <a:gd name="T1" fmla="*/ 139 h 2534"/>
                <a:gd name="T2" fmla="*/ 2201 w 2602"/>
                <a:gd name="T3" fmla="*/ 77 h 2534"/>
                <a:gd name="T4" fmla="*/ 2084 w 2602"/>
                <a:gd name="T5" fmla="*/ 33 h 2534"/>
                <a:gd name="T6" fmla="*/ 1982 w 2602"/>
                <a:gd name="T7" fmla="*/ 7 h 2534"/>
                <a:gd name="T8" fmla="*/ 1907 w 2602"/>
                <a:gd name="T9" fmla="*/ 2 h 2534"/>
                <a:gd name="T10" fmla="*/ 1877 w 2602"/>
                <a:gd name="T11" fmla="*/ 10 h 2534"/>
                <a:gd name="T12" fmla="*/ 1869 w 2602"/>
                <a:gd name="T13" fmla="*/ 17 h 2534"/>
                <a:gd name="T14" fmla="*/ 1830 w 2602"/>
                <a:gd name="T15" fmla="*/ 102 h 2534"/>
                <a:gd name="T16" fmla="*/ 1751 w 2602"/>
                <a:gd name="T17" fmla="*/ 328 h 2534"/>
                <a:gd name="T18" fmla="*/ 1609 w 2602"/>
                <a:gd name="T19" fmla="*/ 792 h 2534"/>
                <a:gd name="T20" fmla="*/ 1432 w 2602"/>
                <a:gd name="T21" fmla="*/ 1099 h 2534"/>
                <a:gd name="T22" fmla="*/ 1427 w 2602"/>
                <a:gd name="T23" fmla="*/ 140 h 2534"/>
                <a:gd name="T24" fmla="*/ 1215 w 2602"/>
                <a:gd name="T25" fmla="*/ 309 h 2534"/>
                <a:gd name="T26" fmla="*/ 1079 w 2602"/>
                <a:gd name="T27" fmla="*/ 1099 h 2534"/>
                <a:gd name="T28" fmla="*/ 937 w 2602"/>
                <a:gd name="T29" fmla="*/ 608 h 2534"/>
                <a:gd name="T30" fmla="*/ 822 w 2602"/>
                <a:gd name="T31" fmla="*/ 243 h 2534"/>
                <a:gd name="T32" fmla="*/ 749 w 2602"/>
                <a:gd name="T33" fmla="*/ 51 h 2534"/>
                <a:gd name="T34" fmla="*/ 732 w 2602"/>
                <a:gd name="T35" fmla="*/ 17 h 2534"/>
                <a:gd name="T36" fmla="*/ 719 w 2602"/>
                <a:gd name="T37" fmla="*/ 7 h 2534"/>
                <a:gd name="T38" fmla="*/ 672 w 2602"/>
                <a:gd name="T39" fmla="*/ 0 h 2534"/>
                <a:gd name="T40" fmla="*/ 587 w 2602"/>
                <a:gd name="T41" fmla="*/ 14 h 2534"/>
                <a:gd name="T42" fmla="*/ 480 w 2602"/>
                <a:gd name="T43" fmla="*/ 45 h 2534"/>
                <a:gd name="T44" fmla="*/ 359 w 2602"/>
                <a:gd name="T45" fmla="*/ 96 h 2534"/>
                <a:gd name="T46" fmla="*/ 238 w 2602"/>
                <a:gd name="T47" fmla="*/ 163 h 2534"/>
                <a:gd name="T48" fmla="*/ 181 w 2602"/>
                <a:gd name="T49" fmla="*/ 203 h 2534"/>
                <a:gd name="T50" fmla="*/ 111 w 2602"/>
                <a:gd name="T51" fmla="*/ 265 h 2534"/>
                <a:gd name="T52" fmla="*/ 75 w 2602"/>
                <a:gd name="T53" fmla="*/ 310 h 2534"/>
                <a:gd name="T54" fmla="*/ 44 w 2602"/>
                <a:gd name="T55" fmla="*/ 367 h 2534"/>
                <a:gd name="T56" fmla="*/ 20 w 2602"/>
                <a:gd name="T57" fmla="*/ 434 h 2534"/>
                <a:gd name="T58" fmla="*/ 5 w 2602"/>
                <a:gd name="T59" fmla="*/ 515 h 2534"/>
                <a:gd name="T60" fmla="*/ 0 w 2602"/>
                <a:gd name="T61" fmla="*/ 612 h 2534"/>
                <a:gd name="T62" fmla="*/ 5 w 2602"/>
                <a:gd name="T63" fmla="*/ 726 h 2534"/>
                <a:gd name="T64" fmla="*/ 24 w 2602"/>
                <a:gd name="T65" fmla="*/ 860 h 2534"/>
                <a:gd name="T66" fmla="*/ 45 w 2602"/>
                <a:gd name="T67" fmla="*/ 961 h 2534"/>
                <a:gd name="T68" fmla="*/ 136 w 2602"/>
                <a:gd name="T69" fmla="*/ 1316 h 2534"/>
                <a:gd name="T70" fmla="*/ 259 w 2602"/>
                <a:gd name="T71" fmla="*/ 1708 h 2534"/>
                <a:gd name="T72" fmla="*/ 371 w 2602"/>
                <a:gd name="T73" fmla="*/ 2019 h 2534"/>
                <a:gd name="T74" fmla="*/ 442 w 2602"/>
                <a:gd name="T75" fmla="*/ 2185 h 2534"/>
                <a:gd name="T76" fmla="*/ 512 w 2602"/>
                <a:gd name="T77" fmla="*/ 2327 h 2534"/>
                <a:gd name="T78" fmla="*/ 580 w 2602"/>
                <a:gd name="T79" fmla="*/ 2437 h 2534"/>
                <a:gd name="T80" fmla="*/ 634 w 2602"/>
                <a:gd name="T81" fmla="*/ 2500 h 2534"/>
                <a:gd name="T82" fmla="*/ 665 w 2602"/>
                <a:gd name="T83" fmla="*/ 2523 h 2534"/>
                <a:gd name="T84" fmla="*/ 694 w 2602"/>
                <a:gd name="T85" fmla="*/ 2534 h 2534"/>
                <a:gd name="T86" fmla="*/ 1898 w 2602"/>
                <a:gd name="T87" fmla="*/ 2534 h 2534"/>
                <a:gd name="T88" fmla="*/ 1916 w 2602"/>
                <a:gd name="T89" fmla="*/ 2531 h 2534"/>
                <a:gd name="T90" fmla="*/ 1946 w 2602"/>
                <a:gd name="T91" fmla="*/ 2517 h 2534"/>
                <a:gd name="T92" fmla="*/ 1977 w 2602"/>
                <a:gd name="T93" fmla="*/ 2490 h 2534"/>
                <a:gd name="T94" fmla="*/ 2044 w 2602"/>
                <a:gd name="T95" fmla="*/ 2405 h 2534"/>
                <a:gd name="T96" fmla="*/ 2112 w 2602"/>
                <a:gd name="T97" fmla="*/ 2283 h 2534"/>
                <a:gd name="T98" fmla="*/ 2182 w 2602"/>
                <a:gd name="T99" fmla="*/ 2133 h 2534"/>
                <a:gd name="T100" fmla="*/ 2253 w 2602"/>
                <a:gd name="T101" fmla="*/ 1960 h 2534"/>
                <a:gd name="T102" fmla="*/ 2386 w 2602"/>
                <a:gd name="T103" fmla="*/ 1576 h 2534"/>
                <a:gd name="T104" fmla="*/ 2498 w 2602"/>
                <a:gd name="T105" fmla="*/ 1191 h 2534"/>
                <a:gd name="T106" fmla="*/ 2556 w 2602"/>
                <a:gd name="T107" fmla="*/ 961 h 2534"/>
                <a:gd name="T108" fmla="*/ 2584 w 2602"/>
                <a:gd name="T109" fmla="*/ 813 h 2534"/>
                <a:gd name="T110" fmla="*/ 2599 w 2602"/>
                <a:gd name="T111" fmla="*/ 686 h 2534"/>
                <a:gd name="T112" fmla="*/ 2602 w 2602"/>
                <a:gd name="T113" fmla="*/ 577 h 2534"/>
                <a:gd name="T114" fmla="*/ 2592 w 2602"/>
                <a:gd name="T115" fmla="*/ 486 h 2534"/>
                <a:gd name="T116" fmla="*/ 2574 w 2602"/>
                <a:gd name="T117" fmla="*/ 410 h 2534"/>
                <a:gd name="T118" fmla="*/ 2548 w 2602"/>
                <a:gd name="T119" fmla="*/ 347 h 2534"/>
                <a:gd name="T120" fmla="*/ 2514 w 2602"/>
                <a:gd name="T121" fmla="*/ 294 h 2534"/>
                <a:gd name="T122" fmla="*/ 2477 w 2602"/>
                <a:gd name="T123" fmla="*/ 250 h 2534"/>
                <a:gd name="T124" fmla="*/ 2391 w 2602"/>
                <a:gd name="T125" fmla="*/ 183 h 2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2" h="2534">
                  <a:moveTo>
                    <a:pt x="2363" y="163"/>
                  </a:moveTo>
                  <a:lnTo>
                    <a:pt x="2363" y="163"/>
                  </a:lnTo>
                  <a:lnTo>
                    <a:pt x="2323" y="139"/>
                  </a:lnTo>
                  <a:lnTo>
                    <a:pt x="2282" y="116"/>
                  </a:lnTo>
                  <a:lnTo>
                    <a:pt x="2241" y="96"/>
                  </a:lnTo>
                  <a:lnTo>
                    <a:pt x="2201" y="77"/>
                  </a:lnTo>
                  <a:lnTo>
                    <a:pt x="2160" y="59"/>
                  </a:lnTo>
                  <a:lnTo>
                    <a:pt x="2122" y="45"/>
                  </a:lnTo>
                  <a:lnTo>
                    <a:pt x="2084" y="33"/>
                  </a:lnTo>
                  <a:lnTo>
                    <a:pt x="2048" y="22"/>
                  </a:lnTo>
                  <a:lnTo>
                    <a:pt x="2014" y="14"/>
                  </a:lnTo>
                  <a:lnTo>
                    <a:pt x="1982" y="7"/>
                  </a:lnTo>
                  <a:lnTo>
                    <a:pt x="1954" y="3"/>
                  </a:lnTo>
                  <a:lnTo>
                    <a:pt x="1928" y="0"/>
                  </a:lnTo>
                  <a:lnTo>
                    <a:pt x="1907" y="2"/>
                  </a:lnTo>
                  <a:lnTo>
                    <a:pt x="1889" y="4"/>
                  </a:lnTo>
                  <a:lnTo>
                    <a:pt x="1883" y="7"/>
                  </a:lnTo>
                  <a:lnTo>
                    <a:pt x="1877" y="10"/>
                  </a:lnTo>
                  <a:lnTo>
                    <a:pt x="1872" y="13"/>
                  </a:lnTo>
                  <a:lnTo>
                    <a:pt x="1869" y="17"/>
                  </a:lnTo>
                  <a:lnTo>
                    <a:pt x="1869" y="17"/>
                  </a:lnTo>
                  <a:lnTo>
                    <a:pt x="1860" y="33"/>
                  </a:lnTo>
                  <a:lnTo>
                    <a:pt x="1852" y="51"/>
                  </a:lnTo>
                  <a:lnTo>
                    <a:pt x="1830" y="102"/>
                  </a:lnTo>
                  <a:lnTo>
                    <a:pt x="1806" y="167"/>
                  </a:lnTo>
                  <a:lnTo>
                    <a:pt x="1779" y="243"/>
                  </a:lnTo>
                  <a:lnTo>
                    <a:pt x="1751" y="328"/>
                  </a:lnTo>
                  <a:lnTo>
                    <a:pt x="1722" y="419"/>
                  </a:lnTo>
                  <a:lnTo>
                    <a:pt x="1664" y="608"/>
                  </a:lnTo>
                  <a:lnTo>
                    <a:pt x="1609" y="792"/>
                  </a:lnTo>
                  <a:lnTo>
                    <a:pt x="1564" y="949"/>
                  </a:lnTo>
                  <a:lnTo>
                    <a:pt x="1522" y="1099"/>
                  </a:lnTo>
                  <a:lnTo>
                    <a:pt x="1432" y="1099"/>
                  </a:lnTo>
                  <a:lnTo>
                    <a:pt x="1385" y="309"/>
                  </a:lnTo>
                  <a:lnTo>
                    <a:pt x="1471" y="309"/>
                  </a:lnTo>
                  <a:lnTo>
                    <a:pt x="1427" y="140"/>
                  </a:lnTo>
                  <a:lnTo>
                    <a:pt x="1175" y="140"/>
                  </a:lnTo>
                  <a:lnTo>
                    <a:pt x="1130" y="309"/>
                  </a:lnTo>
                  <a:lnTo>
                    <a:pt x="1215" y="309"/>
                  </a:lnTo>
                  <a:lnTo>
                    <a:pt x="1169" y="1099"/>
                  </a:lnTo>
                  <a:lnTo>
                    <a:pt x="1079" y="1099"/>
                  </a:lnTo>
                  <a:lnTo>
                    <a:pt x="1079" y="1099"/>
                  </a:lnTo>
                  <a:lnTo>
                    <a:pt x="1036" y="949"/>
                  </a:lnTo>
                  <a:lnTo>
                    <a:pt x="992" y="792"/>
                  </a:lnTo>
                  <a:lnTo>
                    <a:pt x="937" y="608"/>
                  </a:lnTo>
                  <a:lnTo>
                    <a:pt x="880" y="419"/>
                  </a:lnTo>
                  <a:lnTo>
                    <a:pt x="850" y="328"/>
                  </a:lnTo>
                  <a:lnTo>
                    <a:pt x="822" y="243"/>
                  </a:lnTo>
                  <a:lnTo>
                    <a:pt x="795" y="167"/>
                  </a:lnTo>
                  <a:lnTo>
                    <a:pt x="771" y="102"/>
                  </a:lnTo>
                  <a:lnTo>
                    <a:pt x="749" y="51"/>
                  </a:lnTo>
                  <a:lnTo>
                    <a:pt x="740" y="33"/>
                  </a:lnTo>
                  <a:lnTo>
                    <a:pt x="732" y="17"/>
                  </a:lnTo>
                  <a:lnTo>
                    <a:pt x="732" y="17"/>
                  </a:lnTo>
                  <a:lnTo>
                    <a:pt x="728" y="13"/>
                  </a:lnTo>
                  <a:lnTo>
                    <a:pt x="724" y="10"/>
                  </a:lnTo>
                  <a:lnTo>
                    <a:pt x="719" y="7"/>
                  </a:lnTo>
                  <a:lnTo>
                    <a:pt x="711" y="4"/>
                  </a:lnTo>
                  <a:lnTo>
                    <a:pt x="693" y="2"/>
                  </a:lnTo>
                  <a:lnTo>
                    <a:pt x="672" y="0"/>
                  </a:lnTo>
                  <a:lnTo>
                    <a:pt x="647" y="3"/>
                  </a:lnTo>
                  <a:lnTo>
                    <a:pt x="618" y="7"/>
                  </a:lnTo>
                  <a:lnTo>
                    <a:pt x="587" y="14"/>
                  </a:lnTo>
                  <a:lnTo>
                    <a:pt x="554" y="22"/>
                  </a:lnTo>
                  <a:lnTo>
                    <a:pt x="517" y="33"/>
                  </a:lnTo>
                  <a:lnTo>
                    <a:pt x="480" y="45"/>
                  </a:lnTo>
                  <a:lnTo>
                    <a:pt x="441" y="59"/>
                  </a:lnTo>
                  <a:lnTo>
                    <a:pt x="401" y="77"/>
                  </a:lnTo>
                  <a:lnTo>
                    <a:pt x="359" y="96"/>
                  </a:lnTo>
                  <a:lnTo>
                    <a:pt x="319" y="116"/>
                  </a:lnTo>
                  <a:lnTo>
                    <a:pt x="279" y="139"/>
                  </a:lnTo>
                  <a:lnTo>
                    <a:pt x="238" y="163"/>
                  </a:lnTo>
                  <a:lnTo>
                    <a:pt x="238" y="163"/>
                  </a:lnTo>
                  <a:lnTo>
                    <a:pt x="209" y="183"/>
                  </a:lnTo>
                  <a:lnTo>
                    <a:pt x="181" y="203"/>
                  </a:lnTo>
                  <a:lnTo>
                    <a:pt x="151" y="226"/>
                  </a:lnTo>
                  <a:lnTo>
                    <a:pt x="124" y="250"/>
                  </a:lnTo>
                  <a:lnTo>
                    <a:pt x="111" y="265"/>
                  </a:lnTo>
                  <a:lnTo>
                    <a:pt x="99" y="278"/>
                  </a:lnTo>
                  <a:lnTo>
                    <a:pt x="87" y="294"/>
                  </a:lnTo>
                  <a:lnTo>
                    <a:pt x="75" y="310"/>
                  </a:lnTo>
                  <a:lnTo>
                    <a:pt x="64" y="328"/>
                  </a:lnTo>
                  <a:lnTo>
                    <a:pt x="53" y="347"/>
                  </a:lnTo>
                  <a:lnTo>
                    <a:pt x="44" y="367"/>
                  </a:lnTo>
                  <a:lnTo>
                    <a:pt x="35" y="388"/>
                  </a:lnTo>
                  <a:lnTo>
                    <a:pt x="26" y="410"/>
                  </a:lnTo>
                  <a:lnTo>
                    <a:pt x="20" y="434"/>
                  </a:lnTo>
                  <a:lnTo>
                    <a:pt x="13" y="459"/>
                  </a:lnTo>
                  <a:lnTo>
                    <a:pt x="9" y="486"/>
                  </a:lnTo>
                  <a:lnTo>
                    <a:pt x="5" y="515"/>
                  </a:lnTo>
                  <a:lnTo>
                    <a:pt x="1" y="545"/>
                  </a:lnTo>
                  <a:lnTo>
                    <a:pt x="0" y="577"/>
                  </a:lnTo>
                  <a:lnTo>
                    <a:pt x="0" y="612"/>
                  </a:lnTo>
                  <a:lnTo>
                    <a:pt x="0" y="648"/>
                  </a:lnTo>
                  <a:lnTo>
                    <a:pt x="2" y="686"/>
                  </a:lnTo>
                  <a:lnTo>
                    <a:pt x="5" y="726"/>
                  </a:lnTo>
                  <a:lnTo>
                    <a:pt x="10" y="769"/>
                  </a:lnTo>
                  <a:lnTo>
                    <a:pt x="17" y="813"/>
                  </a:lnTo>
                  <a:lnTo>
                    <a:pt x="24" y="860"/>
                  </a:lnTo>
                  <a:lnTo>
                    <a:pt x="35" y="910"/>
                  </a:lnTo>
                  <a:lnTo>
                    <a:pt x="45" y="961"/>
                  </a:lnTo>
                  <a:lnTo>
                    <a:pt x="45" y="961"/>
                  </a:lnTo>
                  <a:lnTo>
                    <a:pt x="72" y="1072"/>
                  </a:lnTo>
                  <a:lnTo>
                    <a:pt x="103" y="1191"/>
                  </a:lnTo>
                  <a:lnTo>
                    <a:pt x="136" y="1316"/>
                  </a:lnTo>
                  <a:lnTo>
                    <a:pt x="174" y="1446"/>
                  </a:lnTo>
                  <a:lnTo>
                    <a:pt x="216" y="1576"/>
                  </a:lnTo>
                  <a:lnTo>
                    <a:pt x="259" y="1708"/>
                  </a:lnTo>
                  <a:lnTo>
                    <a:pt x="303" y="1837"/>
                  </a:lnTo>
                  <a:lnTo>
                    <a:pt x="348" y="1960"/>
                  </a:lnTo>
                  <a:lnTo>
                    <a:pt x="371" y="2019"/>
                  </a:lnTo>
                  <a:lnTo>
                    <a:pt x="395" y="2077"/>
                  </a:lnTo>
                  <a:lnTo>
                    <a:pt x="418" y="2133"/>
                  </a:lnTo>
                  <a:lnTo>
                    <a:pt x="442" y="2185"/>
                  </a:lnTo>
                  <a:lnTo>
                    <a:pt x="465" y="2236"/>
                  </a:lnTo>
                  <a:lnTo>
                    <a:pt x="489" y="2283"/>
                  </a:lnTo>
                  <a:lnTo>
                    <a:pt x="512" y="2327"/>
                  </a:lnTo>
                  <a:lnTo>
                    <a:pt x="535" y="2368"/>
                  </a:lnTo>
                  <a:lnTo>
                    <a:pt x="558" y="2405"/>
                  </a:lnTo>
                  <a:lnTo>
                    <a:pt x="580" y="2437"/>
                  </a:lnTo>
                  <a:lnTo>
                    <a:pt x="602" y="2466"/>
                  </a:lnTo>
                  <a:lnTo>
                    <a:pt x="623" y="2490"/>
                  </a:lnTo>
                  <a:lnTo>
                    <a:pt x="634" y="2500"/>
                  </a:lnTo>
                  <a:lnTo>
                    <a:pt x="645" y="2509"/>
                  </a:lnTo>
                  <a:lnTo>
                    <a:pt x="656" y="2517"/>
                  </a:lnTo>
                  <a:lnTo>
                    <a:pt x="665" y="2523"/>
                  </a:lnTo>
                  <a:lnTo>
                    <a:pt x="676" y="2527"/>
                  </a:lnTo>
                  <a:lnTo>
                    <a:pt x="685" y="2531"/>
                  </a:lnTo>
                  <a:lnTo>
                    <a:pt x="694" y="2534"/>
                  </a:lnTo>
                  <a:lnTo>
                    <a:pt x="704" y="2534"/>
                  </a:lnTo>
                  <a:lnTo>
                    <a:pt x="704" y="2534"/>
                  </a:lnTo>
                  <a:lnTo>
                    <a:pt x="1898" y="2534"/>
                  </a:lnTo>
                  <a:lnTo>
                    <a:pt x="1898" y="2534"/>
                  </a:lnTo>
                  <a:lnTo>
                    <a:pt x="1907" y="2534"/>
                  </a:lnTo>
                  <a:lnTo>
                    <a:pt x="1916" y="2531"/>
                  </a:lnTo>
                  <a:lnTo>
                    <a:pt x="1926" y="2527"/>
                  </a:lnTo>
                  <a:lnTo>
                    <a:pt x="1936" y="2523"/>
                  </a:lnTo>
                  <a:lnTo>
                    <a:pt x="1946" y="2517"/>
                  </a:lnTo>
                  <a:lnTo>
                    <a:pt x="1957" y="2509"/>
                  </a:lnTo>
                  <a:lnTo>
                    <a:pt x="1967" y="2500"/>
                  </a:lnTo>
                  <a:lnTo>
                    <a:pt x="1977" y="2490"/>
                  </a:lnTo>
                  <a:lnTo>
                    <a:pt x="1999" y="2466"/>
                  </a:lnTo>
                  <a:lnTo>
                    <a:pt x="2021" y="2437"/>
                  </a:lnTo>
                  <a:lnTo>
                    <a:pt x="2044" y="2405"/>
                  </a:lnTo>
                  <a:lnTo>
                    <a:pt x="2067" y="2368"/>
                  </a:lnTo>
                  <a:lnTo>
                    <a:pt x="2089" y="2327"/>
                  </a:lnTo>
                  <a:lnTo>
                    <a:pt x="2112" y="2283"/>
                  </a:lnTo>
                  <a:lnTo>
                    <a:pt x="2135" y="2236"/>
                  </a:lnTo>
                  <a:lnTo>
                    <a:pt x="2159" y="2185"/>
                  </a:lnTo>
                  <a:lnTo>
                    <a:pt x="2182" y="2133"/>
                  </a:lnTo>
                  <a:lnTo>
                    <a:pt x="2206" y="2077"/>
                  </a:lnTo>
                  <a:lnTo>
                    <a:pt x="2229" y="2019"/>
                  </a:lnTo>
                  <a:lnTo>
                    <a:pt x="2253" y="1960"/>
                  </a:lnTo>
                  <a:lnTo>
                    <a:pt x="2299" y="1837"/>
                  </a:lnTo>
                  <a:lnTo>
                    <a:pt x="2343" y="1708"/>
                  </a:lnTo>
                  <a:lnTo>
                    <a:pt x="2386" y="1576"/>
                  </a:lnTo>
                  <a:lnTo>
                    <a:pt x="2426" y="1446"/>
                  </a:lnTo>
                  <a:lnTo>
                    <a:pt x="2464" y="1316"/>
                  </a:lnTo>
                  <a:lnTo>
                    <a:pt x="2498" y="1191"/>
                  </a:lnTo>
                  <a:lnTo>
                    <a:pt x="2529" y="1072"/>
                  </a:lnTo>
                  <a:lnTo>
                    <a:pt x="2556" y="961"/>
                  </a:lnTo>
                  <a:lnTo>
                    <a:pt x="2556" y="961"/>
                  </a:lnTo>
                  <a:lnTo>
                    <a:pt x="2567" y="910"/>
                  </a:lnTo>
                  <a:lnTo>
                    <a:pt x="2576" y="860"/>
                  </a:lnTo>
                  <a:lnTo>
                    <a:pt x="2584" y="813"/>
                  </a:lnTo>
                  <a:lnTo>
                    <a:pt x="2591" y="769"/>
                  </a:lnTo>
                  <a:lnTo>
                    <a:pt x="2595" y="726"/>
                  </a:lnTo>
                  <a:lnTo>
                    <a:pt x="2599" y="686"/>
                  </a:lnTo>
                  <a:lnTo>
                    <a:pt x="2600" y="648"/>
                  </a:lnTo>
                  <a:lnTo>
                    <a:pt x="2602" y="612"/>
                  </a:lnTo>
                  <a:lnTo>
                    <a:pt x="2602" y="577"/>
                  </a:lnTo>
                  <a:lnTo>
                    <a:pt x="2599" y="545"/>
                  </a:lnTo>
                  <a:lnTo>
                    <a:pt x="2596" y="515"/>
                  </a:lnTo>
                  <a:lnTo>
                    <a:pt x="2592" y="486"/>
                  </a:lnTo>
                  <a:lnTo>
                    <a:pt x="2587" y="459"/>
                  </a:lnTo>
                  <a:lnTo>
                    <a:pt x="2582" y="434"/>
                  </a:lnTo>
                  <a:lnTo>
                    <a:pt x="2574" y="410"/>
                  </a:lnTo>
                  <a:lnTo>
                    <a:pt x="2565" y="388"/>
                  </a:lnTo>
                  <a:lnTo>
                    <a:pt x="2557" y="367"/>
                  </a:lnTo>
                  <a:lnTo>
                    <a:pt x="2548" y="347"/>
                  </a:lnTo>
                  <a:lnTo>
                    <a:pt x="2537" y="328"/>
                  </a:lnTo>
                  <a:lnTo>
                    <a:pt x="2527" y="310"/>
                  </a:lnTo>
                  <a:lnTo>
                    <a:pt x="2514" y="294"/>
                  </a:lnTo>
                  <a:lnTo>
                    <a:pt x="2502" y="278"/>
                  </a:lnTo>
                  <a:lnTo>
                    <a:pt x="2490" y="265"/>
                  </a:lnTo>
                  <a:lnTo>
                    <a:pt x="2477" y="250"/>
                  </a:lnTo>
                  <a:lnTo>
                    <a:pt x="2449" y="226"/>
                  </a:lnTo>
                  <a:lnTo>
                    <a:pt x="2421" y="203"/>
                  </a:lnTo>
                  <a:lnTo>
                    <a:pt x="2391" y="183"/>
                  </a:lnTo>
                  <a:lnTo>
                    <a:pt x="2363" y="163"/>
                  </a:lnTo>
                  <a:lnTo>
                    <a:pt x="2363"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7"/>
            <p:cNvSpPr>
              <a:spLocks/>
            </p:cNvSpPr>
            <p:nvPr/>
          </p:nvSpPr>
          <p:spPr bwMode="auto">
            <a:xfrm>
              <a:off x="9672638" y="2944813"/>
              <a:ext cx="1920875" cy="3300413"/>
            </a:xfrm>
            <a:custGeom>
              <a:avLst/>
              <a:gdLst>
                <a:gd name="T0" fmla="*/ 865 w 1210"/>
                <a:gd name="T1" fmla="*/ 949 h 2079"/>
                <a:gd name="T2" fmla="*/ 838 w 1210"/>
                <a:gd name="T3" fmla="*/ 807 h 2079"/>
                <a:gd name="T4" fmla="*/ 822 w 1210"/>
                <a:gd name="T5" fmla="*/ 679 h 2079"/>
                <a:gd name="T6" fmla="*/ 765 w 1210"/>
                <a:gd name="T7" fmla="*/ 484 h 2079"/>
                <a:gd name="T8" fmla="*/ 703 w 1210"/>
                <a:gd name="T9" fmla="*/ 284 h 2079"/>
                <a:gd name="T10" fmla="*/ 645 w 1210"/>
                <a:gd name="T11" fmla="*/ 114 h 2079"/>
                <a:gd name="T12" fmla="*/ 621 w 1210"/>
                <a:gd name="T13" fmla="*/ 54 h 2079"/>
                <a:gd name="T14" fmla="*/ 601 w 1210"/>
                <a:gd name="T15" fmla="*/ 13 h 2079"/>
                <a:gd name="T16" fmla="*/ 598 w 1210"/>
                <a:gd name="T17" fmla="*/ 11 h 2079"/>
                <a:gd name="T18" fmla="*/ 590 w 1210"/>
                <a:gd name="T19" fmla="*/ 5 h 2079"/>
                <a:gd name="T20" fmla="*/ 570 w 1210"/>
                <a:gd name="T21" fmla="*/ 1 h 2079"/>
                <a:gd name="T22" fmla="*/ 531 w 1210"/>
                <a:gd name="T23" fmla="*/ 1 h 2079"/>
                <a:gd name="T24" fmla="*/ 482 w 1210"/>
                <a:gd name="T25" fmla="*/ 11 h 2079"/>
                <a:gd name="T26" fmla="*/ 425 w 1210"/>
                <a:gd name="T27" fmla="*/ 25 h 2079"/>
                <a:gd name="T28" fmla="*/ 362 w 1210"/>
                <a:gd name="T29" fmla="*/ 48 h 2079"/>
                <a:gd name="T30" fmla="*/ 295 w 1210"/>
                <a:gd name="T31" fmla="*/ 78 h 2079"/>
                <a:gd name="T32" fmla="*/ 229 w 1210"/>
                <a:gd name="T33" fmla="*/ 113 h 2079"/>
                <a:gd name="T34" fmla="*/ 196 w 1210"/>
                <a:gd name="T35" fmla="*/ 133 h 2079"/>
                <a:gd name="T36" fmla="*/ 148 w 1210"/>
                <a:gd name="T37" fmla="*/ 166 h 2079"/>
                <a:gd name="T38" fmla="*/ 102 w 1210"/>
                <a:gd name="T39" fmla="*/ 205 h 2079"/>
                <a:gd name="T40" fmla="*/ 71 w 1210"/>
                <a:gd name="T41" fmla="*/ 241 h 2079"/>
                <a:gd name="T42" fmla="*/ 52 w 1210"/>
                <a:gd name="T43" fmla="*/ 268 h 2079"/>
                <a:gd name="T44" fmla="*/ 36 w 1210"/>
                <a:gd name="T45" fmla="*/ 300 h 2079"/>
                <a:gd name="T46" fmla="*/ 23 w 1210"/>
                <a:gd name="T47" fmla="*/ 335 h 2079"/>
                <a:gd name="T48" fmla="*/ 12 w 1210"/>
                <a:gd name="T49" fmla="*/ 377 h 2079"/>
                <a:gd name="T50" fmla="*/ 4 w 1210"/>
                <a:gd name="T51" fmla="*/ 422 h 2079"/>
                <a:gd name="T52" fmla="*/ 0 w 1210"/>
                <a:gd name="T53" fmla="*/ 473 h 2079"/>
                <a:gd name="T54" fmla="*/ 0 w 1210"/>
                <a:gd name="T55" fmla="*/ 531 h 2079"/>
                <a:gd name="T56" fmla="*/ 5 w 1210"/>
                <a:gd name="T57" fmla="*/ 595 h 2079"/>
                <a:gd name="T58" fmla="*/ 13 w 1210"/>
                <a:gd name="T59" fmla="*/ 666 h 2079"/>
                <a:gd name="T60" fmla="*/ 28 w 1210"/>
                <a:gd name="T61" fmla="*/ 746 h 2079"/>
                <a:gd name="T62" fmla="*/ 38 w 1210"/>
                <a:gd name="T63" fmla="*/ 789 h 2079"/>
                <a:gd name="T64" fmla="*/ 84 w 1210"/>
                <a:gd name="T65" fmla="*/ 976 h 2079"/>
                <a:gd name="T66" fmla="*/ 144 w 1210"/>
                <a:gd name="T67" fmla="*/ 1185 h 2079"/>
                <a:gd name="T68" fmla="*/ 212 w 1210"/>
                <a:gd name="T69" fmla="*/ 1400 h 2079"/>
                <a:gd name="T70" fmla="*/ 286 w 1210"/>
                <a:gd name="T71" fmla="*/ 1607 h 2079"/>
                <a:gd name="T72" fmla="*/ 343 w 1210"/>
                <a:gd name="T73" fmla="*/ 1749 h 2079"/>
                <a:gd name="T74" fmla="*/ 382 w 1210"/>
                <a:gd name="T75" fmla="*/ 1833 h 2079"/>
                <a:gd name="T76" fmla="*/ 421 w 1210"/>
                <a:gd name="T77" fmla="*/ 1908 h 2079"/>
                <a:gd name="T78" fmla="*/ 459 w 1210"/>
                <a:gd name="T79" fmla="*/ 1971 h 2079"/>
                <a:gd name="T80" fmla="*/ 495 w 1210"/>
                <a:gd name="T81" fmla="*/ 2022 h 2079"/>
                <a:gd name="T82" fmla="*/ 530 w 1210"/>
                <a:gd name="T83" fmla="*/ 2057 h 2079"/>
                <a:gd name="T84" fmla="*/ 546 w 1210"/>
                <a:gd name="T85" fmla="*/ 2069 h 2079"/>
                <a:gd name="T86" fmla="*/ 562 w 1210"/>
                <a:gd name="T87" fmla="*/ 2076 h 2079"/>
                <a:gd name="T88" fmla="*/ 578 w 1210"/>
                <a:gd name="T89" fmla="*/ 2079 h 2079"/>
                <a:gd name="T90" fmla="*/ 1210 w 1210"/>
                <a:gd name="T91" fmla="*/ 2079 h 2079"/>
                <a:gd name="T92" fmla="*/ 1182 w 1210"/>
                <a:gd name="T93" fmla="*/ 2010 h 2079"/>
                <a:gd name="T94" fmla="*/ 1128 w 1210"/>
                <a:gd name="T95" fmla="*/ 1868 h 2079"/>
                <a:gd name="T96" fmla="*/ 1077 w 1210"/>
                <a:gd name="T97" fmla="*/ 1723 h 2079"/>
                <a:gd name="T98" fmla="*/ 1030 w 1210"/>
                <a:gd name="T99" fmla="*/ 1576 h 2079"/>
                <a:gd name="T100" fmla="*/ 967 w 1210"/>
                <a:gd name="T101" fmla="*/ 1356 h 2079"/>
                <a:gd name="T102" fmla="*/ 896 w 1210"/>
                <a:gd name="T103" fmla="*/ 1077 h 2079"/>
                <a:gd name="T104" fmla="*/ 865 w 1210"/>
                <a:gd name="T105" fmla="*/ 949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0" h="2079">
                  <a:moveTo>
                    <a:pt x="865" y="949"/>
                  </a:moveTo>
                  <a:lnTo>
                    <a:pt x="865" y="949"/>
                  </a:lnTo>
                  <a:lnTo>
                    <a:pt x="850" y="876"/>
                  </a:lnTo>
                  <a:lnTo>
                    <a:pt x="838" y="807"/>
                  </a:lnTo>
                  <a:lnTo>
                    <a:pt x="829" y="742"/>
                  </a:lnTo>
                  <a:lnTo>
                    <a:pt x="822" y="679"/>
                  </a:lnTo>
                  <a:lnTo>
                    <a:pt x="822" y="679"/>
                  </a:lnTo>
                  <a:lnTo>
                    <a:pt x="765" y="484"/>
                  </a:lnTo>
                  <a:lnTo>
                    <a:pt x="734" y="382"/>
                  </a:lnTo>
                  <a:lnTo>
                    <a:pt x="703" y="284"/>
                  </a:lnTo>
                  <a:lnTo>
                    <a:pt x="672" y="193"/>
                  </a:lnTo>
                  <a:lnTo>
                    <a:pt x="645" y="114"/>
                  </a:lnTo>
                  <a:lnTo>
                    <a:pt x="632" y="82"/>
                  </a:lnTo>
                  <a:lnTo>
                    <a:pt x="621" y="54"/>
                  </a:lnTo>
                  <a:lnTo>
                    <a:pt x="610" y="31"/>
                  </a:lnTo>
                  <a:lnTo>
                    <a:pt x="601" y="13"/>
                  </a:lnTo>
                  <a:lnTo>
                    <a:pt x="601" y="13"/>
                  </a:lnTo>
                  <a:lnTo>
                    <a:pt x="598" y="11"/>
                  </a:lnTo>
                  <a:lnTo>
                    <a:pt x="594" y="8"/>
                  </a:lnTo>
                  <a:lnTo>
                    <a:pt x="590" y="5"/>
                  </a:lnTo>
                  <a:lnTo>
                    <a:pt x="583" y="3"/>
                  </a:lnTo>
                  <a:lnTo>
                    <a:pt x="570" y="1"/>
                  </a:lnTo>
                  <a:lnTo>
                    <a:pt x="551" y="0"/>
                  </a:lnTo>
                  <a:lnTo>
                    <a:pt x="531" y="1"/>
                  </a:lnTo>
                  <a:lnTo>
                    <a:pt x="508" y="5"/>
                  </a:lnTo>
                  <a:lnTo>
                    <a:pt x="482" y="11"/>
                  </a:lnTo>
                  <a:lnTo>
                    <a:pt x="455" y="17"/>
                  </a:lnTo>
                  <a:lnTo>
                    <a:pt x="425" y="25"/>
                  </a:lnTo>
                  <a:lnTo>
                    <a:pt x="394" y="36"/>
                  </a:lnTo>
                  <a:lnTo>
                    <a:pt x="362" y="48"/>
                  </a:lnTo>
                  <a:lnTo>
                    <a:pt x="329" y="63"/>
                  </a:lnTo>
                  <a:lnTo>
                    <a:pt x="295" y="78"/>
                  </a:lnTo>
                  <a:lnTo>
                    <a:pt x="262" y="95"/>
                  </a:lnTo>
                  <a:lnTo>
                    <a:pt x="229" y="113"/>
                  </a:lnTo>
                  <a:lnTo>
                    <a:pt x="196" y="133"/>
                  </a:lnTo>
                  <a:lnTo>
                    <a:pt x="196" y="133"/>
                  </a:lnTo>
                  <a:lnTo>
                    <a:pt x="172" y="149"/>
                  </a:lnTo>
                  <a:lnTo>
                    <a:pt x="148" y="166"/>
                  </a:lnTo>
                  <a:lnTo>
                    <a:pt x="125" y="185"/>
                  </a:lnTo>
                  <a:lnTo>
                    <a:pt x="102" y="205"/>
                  </a:lnTo>
                  <a:lnTo>
                    <a:pt x="80" y="228"/>
                  </a:lnTo>
                  <a:lnTo>
                    <a:pt x="71" y="241"/>
                  </a:lnTo>
                  <a:lnTo>
                    <a:pt x="62" y="255"/>
                  </a:lnTo>
                  <a:lnTo>
                    <a:pt x="52" y="268"/>
                  </a:lnTo>
                  <a:lnTo>
                    <a:pt x="44" y="284"/>
                  </a:lnTo>
                  <a:lnTo>
                    <a:pt x="36" y="300"/>
                  </a:lnTo>
                  <a:lnTo>
                    <a:pt x="30" y="318"/>
                  </a:lnTo>
                  <a:lnTo>
                    <a:pt x="23" y="335"/>
                  </a:lnTo>
                  <a:lnTo>
                    <a:pt x="16" y="355"/>
                  </a:lnTo>
                  <a:lnTo>
                    <a:pt x="12" y="377"/>
                  </a:lnTo>
                  <a:lnTo>
                    <a:pt x="8" y="398"/>
                  </a:lnTo>
                  <a:lnTo>
                    <a:pt x="4" y="422"/>
                  </a:lnTo>
                  <a:lnTo>
                    <a:pt x="1" y="446"/>
                  </a:lnTo>
                  <a:lnTo>
                    <a:pt x="0" y="473"/>
                  </a:lnTo>
                  <a:lnTo>
                    <a:pt x="0" y="501"/>
                  </a:lnTo>
                  <a:lnTo>
                    <a:pt x="0" y="531"/>
                  </a:lnTo>
                  <a:lnTo>
                    <a:pt x="1" y="562"/>
                  </a:lnTo>
                  <a:lnTo>
                    <a:pt x="5" y="595"/>
                  </a:lnTo>
                  <a:lnTo>
                    <a:pt x="9" y="630"/>
                  </a:lnTo>
                  <a:lnTo>
                    <a:pt x="13" y="666"/>
                  </a:lnTo>
                  <a:lnTo>
                    <a:pt x="20" y="705"/>
                  </a:lnTo>
                  <a:lnTo>
                    <a:pt x="28" y="746"/>
                  </a:lnTo>
                  <a:lnTo>
                    <a:pt x="38" y="789"/>
                  </a:lnTo>
                  <a:lnTo>
                    <a:pt x="38" y="789"/>
                  </a:lnTo>
                  <a:lnTo>
                    <a:pt x="59" y="878"/>
                  </a:lnTo>
                  <a:lnTo>
                    <a:pt x="84" y="976"/>
                  </a:lnTo>
                  <a:lnTo>
                    <a:pt x="113" y="1080"/>
                  </a:lnTo>
                  <a:lnTo>
                    <a:pt x="144" y="1185"/>
                  </a:lnTo>
                  <a:lnTo>
                    <a:pt x="177" y="1293"/>
                  </a:lnTo>
                  <a:lnTo>
                    <a:pt x="212" y="1400"/>
                  </a:lnTo>
                  <a:lnTo>
                    <a:pt x="248" y="1506"/>
                  </a:lnTo>
                  <a:lnTo>
                    <a:pt x="286" y="1607"/>
                  </a:lnTo>
                  <a:lnTo>
                    <a:pt x="325" y="1703"/>
                  </a:lnTo>
                  <a:lnTo>
                    <a:pt x="343" y="1749"/>
                  </a:lnTo>
                  <a:lnTo>
                    <a:pt x="363" y="1792"/>
                  </a:lnTo>
                  <a:lnTo>
                    <a:pt x="382" y="1833"/>
                  </a:lnTo>
                  <a:lnTo>
                    <a:pt x="401" y="1872"/>
                  </a:lnTo>
                  <a:lnTo>
                    <a:pt x="421" y="1908"/>
                  </a:lnTo>
                  <a:lnTo>
                    <a:pt x="440" y="1942"/>
                  </a:lnTo>
                  <a:lnTo>
                    <a:pt x="459" y="1971"/>
                  </a:lnTo>
                  <a:lnTo>
                    <a:pt x="476" y="1998"/>
                  </a:lnTo>
                  <a:lnTo>
                    <a:pt x="495" y="2022"/>
                  </a:lnTo>
                  <a:lnTo>
                    <a:pt x="512" y="2041"/>
                  </a:lnTo>
                  <a:lnTo>
                    <a:pt x="530" y="2057"/>
                  </a:lnTo>
                  <a:lnTo>
                    <a:pt x="538" y="2064"/>
                  </a:lnTo>
                  <a:lnTo>
                    <a:pt x="546" y="2069"/>
                  </a:lnTo>
                  <a:lnTo>
                    <a:pt x="554" y="2073"/>
                  </a:lnTo>
                  <a:lnTo>
                    <a:pt x="562" y="2076"/>
                  </a:lnTo>
                  <a:lnTo>
                    <a:pt x="570" y="2077"/>
                  </a:lnTo>
                  <a:lnTo>
                    <a:pt x="578" y="2079"/>
                  </a:lnTo>
                  <a:lnTo>
                    <a:pt x="578" y="2079"/>
                  </a:lnTo>
                  <a:lnTo>
                    <a:pt x="1210" y="2079"/>
                  </a:lnTo>
                  <a:lnTo>
                    <a:pt x="1210" y="2079"/>
                  </a:lnTo>
                  <a:lnTo>
                    <a:pt x="1182" y="2010"/>
                  </a:lnTo>
                  <a:lnTo>
                    <a:pt x="1153" y="1941"/>
                  </a:lnTo>
                  <a:lnTo>
                    <a:pt x="1128" y="1868"/>
                  </a:lnTo>
                  <a:lnTo>
                    <a:pt x="1103" y="1797"/>
                  </a:lnTo>
                  <a:lnTo>
                    <a:pt x="1077" y="1723"/>
                  </a:lnTo>
                  <a:lnTo>
                    <a:pt x="1053" y="1650"/>
                  </a:lnTo>
                  <a:lnTo>
                    <a:pt x="1030" y="1576"/>
                  </a:lnTo>
                  <a:lnTo>
                    <a:pt x="1009" y="1502"/>
                  </a:lnTo>
                  <a:lnTo>
                    <a:pt x="967" y="1356"/>
                  </a:lnTo>
                  <a:lnTo>
                    <a:pt x="929" y="1214"/>
                  </a:lnTo>
                  <a:lnTo>
                    <a:pt x="896" y="1077"/>
                  </a:lnTo>
                  <a:lnTo>
                    <a:pt x="865" y="949"/>
                  </a:lnTo>
                  <a:lnTo>
                    <a:pt x="865" y="9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8"/>
            <p:cNvSpPr>
              <a:spLocks/>
            </p:cNvSpPr>
            <p:nvPr/>
          </p:nvSpPr>
          <p:spPr bwMode="auto">
            <a:xfrm>
              <a:off x="10309226" y="619125"/>
              <a:ext cx="1790700" cy="2151063"/>
            </a:xfrm>
            <a:custGeom>
              <a:avLst/>
              <a:gdLst>
                <a:gd name="T0" fmla="*/ 679 w 1128"/>
                <a:gd name="T1" fmla="*/ 1355 h 1355"/>
                <a:gd name="T2" fmla="*/ 719 w 1128"/>
                <a:gd name="T3" fmla="*/ 1347 h 1355"/>
                <a:gd name="T4" fmla="*/ 809 w 1128"/>
                <a:gd name="T5" fmla="*/ 1307 h 1355"/>
                <a:gd name="T6" fmla="*/ 904 w 1128"/>
                <a:gd name="T7" fmla="*/ 1237 h 1355"/>
                <a:gd name="T8" fmla="*/ 997 w 1128"/>
                <a:gd name="T9" fmla="*/ 1142 h 1355"/>
                <a:gd name="T10" fmla="*/ 1080 w 1128"/>
                <a:gd name="T11" fmla="*/ 1026 h 1355"/>
                <a:gd name="T12" fmla="*/ 1125 w 1128"/>
                <a:gd name="T13" fmla="*/ 940 h 1355"/>
                <a:gd name="T14" fmla="*/ 1100 w 1128"/>
                <a:gd name="T15" fmla="*/ 923 h 1355"/>
                <a:gd name="T16" fmla="*/ 1023 w 1128"/>
                <a:gd name="T17" fmla="*/ 859 h 1355"/>
                <a:gd name="T18" fmla="*/ 962 w 1128"/>
                <a:gd name="T19" fmla="*/ 776 h 1355"/>
                <a:gd name="T20" fmla="*/ 946 w 1128"/>
                <a:gd name="T21" fmla="*/ 743 h 1355"/>
                <a:gd name="T22" fmla="*/ 916 w 1128"/>
                <a:gd name="T23" fmla="*/ 660 h 1355"/>
                <a:gd name="T24" fmla="*/ 903 w 1128"/>
                <a:gd name="T25" fmla="*/ 576 h 1355"/>
                <a:gd name="T26" fmla="*/ 904 w 1128"/>
                <a:gd name="T27" fmla="*/ 494 h 1355"/>
                <a:gd name="T28" fmla="*/ 920 w 1128"/>
                <a:gd name="T29" fmla="*/ 413 h 1355"/>
                <a:gd name="T30" fmla="*/ 951 w 1128"/>
                <a:gd name="T31" fmla="*/ 340 h 1355"/>
                <a:gd name="T32" fmla="*/ 975 w 1128"/>
                <a:gd name="T33" fmla="*/ 303 h 1355"/>
                <a:gd name="T34" fmla="*/ 1009 w 1128"/>
                <a:gd name="T35" fmla="*/ 267 h 1355"/>
                <a:gd name="T36" fmla="*/ 1061 w 1128"/>
                <a:gd name="T37" fmla="*/ 227 h 1355"/>
                <a:gd name="T38" fmla="*/ 1002 w 1128"/>
                <a:gd name="T39" fmla="*/ 155 h 1355"/>
                <a:gd name="T40" fmla="*/ 935 w 1128"/>
                <a:gd name="T41" fmla="*/ 94 h 1355"/>
                <a:gd name="T42" fmla="*/ 861 w 1128"/>
                <a:gd name="T43" fmla="*/ 47 h 1355"/>
                <a:gd name="T44" fmla="*/ 781 w 1128"/>
                <a:gd name="T45" fmla="*/ 16 h 1355"/>
                <a:gd name="T46" fmla="*/ 695 w 1128"/>
                <a:gd name="T47" fmla="*/ 0 h 1355"/>
                <a:gd name="T48" fmla="*/ 638 w 1128"/>
                <a:gd name="T49" fmla="*/ 0 h 1355"/>
                <a:gd name="T50" fmla="*/ 561 w 1128"/>
                <a:gd name="T51" fmla="*/ 14 h 1355"/>
                <a:gd name="T52" fmla="*/ 486 w 1128"/>
                <a:gd name="T53" fmla="*/ 39 h 1355"/>
                <a:gd name="T54" fmla="*/ 416 w 1128"/>
                <a:gd name="T55" fmla="*/ 79 h 1355"/>
                <a:gd name="T56" fmla="*/ 351 w 1128"/>
                <a:gd name="T57" fmla="*/ 130 h 1355"/>
                <a:gd name="T58" fmla="*/ 295 w 1128"/>
                <a:gd name="T59" fmla="*/ 193 h 1355"/>
                <a:gd name="T60" fmla="*/ 245 w 1128"/>
                <a:gd name="T61" fmla="*/ 265 h 1355"/>
                <a:gd name="T62" fmla="*/ 204 w 1128"/>
                <a:gd name="T63" fmla="*/ 345 h 1355"/>
                <a:gd name="T64" fmla="*/ 173 w 1128"/>
                <a:gd name="T65" fmla="*/ 432 h 1355"/>
                <a:gd name="T66" fmla="*/ 152 w 1128"/>
                <a:gd name="T67" fmla="*/ 526 h 1355"/>
                <a:gd name="T68" fmla="*/ 142 w 1128"/>
                <a:gd name="T69" fmla="*/ 625 h 1355"/>
                <a:gd name="T70" fmla="*/ 142 w 1128"/>
                <a:gd name="T71" fmla="*/ 674 h 1355"/>
                <a:gd name="T72" fmla="*/ 131 w 1128"/>
                <a:gd name="T73" fmla="*/ 676 h 1355"/>
                <a:gd name="T74" fmla="*/ 107 w 1128"/>
                <a:gd name="T75" fmla="*/ 663 h 1355"/>
                <a:gd name="T76" fmla="*/ 78 w 1128"/>
                <a:gd name="T77" fmla="*/ 657 h 1355"/>
                <a:gd name="T78" fmla="*/ 58 w 1128"/>
                <a:gd name="T79" fmla="*/ 660 h 1355"/>
                <a:gd name="T80" fmla="*/ 31 w 1128"/>
                <a:gd name="T81" fmla="*/ 679 h 1355"/>
                <a:gd name="T82" fmla="*/ 9 w 1128"/>
                <a:gd name="T83" fmla="*/ 711 h 1355"/>
                <a:gd name="T84" fmla="*/ 0 w 1128"/>
                <a:gd name="T85" fmla="*/ 754 h 1355"/>
                <a:gd name="T86" fmla="*/ 5 w 1128"/>
                <a:gd name="T87" fmla="*/ 806 h 1355"/>
                <a:gd name="T88" fmla="*/ 19 w 1128"/>
                <a:gd name="T89" fmla="*/ 845 h 1355"/>
                <a:gd name="T90" fmla="*/ 42 w 1128"/>
                <a:gd name="T91" fmla="*/ 880 h 1355"/>
                <a:gd name="T92" fmla="*/ 75 w 1128"/>
                <a:gd name="T93" fmla="*/ 907 h 1355"/>
                <a:gd name="T94" fmla="*/ 114 w 1128"/>
                <a:gd name="T95" fmla="*/ 927 h 1355"/>
                <a:gd name="T96" fmla="*/ 156 w 1128"/>
                <a:gd name="T97" fmla="*/ 938 h 1355"/>
                <a:gd name="T98" fmla="*/ 196 w 1128"/>
                <a:gd name="T99" fmla="*/ 940 h 1355"/>
                <a:gd name="T100" fmla="*/ 229 w 1128"/>
                <a:gd name="T101" fmla="*/ 983 h 1355"/>
                <a:gd name="T102" fmla="*/ 307 w 1128"/>
                <a:gd name="T103" fmla="*/ 1105 h 1355"/>
                <a:gd name="T104" fmla="*/ 397 w 1128"/>
                <a:gd name="T105" fmla="*/ 1207 h 1355"/>
                <a:gd name="T106" fmla="*/ 492 w 1128"/>
                <a:gd name="T107" fmla="*/ 1286 h 1355"/>
                <a:gd name="T108" fmla="*/ 585 w 1128"/>
                <a:gd name="T109" fmla="*/ 1337 h 1355"/>
                <a:gd name="T110" fmla="*/ 640 w 1128"/>
                <a:gd name="T111" fmla="*/ 1354 h 1355"/>
                <a:gd name="T112" fmla="*/ 665 w 1128"/>
                <a:gd name="T113" fmla="*/ 1355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8" h="1355">
                  <a:moveTo>
                    <a:pt x="665" y="1355"/>
                  </a:moveTo>
                  <a:lnTo>
                    <a:pt x="665" y="1355"/>
                  </a:lnTo>
                  <a:lnTo>
                    <a:pt x="679" y="1355"/>
                  </a:lnTo>
                  <a:lnTo>
                    <a:pt x="692" y="1354"/>
                  </a:lnTo>
                  <a:lnTo>
                    <a:pt x="706" y="1351"/>
                  </a:lnTo>
                  <a:lnTo>
                    <a:pt x="719" y="1347"/>
                  </a:lnTo>
                  <a:lnTo>
                    <a:pt x="747" y="1337"/>
                  </a:lnTo>
                  <a:lnTo>
                    <a:pt x="778" y="1324"/>
                  </a:lnTo>
                  <a:lnTo>
                    <a:pt x="809" y="1307"/>
                  </a:lnTo>
                  <a:lnTo>
                    <a:pt x="840" y="1286"/>
                  </a:lnTo>
                  <a:lnTo>
                    <a:pt x="872" y="1262"/>
                  </a:lnTo>
                  <a:lnTo>
                    <a:pt x="904" y="1237"/>
                  </a:lnTo>
                  <a:lnTo>
                    <a:pt x="935" y="1207"/>
                  </a:lnTo>
                  <a:lnTo>
                    <a:pt x="967" y="1175"/>
                  </a:lnTo>
                  <a:lnTo>
                    <a:pt x="997" y="1142"/>
                  </a:lnTo>
                  <a:lnTo>
                    <a:pt x="1026" y="1105"/>
                  </a:lnTo>
                  <a:lnTo>
                    <a:pt x="1053" y="1067"/>
                  </a:lnTo>
                  <a:lnTo>
                    <a:pt x="1080" y="1026"/>
                  </a:lnTo>
                  <a:lnTo>
                    <a:pt x="1104" y="983"/>
                  </a:lnTo>
                  <a:lnTo>
                    <a:pt x="1125" y="940"/>
                  </a:lnTo>
                  <a:lnTo>
                    <a:pt x="1125" y="940"/>
                  </a:lnTo>
                  <a:lnTo>
                    <a:pt x="1128" y="940"/>
                  </a:lnTo>
                  <a:lnTo>
                    <a:pt x="1128" y="940"/>
                  </a:lnTo>
                  <a:lnTo>
                    <a:pt x="1100" y="923"/>
                  </a:lnTo>
                  <a:lnTo>
                    <a:pt x="1073" y="903"/>
                  </a:lnTo>
                  <a:lnTo>
                    <a:pt x="1048" y="883"/>
                  </a:lnTo>
                  <a:lnTo>
                    <a:pt x="1023" y="859"/>
                  </a:lnTo>
                  <a:lnTo>
                    <a:pt x="1001" y="833"/>
                  </a:lnTo>
                  <a:lnTo>
                    <a:pt x="979" y="806"/>
                  </a:lnTo>
                  <a:lnTo>
                    <a:pt x="962" y="776"/>
                  </a:lnTo>
                  <a:lnTo>
                    <a:pt x="952" y="761"/>
                  </a:lnTo>
                  <a:lnTo>
                    <a:pt x="946" y="743"/>
                  </a:lnTo>
                  <a:lnTo>
                    <a:pt x="946" y="743"/>
                  </a:lnTo>
                  <a:lnTo>
                    <a:pt x="934" y="716"/>
                  </a:lnTo>
                  <a:lnTo>
                    <a:pt x="924" y="688"/>
                  </a:lnTo>
                  <a:lnTo>
                    <a:pt x="916" y="660"/>
                  </a:lnTo>
                  <a:lnTo>
                    <a:pt x="909" y="632"/>
                  </a:lnTo>
                  <a:lnTo>
                    <a:pt x="905" y="604"/>
                  </a:lnTo>
                  <a:lnTo>
                    <a:pt x="903" y="576"/>
                  </a:lnTo>
                  <a:lnTo>
                    <a:pt x="901" y="549"/>
                  </a:lnTo>
                  <a:lnTo>
                    <a:pt x="901" y="521"/>
                  </a:lnTo>
                  <a:lnTo>
                    <a:pt x="904" y="494"/>
                  </a:lnTo>
                  <a:lnTo>
                    <a:pt x="908" y="467"/>
                  </a:lnTo>
                  <a:lnTo>
                    <a:pt x="913" y="440"/>
                  </a:lnTo>
                  <a:lnTo>
                    <a:pt x="920" y="413"/>
                  </a:lnTo>
                  <a:lnTo>
                    <a:pt x="930" y="389"/>
                  </a:lnTo>
                  <a:lnTo>
                    <a:pt x="939" y="364"/>
                  </a:lnTo>
                  <a:lnTo>
                    <a:pt x="951" y="340"/>
                  </a:lnTo>
                  <a:lnTo>
                    <a:pt x="966" y="317"/>
                  </a:lnTo>
                  <a:lnTo>
                    <a:pt x="966" y="317"/>
                  </a:lnTo>
                  <a:lnTo>
                    <a:pt x="975" y="303"/>
                  </a:lnTo>
                  <a:lnTo>
                    <a:pt x="986" y="290"/>
                  </a:lnTo>
                  <a:lnTo>
                    <a:pt x="997" y="279"/>
                  </a:lnTo>
                  <a:lnTo>
                    <a:pt x="1009" y="267"/>
                  </a:lnTo>
                  <a:lnTo>
                    <a:pt x="1034" y="247"/>
                  </a:lnTo>
                  <a:lnTo>
                    <a:pt x="1061" y="227"/>
                  </a:lnTo>
                  <a:lnTo>
                    <a:pt x="1061" y="227"/>
                  </a:lnTo>
                  <a:lnTo>
                    <a:pt x="1042" y="201"/>
                  </a:lnTo>
                  <a:lnTo>
                    <a:pt x="1022" y="177"/>
                  </a:lnTo>
                  <a:lnTo>
                    <a:pt x="1002" y="155"/>
                  </a:lnTo>
                  <a:lnTo>
                    <a:pt x="980" y="133"/>
                  </a:lnTo>
                  <a:lnTo>
                    <a:pt x="958" y="113"/>
                  </a:lnTo>
                  <a:lnTo>
                    <a:pt x="935" y="94"/>
                  </a:lnTo>
                  <a:lnTo>
                    <a:pt x="911" y="77"/>
                  </a:lnTo>
                  <a:lnTo>
                    <a:pt x="887" y="62"/>
                  </a:lnTo>
                  <a:lnTo>
                    <a:pt x="861" y="47"/>
                  </a:lnTo>
                  <a:lnTo>
                    <a:pt x="834" y="35"/>
                  </a:lnTo>
                  <a:lnTo>
                    <a:pt x="807" y="24"/>
                  </a:lnTo>
                  <a:lnTo>
                    <a:pt x="781" y="16"/>
                  </a:lnTo>
                  <a:lnTo>
                    <a:pt x="752" y="8"/>
                  </a:lnTo>
                  <a:lnTo>
                    <a:pt x="724" y="4"/>
                  </a:lnTo>
                  <a:lnTo>
                    <a:pt x="695" y="0"/>
                  </a:lnTo>
                  <a:lnTo>
                    <a:pt x="665" y="0"/>
                  </a:lnTo>
                  <a:lnTo>
                    <a:pt x="665" y="0"/>
                  </a:lnTo>
                  <a:lnTo>
                    <a:pt x="638" y="0"/>
                  </a:lnTo>
                  <a:lnTo>
                    <a:pt x="612" y="3"/>
                  </a:lnTo>
                  <a:lnTo>
                    <a:pt x="586" y="7"/>
                  </a:lnTo>
                  <a:lnTo>
                    <a:pt x="561" y="14"/>
                  </a:lnTo>
                  <a:lnTo>
                    <a:pt x="535" y="20"/>
                  </a:lnTo>
                  <a:lnTo>
                    <a:pt x="510" y="30"/>
                  </a:lnTo>
                  <a:lnTo>
                    <a:pt x="486" y="39"/>
                  </a:lnTo>
                  <a:lnTo>
                    <a:pt x="461" y="51"/>
                  </a:lnTo>
                  <a:lnTo>
                    <a:pt x="439" y="65"/>
                  </a:lnTo>
                  <a:lnTo>
                    <a:pt x="416" y="79"/>
                  </a:lnTo>
                  <a:lnTo>
                    <a:pt x="393" y="96"/>
                  </a:lnTo>
                  <a:lnTo>
                    <a:pt x="373" y="113"/>
                  </a:lnTo>
                  <a:lnTo>
                    <a:pt x="351" y="130"/>
                  </a:lnTo>
                  <a:lnTo>
                    <a:pt x="331" y="151"/>
                  </a:lnTo>
                  <a:lnTo>
                    <a:pt x="313" y="171"/>
                  </a:lnTo>
                  <a:lnTo>
                    <a:pt x="295" y="193"/>
                  </a:lnTo>
                  <a:lnTo>
                    <a:pt x="278" y="216"/>
                  </a:lnTo>
                  <a:lnTo>
                    <a:pt x="260" y="240"/>
                  </a:lnTo>
                  <a:lnTo>
                    <a:pt x="245" y="265"/>
                  </a:lnTo>
                  <a:lnTo>
                    <a:pt x="231" y="290"/>
                  </a:lnTo>
                  <a:lnTo>
                    <a:pt x="217" y="317"/>
                  </a:lnTo>
                  <a:lnTo>
                    <a:pt x="204" y="345"/>
                  </a:lnTo>
                  <a:lnTo>
                    <a:pt x="193" y="373"/>
                  </a:lnTo>
                  <a:lnTo>
                    <a:pt x="182" y="403"/>
                  </a:lnTo>
                  <a:lnTo>
                    <a:pt x="173" y="432"/>
                  </a:lnTo>
                  <a:lnTo>
                    <a:pt x="165" y="463"/>
                  </a:lnTo>
                  <a:lnTo>
                    <a:pt x="157" y="494"/>
                  </a:lnTo>
                  <a:lnTo>
                    <a:pt x="152" y="526"/>
                  </a:lnTo>
                  <a:lnTo>
                    <a:pt x="148" y="558"/>
                  </a:lnTo>
                  <a:lnTo>
                    <a:pt x="144" y="592"/>
                  </a:lnTo>
                  <a:lnTo>
                    <a:pt x="142" y="625"/>
                  </a:lnTo>
                  <a:lnTo>
                    <a:pt x="141" y="659"/>
                  </a:lnTo>
                  <a:lnTo>
                    <a:pt x="141" y="659"/>
                  </a:lnTo>
                  <a:lnTo>
                    <a:pt x="142" y="674"/>
                  </a:lnTo>
                  <a:lnTo>
                    <a:pt x="144" y="688"/>
                  </a:lnTo>
                  <a:lnTo>
                    <a:pt x="144" y="688"/>
                  </a:lnTo>
                  <a:lnTo>
                    <a:pt x="131" y="676"/>
                  </a:lnTo>
                  <a:lnTo>
                    <a:pt x="123" y="671"/>
                  </a:lnTo>
                  <a:lnTo>
                    <a:pt x="115" y="667"/>
                  </a:lnTo>
                  <a:lnTo>
                    <a:pt x="107" y="663"/>
                  </a:lnTo>
                  <a:lnTo>
                    <a:pt x="98" y="660"/>
                  </a:lnTo>
                  <a:lnTo>
                    <a:pt x="89" y="657"/>
                  </a:lnTo>
                  <a:lnTo>
                    <a:pt x="78" y="657"/>
                  </a:lnTo>
                  <a:lnTo>
                    <a:pt x="78" y="657"/>
                  </a:lnTo>
                  <a:lnTo>
                    <a:pt x="68" y="657"/>
                  </a:lnTo>
                  <a:lnTo>
                    <a:pt x="58" y="660"/>
                  </a:lnTo>
                  <a:lnTo>
                    <a:pt x="48" y="666"/>
                  </a:lnTo>
                  <a:lnTo>
                    <a:pt x="39" y="671"/>
                  </a:lnTo>
                  <a:lnTo>
                    <a:pt x="31" y="679"/>
                  </a:lnTo>
                  <a:lnTo>
                    <a:pt x="23" y="688"/>
                  </a:lnTo>
                  <a:lnTo>
                    <a:pt x="16" y="699"/>
                  </a:lnTo>
                  <a:lnTo>
                    <a:pt x="9" y="711"/>
                  </a:lnTo>
                  <a:lnTo>
                    <a:pt x="5" y="725"/>
                  </a:lnTo>
                  <a:lnTo>
                    <a:pt x="1" y="738"/>
                  </a:lnTo>
                  <a:lnTo>
                    <a:pt x="0" y="754"/>
                  </a:lnTo>
                  <a:lnTo>
                    <a:pt x="0" y="770"/>
                  </a:lnTo>
                  <a:lnTo>
                    <a:pt x="1" y="788"/>
                  </a:lnTo>
                  <a:lnTo>
                    <a:pt x="5" y="806"/>
                  </a:lnTo>
                  <a:lnTo>
                    <a:pt x="11" y="825"/>
                  </a:lnTo>
                  <a:lnTo>
                    <a:pt x="19" y="845"/>
                  </a:lnTo>
                  <a:lnTo>
                    <a:pt x="19" y="845"/>
                  </a:lnTo>
                  <a:lnTo>
                    <a:pt x="26" y="857"/>
                  </a:lnTo>
                  <a:lnTo>
                    <a:pt x="32" y="869"/>
                  </a:lnTo>
                  <a:lnTo>
                    <a:pt x="42" y="880"/>
                  </a:lnTo>
                  <a:lnTo>
                    <a:pt x="52" y="891"/>
                  </a:lnTo>
                  <a:lnTo>
                    <a:pt x="63" y="899"/>
                  </a:lnTo>
                  <a:lnTo>
                    <a:pt x="75" y="907"/>
                  </a:lnTo>
                  <a:lnTo>
                    <a:pt x="87" y="915"/>
                  </a:lnTo>
                  <a:lnTo>
                    <a:pt x="101" y="922"/>
                  </a:lnTo>
                  <a:lnTo>
                    <a:pt x="114" y="927"/>
                  </a:lnTo>
                  <a:lnTo>
                    <a:pt x="127" y="931"/>
                  </a:lnTo>
                  <a:lnTo>
                    <a:pt x="142" y="935"/>
                  </a:lnTo>
                  <a:lnTo>
                    <a:pt x="156" y="938"/>
                  </a:lnTo>
                  <a:lnTo>
                    <a:pt x="169" y="939"/>
                  </a:lnTo>
                  <a:lnTo>
                    <a:pt x="182" y="940"/>
                  </a:lnTo>
                  <a:lnTo>
                    <a:pt x="196" y="940"/>
                  </a:lnTo>
                  <a:lnTo>
                    <a:pt x="208" y="940"/>
                  </a:lnTo>
                  <a:lnTo>
                    <a:pt x="208" y="940"/>
                  </a:lnTo>
                  <a:lnTo>
                    <a:pt x="229" y="983"/>
                  </a:lnTo>
                  <a:lnTo>
                    <a:pt x="254" y="1026"/>
                  </a:lnTo>
                  <a:lnTo>
                    <a:pt x="279" y="1067"/>
                  </a:lnTo>
                  <a:lnTo>
                    <a:pt x="307" y="1105"/>
                  </a:lnTo>
                  <a:lnTo>
                    <a:pt x="335" y="1142"/>
                  </a:lnTo>
                  <a:lnTo>
                    <a:pt x="366" y="1175"/>
                  </a:lnTo>
                  <a:lnTo>
                    <a:pt x="397" y="1207"/>
                  </a:lnTo>
                  <a:lnTo>
                    <a:pt x="428" y="1237"/>
                  </a:lnTo>
                  <a:lnTo>
                    <a:pt x="460" y="1262"/>
                  </a:lnTo>
                  <a:lnTo>
                    <a:pt x="492" y="1286"/>
                  </a:lnTo>
                  <a:lnTo>
                    <a:pt x="523" y="1307"/>
                  </a:lnTo>
                  <a:lnTo>
                    <a:pt x="554" y="1324"/>
                  </a:lnTo>
                  <a:lnTo>
                    <a:pt x="585" y="1337"/>
                  </a:lnTo>
                  <a:lnTo>
                    <a:pt x="613" y="1347"/>
                  </a:lnTo>
                  <a:lnTo>
                    <a:pt x="626" y="1351"/>
                  </a:lnTo>
                  <a:lnTo>
                    <a:pt x="640" y="1354"/>
                  </a:lnTo>
                  <a:lnTo>
                    <a:pt x="653" y="1355"/>
                  </a:lnTo>
                  <a:lnTo>
                    <a:pt x="665" y="1355"/>
                  </a:lnTo>
                  <a:lnTo>
                    <a:pt x="665" y="1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8" name="Freeform 9"/>
            <p:cNvSpPr>
              <a:spLocks/>
            </p:cNvSpPr>
            <p:nvPr/>
          </p:nvSpPr>
          <p:spPr bwMode="auto">
            <a:xfrm>
              <a:off x="14763751" y="619125"/>
              <a:ext cx="1798638" cy="2151063"/>
            </a:xfrm>
            <a:custGeom>
              <a:avLst/>
              <a:gdLst>
                <a:gd name="T0" fmla="*/ 1045 w 1133"/>
                <a:gd name="T1" fmla="*/ 657 h 1355"/>
                <a:gd name="T2" fmla="*/ 1017 w 1133"/>
                <a:gd name="T3" fmla="*/ 667 h 1355"/>
                <a:gd name="T4" fmla="*/ 988 w 1133"/>
                <a:gd name="T5" fmla="*/ 688 h 1355"/>
                <a:gd name="T6" fmla="*/ 991 w 1133"/>
                <a:gd name="T7" fmla="*/ 659 h 1355"/>
                <a:gd name="T8" fmla="*/ 988 w 1133"/>
                <a:gd name="T9" fmla="*/ 592 h 1355"/>
                <a:gd name="T10" fmla="*/ 975 w 1133"/>
                <a:gd name="T11" fmla="*/ 494 h 1355"/>
                <a:gd name="T12" fmla="*/ 951 w 1133"/>
                <a:gd name="T13" fmla="*/ 403 h 1355"/>
                <a:gd name="T14" fmla="*/ 916 w 1133"/>
                <a:gd name="T15" fmla="*/ 317 h 1355"/>
                <a:gd name="T16" fmla="*/ 872 w 1133"/>
                <a:gd name="T17" fmla="*/ 240 h 1355"/>
                <a:gd name="T18" fmla="*/ 819 w 1133"/>
                <a:gd name="T19" fmla="*/ 171 h 1355"/>
                <a:gd name="T20" fmla="*/ 760 w 1133"/>
                <a:gd name="T21" fmla="*/ 113 h 1355"/>
                <a:gd name="T22" fmla="*/ 693 w 1133"/>
                <a:gd name="T23" fmla="*/ 65 h 1355"/>
                <a:gd name="T24" fmla="*/ 622 w 1133"/>
                <a:gd name="T25" fmla="*/ 30 h 1355"/>
                <a:gd name="T26" fmla="*/ 546 w 1133"/>
                <a:gd name="T27" fmla="*/ 7 h 1355"/>
                <a:gd name="T28" fmla="*/ 467 w 1133"/>
                <a:gd name="T29" fmla="*/ 0 h 1355"/>
                <a:gd name="T30" fmla="*/ 408 w 1133"/>
                <a:gd name="T31" fmla="*/ 4 h 1355"/>
                <a:gd name="T32" fmla="*/ 323 w 1133"/>
                <a:gd name="T33" fmla="*/ 24 h 1355"/>
                <a:gd name="T34" fmla="*/ 245 w 1133"/>
                <a:gd name="T35" fmla="*/ 62 h 1355"/>
                <a:gd name="T36" fmla="*/ 173 w 1133"/>
                <a:gd name="T37" fmla="*/ 114 h 1355"/>
                <a:gd name="T38" fmla="*/ 109 w 1133"/>
                <a:gd name="T39" fmla="*/ 180 h 1355"/>
                <a:gd name="T40" fmla="*/ 71 w 1133"/>
                <a:gd name="T41" fmla="*/ 230 h 1355"/>
                <a:gd name="T42" fmla="*/ 133 w 1133"/>
                <a:gd name="T43" fmla="*/ 279 h 1355"/>
                <a:gd name="T44" fmla="*/ 164 w 1133"/>
                <a:gd name="T45" fmla="*/ 317 h 1355"/>
                <a:gd name="T46" fmla="*/ 190 w 1133"/>
                <a:gd name="T47" fmla="*/ 364 h 1355"/>
                <a:gd name="T48" fmla="*/ 216 w 1133"/>
                <a:gd name="T49" fmla="*/ 440 h 1355"/>
                <a:gd name="T50" fmla="*/ 228 w 1133"/>
                <a:gd name="T51" fmla="*/ 521 h 1355"/>
                <a:gd name="T52" fmla="*/ 224 w 1133"/>
                <a:gd name="T53" fmla="*/ 604 h 1355"/>
                <a:gd name="T54" fmla="*/ 205 w 1133"/>
                <a:gd name="T55" fmla="*/ 688 h 1355"/>
                <a:gd name="T56" fmla="*/ 184 w 1133"/>
                <a:gd name="T57" fmla="*/ 743 h 1355"/>
                <a:gd name="T58" fmla="*/ 149 w 1133"/>
                <a:gd name="T59" fmla="*/ 806 h 1355"/>
                <a:gd name="T60" fmla="*/ 82 w 1133"/>
                <a:gd name="T61" fmla="*/ 881 h 1355"/>
                <a:gd name="T62" fmla="*/ 0 w 1133"/>
                <a:gd name="T63" fmla="*/ 939 h 1355"/>
                <a:gd name="T64" fmla="*/ 8 w 1133"/>
                <a:gd name="T65" fmla="*/ 940 h 1355"/>
                <a:gd name="T66" fmla="*/ 79 w 1133"/>
                <a:gd name="T67" fmla="*/ 1067 h 1355"/>
                <a:gd name="T68" fmla="*/ 166 w 1133"/>
                <a:gd name="T69" fmla="*/ 1175 h 1355"/>
                <a:gd name="T70" fmla="*/ 260 w 1133"/>
                <a:gd name="T71" fmla="*/ 1262 h 1355"/>
                <a:gd name="T72" fmla="*/ 355 w 1133"/>
                <a:gd name="T73" fmla="*/ 1324 h 1355"/>
                <a:gd name="T74" fmla="*/ 428 w 1133"/>
                <a:gd name="T75" fmla="*/ 1351 h 1355"/>
                <a:gd name="T76" fmla="*/ 467 w 1133"/>
                <a:gd name="T77" fmla="*/ 1355 h 1355"/>
                <a:gd name="T78" fmla="*/ 492 w 1133"/>
                <a:gd name="T79" fmla="*/ 1354 h 1355"/>
                <a:gd name="T80" fmla="*/ 549 w 1133"/>
                <a:gd name="T81" fmla="*/ 1337 h 1355"/>
                <a:gd name="T82" fmla="*/ 640 w 1133"/>
                <a:gd name="T83" fmla="*/ 1286 h 1355"/>
                <a:gd name="T84" fmla="*/ 736 w 1133"/>
                <a:gd name="T85" fmla="*/ 1207 h 1355"/>
                <a:gd name="T86" fmla="*/ 826 w 1133"/>
                <a:gd name="T87" fmla="*/ 1105 h 1355"/>
                <a:gd name="T88" fmla="*/ 904 w 1133"/>
                <a:gd name="T89" fmla="*/ 983 h 1355"/>
                <a:gd name="T90" fmla="*/ 937 w 1133"/>
                <a:gd name="T91" fmla="*/ 940 h 1355"/>
                <a:gd name="T92" fmla="*/ 978 w 1133"/>
                <a:gd name="T93" fmla="*/ 938 h 1355"/>
                <a:gd name="T94" fmla="*/ 1018 w 1133"/>
                <a:gd name="T95" fmla="*/ 927 h 1355"/>
                <a:gd name="T96" fmla="*/ 1058 w 1133"/>
                <a:gd name="T97" fmla="*/ 907 h 1355"/>
                <a:gd name="T98" fmla="*/ 1090 w 1133"/>
                <a:gd name="T99" fmla="*/ 880 h 1355"/>
                <a:gd name="T100" fmla="*/ 1115 w 1133"/>
                <a:gd name="T101" fmla="*/ 845 h 1355"/>
                <a:gd name="T102" fmla="*/ 1128 w 1133"/>
                <a:gd name="T103" fmla="*/ 806 h 1355"/>
                <a:gd name="T104" fmla="*/ 1132 w 1133"/>
                <a:gd name="T105" fmla="*/ 754 h 1355"/>
                <a:gd name="T106" fmla="*/ 1123 w 1133"/>
                <a:gd name="T107" fmla="*/ 711 h 1355"/>
                <a:gd name="T108" fmla="*/ 1102 w 1133"/>
                <a:gd name="T109" fmla="*/ 679 h 1355"/>
                <a:gd name="T110" fmla="*/ 1074 w 1133"/>
                <a:gd name="T111" fmla="*/ 660 h 1355"/>
                <a:gd name="T112" fmla="*/ 1054 w 1133"/>
                <a:gd name="T113" fmla="*/ 657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3" h="1355">
                  <a:moveTo>
                    <a:pt x="1054" y="657"/>
                  </a:moveTo>
                  <a:lnTo>
                    <a:pt x="1054" y="657"/>
                  </a:lnTo>
                  <a:lnTo>
                    <a:pt x="1045" y="657"/>
                  </a:lnTo>
                  <a:lnTo>
                    <a:pt x="1035" y="660"/>
                  </a:lnTo>
                  <a:lnTo>
                    <a:pt x="1026" y="663"/>
                  </a:lnTo>
                  <a:lnTo>
                    <a:pt x="1017" y="667"/>
                  </a:lnTo>
                  <a:lnTo>
                    <a:pt x="1009" y="671"/>
                  </a:lnTo>
                  <a:lnTo>
                    <a:pt x="1002" y="676"/>
                  </a:lnTo>
                  <a:lnTo>
                    <a:pt x="988" y="688"/>
                  </a:lnTo>
                  <a:lnTo>
                    <a:pt x="988" y="688"/>
                  </a:lnTo>
                  <a:lnTo>
                    <a:pt x="990" y="674"/>
                  </a:lnTo>
                  <a:lnTo>
                    <a:pt x="991" y="659"/>
                  </a:lnTo>
                  <a:lnTo>
                    <a:pt x="991" y="659"/>
                  </a:lnTo>
                  <a:lnTo>
                    <a:pt x="991" y="625"/>
                  </a:lnTo>
                  <a:lnTo>
                    <a:pt x="988" y="592"/>
                  </a:lnTo>
                  <a:lnTo>
                    <a:pt x="986" y="558"/>
                  </a:lnTo>
                  <a:lnTo>
                    <a:pt x="982" y="526"/>
                  </a:lnTo>
                  <a:lnTo>
                    <a:pt x="975" y="494"/>
                  </a:lnTo>
                  <a:lnTo>
                    <a:pt x="968" y="463"/>
                  </a:lnTo>
                  <a:lnTo>
                    <a:pt x="960" y="432"/>
                  </a:lnTo>
                  <a:lnTo>
                    <a:pt x="951" y="403"/>
                  </a:lnTo>
                  <a:lnTo>
                    <a:pt x="940" y="373"/>
                  </a:lnTo>
                  <a:lnTo>
                    <a:pt x="928" y="345"/>
                  </a:lnTo>
                  <a:lnTo>
                    <a:pt x="916" y="317"/>
                  </a:lnTo>
                  <a:lnTo>
                    <a:pt x="903" y="290"/>
                  </a:lnTo>
                  <a:lnTo>
                    <a:pt x="888" y="265"/>
                  </a:lnTo>
                  <a:lnTo>
                    <a:pt x="872" y="240"/>
                  </a:lnTo>
                  <a:lnTo>
                    <a:pt x="856" y="216"/>
                  </a:lnTo>
                  <a:lnTo>
                    <a:pt x="838" y="193"/>
                  </a:lnTo>
                  <a:lnTo>
                    <a:pt x="819" y="171"/>
                  </a:lnTo>
                  <a:lnTo>
                    <a:pt x="801" y="151"/>
                  </a:lnTo>
                  <a:lnTo>
                    <a:pt x="781" y="130"/>
                  </a:lnTo>
                  <a:lnTo>
                    <a:pt x="760" y="113"/>
                  </a:lnTo>
                  <a:lnTo>
                    <a:pt x="739" y="96"/>
                  </a:lnTo>
                  <a:lnTo>
                    <a:pt x="716" y="79"/>
                  </a:lnTo>
                  <a:lnTo>
                    <a:pt x="693" y="65"/>
                  </a:lnTo>
                  <a:lnTo>
                    <a:pt x="671" y="51"/>
                  </a:lnTo>
                  <a:lnTo>
                    <a:pt x="646" y="39"/>
                  </a:lnTo>
                  <a:lnTo>
                    <a:pt x="622" y="30"/>
                  </a:lnTo>
                  <a:lnTo>
                    <a:pt x="598" y="20"/>
                  </a:lnTo>
                  <a:lnTo>
                    <a:pt x="573" y="14"/>
                  </a:lnTo>
                  <a:lnTo>
                    <a:pt x="546" y="7"/>
                  </a:lnTo>
                  <a:lnTo>
                    <a:pt x="520" y="3"/>
                  </a:lnTo>
                  <a:lnTo>
                    <a:pt x="494" y="0"/>
                  </a:lnTo>
                  <a:lnTo>
                    <a:pt x="467" y="0"/>
                  </a:lnTo>
                  <a:lnTo>
                    <a:pt x="467" y="0"/>
                  </a:lnTo>
                  <a:lnTo>
                    <a:pt x="437" y="0"/>
                  </a:lnTo>
                  <a:lnTo>
                    <a:pt x="408" y="4"/>
                  </a:lnTo>
                  <a:lnTo>
                    <a:pt x="380" y="8"/>
                  </a:lnTo>
                  <a:lnTo>
                    <a:pt x="351" y="16"/>
                  </a:lnTo>
                  <a:lnTo>
                    <a:pt x="323" y="24"/>
                  </a:lnTo>
                  <a:lnTo>
                    <a:pt x="296" y="35"/>
                  </a:lnTo>
                  <a:lnTo>
                    <a:pt x="271" y="49"/>
                  </a:lnTo>
                  <a:lnTo>
                    <a:pt x="245" y="62"/>
                  </a:lnTo>
                  <a:lnTo>
                    <a:pt x="220" y="78"/>
                  </a:lnTo>
                  <a:lnTo>
                    <a:pt x="196" y="96"/>
                  </a:lnTo>
                  <a:lnTo>
                    <a:pt x="173" y="114"/>
                  </a:lnTo>
                  <a:lnTo>
                    <a:pt x="152" y="134"/>
                  </a:lnTo>
                  <a:lnTo>
                    <a:pt x="130" y="157"/>
                  </a:lnTo>
                  <a:lnTo>
                    <a:pt x="109" y="180"/>
                  </a:lnTo>
                  <a:lnTo>
                    <a:pt x="90" y="204"/>
                  </a:lnTo>
                  <a:lnTo>
                    <a:pt x="71" y="230"/>
                  </a:lnTo>
                  <a:lnTo>
                    <a:pt x="71" y="230"/>
                  </a:lnTo>
                  <a:lnTo>
                    <a:pt x="97" y="248"/>
                  </a:lnTo>
                  <a:lnTo>
                    <a:pt x="121" y="269"/>
                  </a:lnTo>
                  <a:lnTo>
                    <a:pt x="133" y="279"/>
                  </a:lnTo>
                  <a:lnTo>
                    <a:pt x="143" y="291"/>
                  </a:lnTo>
                  <a:lnTo>
                    <a:pt x="154" y="303"/>
                  </a:lnTo>
                  <a:lnTo>
                    <a:pt x="164" y="317"/>
                  </a:lnTo>
                  <a:lnTo>
                    <a:pt x="164" y="317"/>
                  </a:lnTo>
                  <a:lnTo>
                    <a:pt x="177" y="340"/>
                  </a:lnTo>
                  <a:lnTo>
                    <a:pt x="190" y="364"/>
                  </a:lnTo>
                  <a:lnTo>
                    <a:pt x="200" y="389"/>
                  </a:lnTo>
                  <a:lnTo>
                    <a:pt x="209" y="413"/>
                  </a:lnTo>
                  <a:lnTo>
                    <a:pt x="216" y="440"/>
                  </a:lnTo>
                  <a:lnTo>
                    <a:pt x="221" y="467"/>
                  </a:lnTo>
                  <a:lnTo>
                    <a:pt x="225" y="494"/>
                  </a:lnTo>
                  <a:lnTo>
                    <a:pt x="228" y="521"/>
                  </a:lnTo>
                  <a:lnTo>
                    <a:pt x="228" y="549"/>
                  </a:lnTo>
                  <a:lnTo>
                    <a:pt x="227" y="576"/>
                  </a:lnTo>
                  <a:lnTo>
                    <a:pt x="224" y="604"/>
                  </a:lnTo>
                  <a:lnTo>
                    <a:pt x="219" y="632"/>
                  </a:lnTo>
                  <a:lnTo>
                    <a:pt x="213" y="660"/>
                  </a:lnTo>
                  <a:lnTo>
                    <a:pt x="205" y="688"/>
                  </a:lnTo>
                  <a:lnTo>
                    <a:pt x="196" y="716"/>
                  </a:lnTo>
                  <a:lnTo>
                    <a:pt x="184" y="743"/>
                  </a:lnTo>
                  <a:lnTo>
                    <a:pt x="184" y="743"/>
                  </a:lnTo>
                  <a:lnTo>
                    <a:pt x="176" y="761"/>
                  </a:lnTo>
                  <a:lnTo>
                    <a:pt x="168" y="776"/>
                  </a:lnTo>
                  <a:lnTo>
                    <a:pt x="149" y="806"/>
                  </a:lnTo>
                  <a:lnTo>
                    <a:pt x="129" y="833"/>
                  </a:lnTo>
                  <a:lnTo>
                    <a:pt x="106" y="859"/>
                  </a:lnTo>
                  <a:lnTo>
                    <a:pt x="82" y="881"/>
                  </a:lnTo>
                  <a:lnTo>
                    <a:pt x="56" y="903"/>
                  </a:lnTo>
                  <a:lnTo>
                    <a:pt x="28" y="923"/>
                  </a:lnTo>
                  <a:lnTo>
                    <a:pt x="0" y="939"/>
                  </a:lnTo>
                  <a:lnTo>
                    <a:pt x="0" y="939"/>
                  </a:lnTo>
                  <a:lnTo>
                    <a:pt x="8" y="940"/>
                  </a:lnTo>
                  <a:lnTo>
                    <a:pt x="8" y="940"/>
                  </a:lnTo>
                  <a:lnTo>
                    <a:pt x="29" y="983"/>
                  </a:lnTo>
                  <a:lnTo>
                    <a:pt x="54" y="1026"/>
                  </a:lnTo>
                  <a:lnTo>
                    <a:pt x="79" y="1067"/>
                  </a:lnTo>
                  <a:lnTo>
                    <a:pt x="107" y="1105"/>
                  </a:lnTo>
                  <a:lnTo>
                    <a:pt x="135" y="1142"/>
                  </a:lnTo>
                  <a:lnTo>
                    <a:pt x="166" y="1175"/>
                  </a:lnTo>
                  <a:lnTo>
                    <a:pt x="197" y="1207"/>
                  </a:lnTo>
                  <a:lnTo>
                    <a:pt x="229" y="1237"/>
                  </a:lnTo>
                  <a:lnTo>
                    <a:pt x="260" y="1262"/>
                  </a:lnTo>
                  <a:lnTo>
                    <a:pt x="292" y="1286"/>
                  </a:lnTo>
                  <a:lnTo>
                    <a:pt x="323" y="1307"/>
                  </a:lnTo>
                  <a:lnTo>
                    <a:pt x="355" y="1324"/>
                  </a:lnTo>
                  <a:lnTo>
                    <a:pt x="385" y="1337"/>
                  </a:lnTo>
                  <a:lnTo>
                    <a:pt x="413" y="1347"/>
                  </a:lnTo>
                  <a:lnTo>
                    <a:pt x="428" y="1351"/>
                  </a:lnTo>
                  <a:lnTo>
                    <a:pt x="441" y="1354"/>
                  </a:lnTo>
                  <a:lnTo>
                    <a:pt x="453" y="1355"/>
                  </a:lnTo>
                  <a:lnTo>
                    <a:pt x="467" y="1355"/>
                  </a:lnTo>
                  <a:lnTo>
                    <a:pt x="467" y="1355"/>
                  </a:lnTo>
                  <a:lnTo>
                    <a:pt x="479" y="1355"/>
                  </a:lnTo>
                  <a:lnTo>
                    <a:pt x="492" y="1354"/>
                  </a:lnTo>
                  <a:lnTo>
                    <a:pt x="506" y="1351"/>
                  </a:lnTo>
                  <a:lnTo>
                    <a:pt x="519" y="1347"/>
                  </a:lnTo>
                  <a:lnTo>
                    <a:pt x="549" y="1337"/>
                  </a:lnTo>
                  <a:lnTo>
                    <a:pt x="578" y="1324"/>
                  </a:lnTo>
                  <a:lnTo>
                    <a:pt x="609" y="1307"/>
                  </a:lnTo>
                  <a:lnTo>
                    <a:pt x="640" y="1286"/>
                  </a:lnTo>
                  <a:lnTo>
                    <a:pt x="672" y="1262"/>
                  </a:lnTo>
                  <a:lnTo>
                    <a:pt x="704" y="1237"/>
                  </a:lnTo>
                  <a:lnTo>
                    <a:pt x="736" y="1207"/>
                  </a:lnTo>
                  <a:lnTo>
                    <a:pt x="767" y="1175"/>
                  </a:lnTo>
                  <a:lnTo>
                    <a:pt x="797" y="1142"/>
                  </a:lnTo>
                  <a:lnTo>
                    <a:pt x="826" y="1105"/>
                  </a:lnTo>
                  <a:lnTo>
                    <a:pt x="854" y="1067"/>
                  </a:lnTo>
                  <a:lnTo>
                    <a:pt x="880" y="1026"/>
                  </a:lnTo>
                  <a:lnTo>
                    <a:pt x="904" y="983"/>
                  </a:lnTo>
                  <a:lnTo>
                    <a:pt x="925" y="940"/>
                  </a:lnTo>
                  <a:lnTo>
                    <a:pt x="925" y="940"/>
                  </a:lnTo>
                  <a:lnTo>
                    <a:pt x="937" y="940"/>
                  </a:lnTo>
                  <a:lnTo>
                    <a:pt x="951" y="940"/>
                  </a:lnTo>
                  <a:lnTo>
                    <a:pt x="964" y="939"/>
                  </a:lnTo>
                  <a:lnTo>
                    <a:pt x="978" y="938"/>
                  </a:lnTo>
                  <a:lnTo>
                    <a:pt x="991" y="935"/>
                  </a:lnTo>
                  <a:lnTo>
                    <a:pt x="1005" y="931"/>
                  </a:lnTo>
                  <a:lnTo>
                    <a:pt x="1018" y="927"/>
                  </a:lnTo>
                  <a:lnTo>
                    <a:pt x="1031" y="922"/>
                  </a:lnTo>
                  <a:lnTo>
                    <a:pt x="1045" y="915"/>
                  </a:lnTo>
                  <a:lnTo>
                    <a:pt x="1058" y="907"/>
                  </a:lnTo>
                  <a:lnTo>
                    <a:pt x="1069" y="899"/>
                  </a:lnTo>
                  <a:lnTo>
                    <a:pt x="1081" y="891"/>
                  </a:lnTo>
                  <a:lnTo>
                    <a:pt x="1090" y="880"/>
                  </a:lnTo>
                  <a:lnTo>
                    <a:pt x="1100" y="869"/>
                  </a:lnTo>
                  <a:lnTo>
                    <a:pt x="1108" y="857"/>
                  </a:lnTo>
                  <a:lnTo>
                    <a:pt x="1115" y="845"/>
                  </a:lnTo>
                  <a:lnTo>
                    <a:pt x="1115" y="845"/>
                  </a:lnTo>
                  <a:lnTo>
                    <a:pt x="1123" y="825"/>
                  </a:lnTo>
                  <a:lnTo>
                    <a:pt x="1128" y="806"/>
                  </a:lnTo>
                  <a:lnTo>
                    <a:pt x="1131" y="788"/>
                  </a:lnTo>
                  <a:lnTo>
                    <a:pt x="1133" y="770"/>
                  </a:lnTo>
                  <a:lnTo>
                    <a:pt x="1132" y="754"/>
                  </a:lnTo>
                  <a:lnTo>
                    <a:pt x="1131" y="738"/>
                  </a:lnTo>
                  <a:lnTo>
                    <a:pt x="1127" y="725"/>
                  </a:lnTo>
                  <a:lnTo>
                    <a:pt x="1123" y="711"/>
                  </a:lnTo>
                  <a:lnTo>
                    <a:pt x="1117" y="699"/>
                  </a:lnTo>
                  <a:lnTo>
                    <a:pt x="1109" y="688"/>
                  </a:lnTo>
                  <a:lnTo>
                    <a:pt x="1102" y="679"/>
                  </a:lnTo>
                  <a:lnTo>
                    <a:pt x="1093" y="671"/>
                  </a:lnTo>
                  <a:lnTo>
                    <a:pt x="1084" y="666"/>
                  </a:lnTo>
                  <a:lnTo>
                    <a:pt x="1074" y="660"/>
                  </a:lnTo>
                  <a:lnTo>
                    <a:pt x="1065" y="657"/>
                  </a:lnTo>
                  <a:lnTo>
                    <a:pt x="1054" y="657"/>
                  </a:lnTo>
                  <a:lnTo>
                    <a:pt x="1054" y="6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9" name="Freeform 10"/>
            <p:cNvSpPr>
              <a:spLocks/>
            </p:cNvSpPr>
            <p:nvPr/>
          </p:nvSpPr>
          <p:spPr bwMode="auto">
            <a:xfrm>
              <a:off x="15273338" y="2944813"/>
              <a:ext cx="1924050" cy="3300413"/>
            </a:xfrm>
            <a:custGeom>
              <a:avLst/>
              <a:gdLst>
                <a:gd name="T0" fmla="*/ 1016 w 1212"/>
                <a:gd name="T1" fmla="*/ 133 h 2079"/>
                <a:gd name="T2" fmla="*/ 950 w 1212"/>
                <a:gd name="T3" fmla="*/ 95 h 2079"/>
                <a:gd name="T4" fmla="*/ 883 w 1212"/>
                <a:gd name="T5" fmla="*/ 63 h 2079"/>
                <a:gd name="T6" fmla="*/ 819 w 1212"/>
                <a:gd name="T7" fmla="*/ 36 h 2079"/>
                <a:gd name="T8" fmla="*/ 759 w 1212"/>
                <a:gd name="T9" fmla="*/ 17 h 2079"/>
                <a:gd name="T10" fmla="*/ 705 w 1212"/>
                <a:gd name="T11" fmla="*/ 5 h 2079"/>
                <a:gd name="T12" fmla="*/ 661 w 1212"/>
                <a:gd name="T13" fmla="*/ 0 h 2079"/>
                <a:gd name="T14" fmla="*/ 629 w 1212"/>
                <a:gd name="T15" fmla="*/ 3 h 2079"/>
                <a:gd name="T16" fmla="*/ 618 w 1212"/>
                <a:gd name="T17" fmla="*/ 8 h 2079"/>
                <a:gd name="T18" fmla="*/ 612 w 1212"/>
                <a:gd name="T19" fmla="*/ 13 h 2079"/>
                <a:gd name="T20" fmla="*/ 603 w 1212"/>
                <a:gd name="T21" fmla="*/ 31 h 2079"/>
                <a:gd name="T22" fmla="*/ 580 w 1212"/>
                <a:gd name="T23" fmla="*/ 83 h 2079"/>
                <a:gd name="T24" fmla="*/ 539 w 1212"/>
                <a:gd name="T25" fmla="*/ 198 h 2079"/>
                <a:gd name="T26" fmla="*/ 476 w 1212"/>
                <a:gd name="T27" fmla="*/ 394 h 2079"/>
                <a:gd name="T28" fmla="*/ 386 w 1212"/>
                <a:gd name="T29" fmla="*/ 695 h 2079"/>
                <a:gd name="T30" fmla="*/ 379 w 1212"/>
                <a:gd name="T31" fmla="*/ 754 h 2079"/>
                <a:gd name="T32" fmla="*/ 358 w 1212"/>
                <a:gd name="T33" fmla="*/ 881 h 2079"/>
                <a:gd name="T34" fmla="*/ 343 w 1212"/>
                <a:gd name="T35" fmla="*/ 949 h 2079"/>
                <a:gd name="T36" fmla="*/ 280 w 1212"/>
                <a:gd name="T37" fmla="*/ 1214 h 2079"/>
                <a:gd name="T38" fmla="*/ 201 w 1212"/>
                <a:gd name="T39" fmla="*/ 1502 h 2079"/>
                <a:gd name="T40" fmla="*/ 155 w 1212"/>
                <a:gd name="T41" fmla="*/ 1650 h 2079"/>
                <a:gd name="T42" fmla="*/ 107 w 1212"/>
                <a:gd name="T43" fmla="*/ 1797 h 2079"/>
                <a:gd name="T44" fmla="*/ 54 w 1212"/>
                <a:gd name="T45" fmla="*/ 1941 h 2079"/>
                <a:gd name="T46" fmla="*/ 0 w 1212"/>
                <a:gd name="T47" fmla="*/ 2079 h 2079"/>
                <a:gd name="T48" fmla="*/ 635 w 1212"/>
                <a:gd name="T49" fmla="*/ 2079 h 2079"/>
                <a:gd name="T50" fmla="*/ 642 w 1212"/>
                <a:gd name="T51" fmla="*/ 2077 h 2079"/>
                <a:gd name="T52" fmla="*/ 658 w 1212"/>
                <a:gd name="T53" fmla="*/ 2073 h 2079"/>
                <a:gd name="T54" fmla="*/ 675 w 1212"/>
                <a:gd name="T55" fmla="*/ 2064 h 2079"/>
                <a:gd name="T56" fmla="*/ 701 w 1212"/>
                <a:gd name="T57" fmla="*/ 2041 h 2079"/>
                <a:gd name="T58" fmla="*/ 736 w 1212"/>
                <a:gd name="T59" fmla="*/ 1998 h 2079"/>
                <a:gd name="T60" fmla="*/ 773 w 1212"/>
                <a:gd name="T61" fmla="*/ 1942 h 2079"/>
                <a:gd name="T62" fmla="*/ 811 w 1212"/>
                <a:gd name="T63" fmla="*/ 1872 h 2079"/>
                <a:gd name="T64" fmla="*/ 850 w 1212"/>
                <a:gd name="T65" fmla="*/ 1792 h 2079"/>
                <a:gd name="T66" fmla="*/ 889 w 1212"/>
                <a:gd name="T67" fmla="*/ 1703 h 2079"/>
                <a:gd name="T68" fmla="*/ 964 w 1212"/>
                <a:gd name="T69" fmla="*/ 1506 h 2079"/>
                <a:gd name="T70" fmla="*/ 1036 w 1212"/>
                <a:gd name="T71" fmla="*/ 1293 h 2079"/>
                <a:gd name="T72" fmla="*/ 1099 w 1212"/>
                <a:gd name="T73" fmla="*/ 1080 h 2079"/>
                <a:gd name="T74" fmla="*/ 1153 w 1212"/>
                <a:gd name="T75" fmla="*/ 878 h 2079"/>
                <a:gd name="T76" fmla="*/ 1174 w 1212"/>
                <a:gd name="T77" fmla="*/ 789 h 2079"/>
                <a:gd name="T78" fmla="*/ 1192 w 1212"/>
                <a:gd name="T79" fmla="*/ 705 h 2079"/>
                <a:gd name="T80" fmla="*/ 1204 w 1212"/>
                <a:gd name="T81" fmla="*/ 630 h 2079"/>
                <a:gd name="T82" fmla="*/ 1211 w 1212"/>
                <a:gd name="T83" fmla="*/ 562 h 2079"/>
                <a:gd name="T84" fmla="*/ 1212 w 1212"/>
                <a:gd name="T85" fmla="*/ 501 h 2079"/>
                <a:gd name="T86" fmla="*/ 1211 w 1212"/>
                <a:gd name="T87" fmla="*/ 446 h 2079"/>
                <a:gd name="T88" fmla="*/ 1205 w 1212"/>
                <a:gd name="T89" fmla="*/ 398 h 2079"/>
                <a:gd name="T90" fmla="*/ 1196 w 1212"/>
                <a:gd name="T91" fmla="*/ 355 h 2079"/>
                <a:gd name="T92" fmla="*/ 1184 w 1212"/>
                <a:gd name="T93" fmla="*/ 318 h 2079"/>
                <a:gd name="T94" fmla="*/ 1168 w 1212"/>
                <a:gd name="T95" fmla="*/ 284 h 2079"/>
                <a:gd name="T96" fmla="*/ 1150 w 1212"/>
                <a:gd name="T97" fmla="*/ 255 h 2079"/>
                <a:gd name="T98" fmla="*/ 1132 w 1212"/>
                <a:gd name="T99" fmla="*/ 228 h 2079"/>
                <a:gd name="T100" fmla="*/ 1087 w 1212"/>
                <a:gd name="T101" fmla="*/ 185 h 2079"/>
                <a:gd name="T102" fmla="*/ 1040 w 1212"/>
                <a:gd name="T103" fmla="*/ 149 h 2079"/>
                <a:gd name="T104" fmla="*/ 1016 w 1212"/>
                <a:gd name="T105" fmla="*/ 133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2" h="2079">
                  <a:moveTo>
                    <a:pt x="1016" y="133"/>
                  </a:moveTo>
                  <a:lnTo>
                    <a:pt x="1016" y="133"/>
                  </a:lnTo>
                  <a:lnTo>
                    <a:pt x="984" y="113"/>
                  </a:lnTo>
                  <a:lnTo>
                    <a:pt x="950" y="95"/>
                  </a:lnTo>
                  <a:lnTo>
                    <a:pt x="917" y="78"/>
                  </a:lnTo>
                  <a:lnTo>
                    <a:pt x="883" y="63"/>
                  </a:lnTo>
                  <a:lnTo>
                    <a:pt x="851" y="48"/>
                  </a:lnTo>
                  <a:lnTo>
                    <a:pt x="819" y="36"/>
                  </a:lnTo>
                  <a:lnTo>
                    <a:pt x="788" y="25"/>
                  </a:lnTo>
                  <a:lnTo>
                    <a:pt x="759" y="17"/>
                  </a:lnTo>
                  <a:lnTo>
                    <a:pt x="730" y="11"/>
                  </a:lnTo>
                  <a:lnTo>
                    <a:pt x="705" y="5"/>
                  </a:lnTo>
                  <a:lnTo>
                    <a:pt x="681" y="1"/>
                  </a:lnTo>
                  <a:lnTo>
                    <a:pt x="661" y="0"/>
                  </a:lnTo>
                  <a:lnTo>
                    <a:pt x="643" y="1"/>
                  </a:lnTo>
                  <a:lnTo>
                    <a:pt x="629" y="3"/>
                  </a:lnTo>
                  <a:lnTo>
                    <a:pt x="623" y="5"/>
                  </a:lnTo>
                  <a:lnTo>
                    <a:pt x="618" y="8"/>
                  </a:lnTo>
                  <a:lnTo>
                    <a:pt x="615" y="11"/>
                  </a:lnTo>
                  <a:lnTo>
                    <a:pt x="612" y="13"/>
                  </a:lnTo>
                  <a:lnTo>
                    <a:pt x="612" y="13"/>
                  </a:lnTo>
                  <a:lnTo>
                    <a:pt x="603" y="31"/>
                  </a:lnTo>
                  <a:lnTo>
                    <a:pt x="592" y="55"/>
                  </a:lnTo>
                  <a:lnTo>
                    <a:pt x="580" y="83"/>
                  </a:lnTo>
                  <a:lnTo>
                    <a:pt x="567" y="118"/>
                  </a:lnTo>
                  <a:lnTo>
                    <a:pt x="539" y="198"/>
                  </a:lnTo>
                  <a:lnTo>
                    <a:pt x="508" y="292"/>
                  </a:lnTo>
                  <a:lnTo>
                    <a:pt x="476" y="394"/>
                  </a:lnTo>
                  <a:lnTo>
                    <a:pt x="443" y="499"/>
                  </a:lnTo>
                  <a:lnTo>
                    <a:pt x="386" y="695"/>
                  </a:lnTo>
                  <a:lnTo>
                    <a:pt x="386" y="695"/>
                  </a:lnTo>
                  <a:lnTo>
                    <a:pt x="379" y="754"/>
                  </a:lnTo>
                  <a:lnTo>
                    <a:pt x="370" y="815"/>
                  </a:lnTo>
                  <a:lnTo>
                    <a:pt x="358" y="881"/>
                  </a:lnTo>
                  <a:lnTo>
                    <a:pt x="343" y="949"/>
                  </a:lnTo>
                  <a:lnTo>
                    <a:pt x="343" y="949"/>
                  </a:lnTo>
                  <a:lnTo>
                    <a:pt x="313" y="1077"/>
                  </a:lnTo>
                  <a:lnTo>
                    <a:pt x="280" y="1214"/>
                  </a:lnTo>
                  <a:lnTo>
                    <a:pt x="242" y="1356"/>
                  </a:lnTo>
                  <a:lnTo>
                    <a:pt x="201" y="1502"/>
                  </a:lnTo>
                  <a:lnTo>
                    <a:pt x="178" y="1576"/>
                  </a:lnTo>
                  <a:lnTo>
                    <a:pt x="155" y="1650"/>
                  </a:lnTo>
                  <a:lnTo>
                    <a:pt x="132" y="1723"/>
                  </a:lnTo>
                  <a:lnTo>
                    <a:pt x="107" y="1797"/>
                  </a:lnTo>
                  <a:lnTo>
                    <a:pt x="81" y="1868"/>
                  </a:lnTo>
                  <a:lnTo>
                    <a:pt x="54" y="1941"/>
                  </a:lnTo>
                  <a:lnTo>
                    <a:pt x="28" y="2010"/>
                  </a:lnTo>
                  <a:lnTo>
                    <a:pt x="0" y="2079"/>
                  </a:lnTo>
                  <a:lnTo>
                    <a:pt x="0" y="2079"/>
                  </a:lnTo>
                  <a:lnTo>
                    <a:pt x="635" y="2079"/>
                  </a:lnTo>
                  <a:lnTo>
                    <a:pt x="635" y="2079"/>
                  </a:lnTo>
                  <a:lnTo>
                    <a:pt x="642" y="2077"/>
                  </a:lnTo>
                  <a:lnTo>
                    <a:pt x="650" y="2076"/>
                  </a:lnTo>
                  <a:lnTo>
                    <a:pt x="658" y="2073"/>
                  </a:lnTo>
                  <a:lnTo>
                    <a:pt x="666" y="2069"/>
                  </a:lnTo>
                  <a:lnTo>
                    <a:pt x="675" y="2064"/>
                  </a:lnTo>
                  <a:lnTo>
                    <a:pt x="684" y="2057"/>
                  </a:lnTo>
                  <a:lnTo>
                    <a:pt x="701" y="2041"/>
                  </a:lnTo>
                  <a:lnTo>
                    <a:pt x="718" y="2022"/>
                  </a:lnTo>
                  <a:lnTo>
                    <a:pt x="736" y="1998"/>
                  </a:lnTo>
                  <a:lnTo>
                    <a:pt x="755" y="1971"/>
                  </a:lnTo>
                  <a:lnTo>
                    <a:pt x="773" y="1942"/>
                  </a:lnTo>
                  <a:lnTo>
                    <a:pt x="792" y="1908"/>
                  </a:lnTo>
                  <a:lnTo>
                    <a:pt x="811" y="1872"/>
                  </a:lnTo>
                  <a:lnTo>
                    <a:pt x="830" y="1833"/>
                  </a:lnTo>
                  <a:lnTo>
                    <a:pt x="850" y="1792"/>
                  </a:lnTo>
                  <a:lnTo>
                    <a:pt x="869" y="1749"/>
                  </a:lnTo>
                  <a:lnTo>
                    <a:pt x="889" y="1703"/>
                  </a:lnTo>
                  <a:lnTo>
                    <a:pt x="926" y="1607"/>
                  </a:lnTo>
                  <a:lnTo>
                    <a:pt x="964" y="1506"/>
                  </a:lnTo>
                  <a:lnTo>
                    <a:pt x="1000" y="1400"/>
                  </a:lnTo>
                  <a:lnTo>
                    <a:pt x="1036" y="1293"/>
                  </a:lnTo>
                  <a:lnTo>
                    <a:pt x="1068" y="1185"/>
                  </a:lnTo>
                  <a:lnTo>
                    <a:pt x="1099" y="1080"/>
                  </a:lnTo>
                  <a:lnTo>
                    <a:pt x="1128" y="976"/>
                  </a:lnTo>
                  <a:lnTo>
                    <a:pt x="1153" y="878"/>
                  </a:lnTo>
                  <a:lnTo>
                    <a:pt x="1174" y="789"/>
                  </a:lnTo>
                  <a:lnTo>
                    <a:pt x="1174" y="789"/>
                  </a:lnTo>
                  <a:lnTo>
                    <a:pt x="1184" y="746"/>
                  </a:lnTo>
                  <a:lnTo>
                    <a:pt x="1192" y="705"/>
                  </a:lnTo>
                  <a:lnTo>
                    <a:pt x="1199" y="666"/>
                  </a:lnTo>
                  <a:lnTo>
                    <a:pt x="1204" y="630"/>
                  </a:lnTo>
                  <a:lnTo>
                    <a:pt x="1208" y="595"/>
                  </a:lnTo>
                  <a:lnTo>
                    <a:pt x="1211" y="562"/>
                  </a:lnTo>
                  <a:lnTo>
                    <a:pt x="1212" y="531"/>
                  </a:lnTo>
                  <a:lnTo>
                    <a:pt x="1212" y="501"/>
                  </a:lnTo>
                  <a:lnTo>
                    <a:pt x="1212" y="473"/>
                  </a:lnTo>
                  <a:lnTo>
                    <a:pt x="1211" y="446"/>
                  </a:lnTo>
                  <a:lnTo>
                    <a:pt x="1208" y="422"/>
                  </a:lnTo>
                  <a:lnTo>
                    <a:pt x="1205" y="398"/>
                  </a:lnTo>
                  <a:lnTo>
                    <a:pt x="1201" y="377"/>
                  </a:lnTo>
                  <a:lnTo>
                    <a:pt x="1196" y="355"/>
                  </a:lnTo>
                  <a:lnTo>
                    <a:pt x="1191" y="335"/>
                  </a:lnTo>
                  <a:lnTo>
                    <a:pt x="1184" y="318"/>
                  </a:lnTo>
                  <a:lnTo>
                    <a:pt x="1176" y="300"/>
                  </a:lnTo>
                  <a:lnTo>
                    <a:pt x="1168" y="284"/>
                  </a:lnTo>
                  <a:lnTo>
                    <a:pt x="1160" y="268"/>
                  </a:lnTo>
                  <a:lnTo>
                    <a:pt x="1150" y="255"/>
                  </a:lnTo>
                  <a:lnTo>
                    <a:pt x="1141" y="241"/>
                  </a:lnTo>
                  <a:lnTo>
                    <a:pt x="1132" y="228"/>
                  </a:lnTo>
                  <a:lnTo>
                    <a:pt x="1110" y="205"/>
                  </a:lnTo>
                  <a:lnTo>
                    <a:pt x="1087" y="185"/>
                  </a:lnTo>
                  <a:lnTo>
                    <a:pt x="1064" y="166"/>
                  </a:lnTo>
                  <a:lnTo>
                    <a:pt x="1040" y="149"/>
                  </a:lnTo>
                  <a:lnTo>
                    <a:pt x="1016" y="133"/>
                  </a:lnTo>
                  <a:lnTo>
                    <a:pt x="10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0" name="Oval 119"/>
          <p:cNvSpPr/>
          <p:nvPr/>
        </p:nvSpPr>
        <p:spPr>
          <a:xfrm>
            <a:off x="3360170" y="3140897"/>
            <a:ext cx="1178183" cy="1178315"/>
          </a:xfrm>
          <a:prstGeom prst="ellipse">
            <a:avLst/>
          </a:prstGeom>
          <a:gradFill>
            <a:gsLst>
              <a:gs pos="0">
                <a:schemeClr val="accent1"/>
              </a:gs>
              <a:gs pos="100000">
                <a:schemeClr val="accent2"/>
              </a:gs>
            </a:gsLst>
            <a:lin ang="5400000" scaled="1"/>
          </a:gradFill>
          <a:ln w="6350">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285737" indent="-285737">
              <a:buFont typeface="Arial"/>
              <a:buChar char="•"/>
            </a:pPr>
            <a:endParaRPr lang="en-US" sz="1050" dirty="0">
              <a:latin typeface="Calibri Light" panose="020F0302020204030204" pitchFamily="34" charset="0"/>
            </a:endParaRPr>
          </a:p>
        </p:txBody>
      </p:sp>
      <p:sp>
        <p:nvSpPr>
          <p:cNvPr id="121" name="Oval 120"/>
          <p:cNvSpPr/>
          <p:nvPr/>
        </p:nvSpPr>
        <p:spPr>
          <a:xfrm>
            <a:off x="3674810" y="2938853"/>
            <a:ext cx="548905" cy="548905"/>
          </a:xfrm>
          <a:prstGeom prst="ellipse">
            <a:avLst/>
          </a:prstGeom>
          <a:solidFill>
            <a:srgbClr val="2F343B">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22" name="Oval 121"/>
          <p:cNvSpPr/>
          <p:nvPr/>
        </p:nvSpPr>
        <p:spPr>
          <a:xfrm>
            <a:off x="5497750" y="3140897"/>
            <a:ext cx="1178183" cy="1178315"/>
          </a:xfrm>
          <a:prstGeom prst="ellipse">
            <a:avLst/>
          </a:prstGeom>
          <a:gradFill>
            <a:gsLst>
              <a:gs pos="0">
                <a:schemeClr val="accent1"/>
              </a:gs>
              <a:gs pos="100000">
                <a:schemeClr val="accent2"/>
              </a:gs>
            </a:gsLst>
            <a:lin ang="5400000" scaled="1"/>
          </a:gradFill>
          <a:ln w="6350">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285737" indent="-285737">
              <a:buFont typeface="Arial"/>
              <a:buChar char="•"/>
            </a:pPr>
            <a:endParaRPr lang="en-US" sz="1050" dirty="0">
              <a:latin typeface="Calibri Light" panose="020F0302020204030204" pitchFamily="34" charset="0"/>
            </a:endParaRPr>
          </a:p>
        </p:txBody>
      </p:sp>
      <p:sp>
        <p:nvSpPr>
          <p:cNvPr id="123" name="Oval 122"/>
          <p:cNvSpPr/>
          <p:nvPr/>
        </p:nvSpPr>
        <p:spPr>
          <a:xfrm>
            <a:off x="5812390" y="2938853"/>
            <a:ext cx="548905" cy="548905"/>
          </a:xfrm>
          <a:prstGeom prst="ellipse">
            <a:avLst/>
          </a:prstGeom>
          <a:solidFill>
            <a:srgbClr val="2F343B">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24" name="Oval 123"/>
          <p:cNvSpPr/>
          <p:nvPr/>
        </p:nvSpPr>
        <p:spPr>
          <a:xfrm>
            <a:off x="7635330" y="3140897"/>
            <a:ext cx="1178183" cy="1178315"/>
          </a:xfrm>
          <a:prstGeom prst="ellipse">
            <a:avLst/>
          </a:prstGeom>
          <a:gradFill>
            <a:gsLst>
              <a:gs pos="0">
                <a:schemeClr val="accent1"/>
              </a:gs>
              <a:gs pos="100000">
                <a:schemeClr val="accent2"/>
              </a:gs>
            </a:gsLst>
            <a:lin ang="5400000" scaled="1"/>
          </a:gradFill>
          <a:ln w="6350">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285737" indent="-285737">
              <a:buFont typeface="Arial"/>
              <a:buChar char="•"/>
            </a:pPr>
            <a:endParaRPr lang="en-US" sz="1050" dirty="0">
              <a:latin typeface="Calibri Light" panose="020F0302020204030204" pitchFamily="34" charset="0"/>
            </a:endParaRPr>
          </a:p>
        </p:txBody>
      </p:sp>
      <p:sp>
        <p:nvSpPr>
          <p:cNvPr id="125" name="Oval 124"/>
          <p:cNvSpPr/>
          <p:nvPr/>
        </p:nvSpPr>
        <p:spPr>
          <a:xfrm>
            <a:off x="7949970" y="2938853"/>
            <a:ext cx="548905" cy="548905"/>
          </a:xfrm>
          <a:prstGeom prst="ellipse">
            <a:avLst/>
          </a:prstGeom>
          <a:solidFill>
            <a:srgbClr val="2F343B">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26" name="Oval 125"/>
          <p:cNvSpPr/>
          <p:nvPr/>
        </p:nvSpPr>
        <p:spPr>
          <a:xfrm>
            <a:off x="9772911" y="3140897"/>
            <a:ext cx="1178183" cy="1178315"/>
          </a:xfrm>
          <a:prstGeom prst="ellipse">
            <a:avLst/>
          </a:prstGeom>
          <a:gradFill>
            <a:gsLst>
              <a:gs pos="0">
                <a:schemeClr val="accent1"/>
              </a:gs>
              <a:gs pos="100000">
                <a:schemeClr val="accent2"/>
              </a:gs>
            </a:gsLst>
            <a:lin ang="5400000" scaled="1"/>
          </a:gradFill>
          <a:ln w="6350">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285737" indent="-285737">
              <a:buFont typeface="Arial"/>
              <a:buChar char="•"/>
            </a:pPr>
            <a:endParaRPr lang="en-US" sz="1050" dirty="0">
              <a:latin typeface="Calibri Light" panose="020F0302020204030204" pitchFamily="34" charset="0"/>
            </a:endParaRPr>
          </a:p>
        </p:txBody>
      </p:sp>
      <p:sp>
        <p:nvSpPr>
          <p:cNvPr id="127" name="Oval 126"/>
          <p:cNvSpPr/>
          <p:nvPr/>
        </p:nvSpPr>
        <p:spPr>
          <a:xfrm>
            <a:off x="10087552" y="2938853"/>
            <a:ext cx="548905" cy="548905"/>
          </a:xfrm>
          <a:prstGeom prst="ellipse">
            <a:avLst/>
          </a:prstGeom>
          <a:solidFill>
            <a:srgbClr val="2F343B">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28" name="Rectangle 127"/>
          <p:cNvSpPr/>
          <p:nvPr/>
        </p:nvSpPr>
        <p:spPr>
          <a:xfrm>
            <a:off x="913286" y="1932231"/>
            <a:ext cx="1826369"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a:t>
            </a:r>
          </a:p>
        </p:txBody>
      </p:sp>
      <p:sp>
        <p:nvSpPr>
          <p:cNvPr id="129" name="Rectangle 128"/>
          <p:cNvSpPr/>
          <p:nvPr/>
        </p:nvSpPr>
        <p:spPr>
          <a:xfrm>
            <a:off x="3028192" y="1932231"/>
            <a:ext cx="1826369"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a:t>
            </a:r>
          </a:p>
        </p:txBody>
      </p:sp>
      <p:sp>
        <p:nvSpPr>
          <p:cNvPr id="130" name="Rectangle 129"/>
          <p:cNvSpPr/>
          <p:nvPr/>
        </p:nvSpPr>
        <p:spPr>
          <a:xfrm>
            <a:off x="5143098" y="1932231"/>
            <a:ext cx="1826369"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a:t>
            </a:r>
          </a:p>
        </p:txBody>
      </p:sp>
      <p:sp>
        <p:nvSpPr>
          <p:cNvPr id="131" name="Rectangle 130"/>
          <p:cNvSpPr/>
          <p:nvPr/>
        </p:nvSpPr>
        <p:spPr>
          <a:xfrm>
            <a:off x="7258004" y="1932231"/>
            <a:ext cx="1826369"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a:t>
            </a:r>
          </a:p>
        </p:txBody>
      </p:sp>
      <p:sp>
        <p:nvSpPr>
          <p:cNvPr id="132" name="Rectangle 131"/>
          <p:cNvSpPr/>
          <p:nvPr/>
        </p:nvSpPr>
        <p:spPr>
          <a:xfrm>
            <a:off x="9372910" y="1932231"/>
            <a:ext cx="1826369"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a:t>
            </a:r>
          </a:p>
        </p:txBody>
      </p:sp>
      <p:sp>
        <p:nvSpPr>
          <p:cNvPr id="133" name="Rectangle 132"/>
          <p:cNvSpPr/>
          <p:nvPr/>
        </p:nvSpPr>
        <p:spPr>
          <a:xfrm>
            <a:off x="868768" y="5237246"/>
            <a:ext cx="10510432" cy="830997"/>
          </a:xfrm>
          <a:prstGeom prst="rect">
            <a:avLst/>
          </a:prstGeom>
        </p:spPr>
        <p:txBody>
          <a:bodyPr wrap="square">
            <a:spAutoFit/>
          </a:bodyPr>
          <a:lstStyle/>
          <a:p>
            <a:pPr algn="ctr">
              <a:buClr>
                <a:srgbClr val="E24848"/>
              </a:buClr>
              <a:defRPr/>
            </a:pPr>
            <a:r>
              <a:rPr lang="en-US" sz="1200" noProof="1">
                <a:solidFill>
                  <a:schemeClr val="tx1">
                    <a:lumMod val="65000"/>
                    <a:lumOff val="3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Nunc elementum fringilla nisl, a ornare arcu condimentum a. Nulla euismod congue arcu quis feugiat. Phasellus porttitor felis mauris, sed suscipit quam egestas nec. Suspendisse sapien quam, cursus et tincidunt quis, ultricies sit amet. third-party research, surveys and studies generally indicate that.</a:t>
            </a:r>
          </a:p>
        </p:txBody>
      </p:sp>
      <p:sp>
        <p:nvSpPr>
          <p:cNvPr id="134" name="Rectangle 133"/>
          <p:cNvSpPr/>
          <p:nvPr/>
        </p:nvSpPr>
        <p:spPr>
          <a:xfrm>
            <a:off x="868768" y="4777152"/>
            <a:ext cx="10510432" cy="400110"/>
          </a:xfrm>
          <a:prstGeom prst="rect">
            <a:avLst/>
          </a:prstGeom>
        </p:spPr>
        <p:txBody>
          <a:bodyPr wrap="square">
            <a:spAutoFit/>
          </a:bodyPr>
          <a:lstStyle/>
          <a:p>
            <a:pPr algn="ctr"/>
            <a:r>
              <a:rPr lang="en-US" sz="2000" noProof="1">
                <a:solidFill>
                  <a:schemeClr val="tx1">
                    <a:lumMod val="75000"/>
                    <a:lumOff val="25000"/>
                  </a:schemeClr>
                </a:solidFill>
                <a:latin typeface="Montserrat" panose="00000500000000000000" pitchFamily="2" charset="0"/>
                <a:ea typeface="Roboto Light" panose="02000000000000000000" pitchFamily="2" charset="0"/>
                <a:cs typeface="Arial" charset="0"/>
              </a:rPr>
              <a:t>LOREM IPSUM DOLOR SIT</a:t>
            </a:r>
          </a:p>
        </p:txBody>
      </p:sp>
      <p:sp>
        <p:nvSpPr>
          <p:cNvPr id="135" name="Rectangle 134"/>
          <p:cNvSpPr/>
          <p:nvPr/>
        </p:nvSpPr>
        <p:spPr>
          <a:xfrm>
            <a:off x="3464886" y="3686857"/>
            <a:ext cx="987071" cy="184666"/>
          </a:xfrm>
          <a:prstGeom prst="rect">
            <a:avLst/>
          </a:prstGeom>
        </p:spPr>
        <p:txBody>
          <a:bodyPr wrap="square" lIns="0" tIns="0" rIns="0" bIns="0">
            <a:spAutoFit/>
          </a:bodyPr>
          <a:lstStyle/>
          <a:p>
            <a:pPr algn="ctr"/>
            <a:r>
              <a:rPr lang="en-US" sz="1200" dirty="0">
                <a:solidFill>
                  <a:schemeClr val="bg1">
                    <a:lumMod val="95000"/>
                  </a:schemeClr>
                </a:solidFill>
                <a:latin typeface="Montserrat" panose="00000500000000000000" pitchFamily="2" charset="0"/>
                <a:ea typeface="Roboto Light" panose="02000000000000000000" pitchFamily="2" charset="0"/>
              </a:rPr>
              <a:t>TEXT HERE</a:t>
            </a:r>
          </a:p>
        </p:txBody>
      </p:sp>
      <p:sp>
        <p:nvSpPr>
          <p:cNvPr id="136" name="Rectangle 135"/>
          <p:cNvSpPr/>
          <p:nvPr/>
        </p:nvSpPr>
        <p:spPr>
          <a:xfrm>
            <a:off x="5591774" y="3686857"/>
            <a:ext cx="987071" cy="184666"/>
          </a:xfrm>
          <a:prstGeom prst="rect">
            <a:avLst/>
          </a:prstGeom>
        </p:spPr>
        <p:txBody>
          <a:bodyPr wrap="square" lIns="0" tIns="0" rIns="0" bIns="0">
            <a:spAutoFit/>
          </a:bodyPr>
          <a:lstStyle/>
          <a:p>
            <a:pPr algn="ctr"/>
            <a:r>
              <a:rPr lang="en-US" sz="1200" dirty="0">
                <a:solidFill>
                  <a:schemeClr val="bg1">
                    <a:lumMod val="95000"/>
                  </a:schemeClr>
                </a:solidFill>
                <a:latin typeface="Montserrat" panose="00000500000000000000" pitchFamily="2" charset="0"/>
                <a:ea typeface="Roboto Light" panose="02000000000000000000" pitchFamily="2" charset="0"/>
              </a:rPr>
              <a:t>TEXT HERE</a:t>
            </a:r>
          </a:p>
        </p:txBody>
      </p:sp>
      <p:sp>
        <p:nvSpPr>
          <p:cNvPr id="137" name="Rectangle 136"/>
          <p:cNvSpPr/>
          <p:nvPr/>
        </p:nvSpPr>
        <p:spPr>
          <a:xfrm>
            <a:off x="7724955" y="3686857"/>
            <a:ext cx="987071" cy="184666"/>
          </a:xfrm>
          <a:prstGeom prst="rect">
            <a:avLst/>
          </a:prstGeom>
        </p:spPr>
        <p:txBody>
          <a:bodyPr wrap="square" lIns="0" tIns="0" rIns="0" bIns="0">
            <a:spAutoFit/>
          </a:bodyPr>
          <a:lstStyle/>
          <a:p>
            <a:pPr algn="ctr"/>
            <a:r>
              <a:rPr lang="en-US" sz="1200" dirty="0">
                <a:solidFill>
                  <a:schemeClr val="bg1">
                    <a:lumMod val="95000"/>
                  </a:schemeClr>
                </a:solidFill>
                <a:latin typeface="Montserrat" panose="00000500000000000000" pitchFamily="2" charset="0"/>
                <a:ea typeface="Roboto Light" panose="02000000000000000000" pitchFamily="2" charset="0"/>
              </a:rPr>
              <a:t>TEXT HERE</a:t>
            </a:r>
          </a:p>
        </p:txBody>
      </p:sp>
      <p:sp>
        <p:nvSpPr>
          <p:cNvPr id="138" name="Rectangle 137"/>
          <p:cNvSpPr/>
          <p:nvPr/>
        </p:nvSpPr>
        <p:spPr>
          <a:xfrm>
            <a:off x="9857853" y="3686857"/>
            <a:ext cx="987071" cy="184666"/>
          </a:xfrm>
          <a:prstGeom prst="rect">
            <a:avLst/>
          </a:prstGeom>
        </p:spPr>
        <p:txBody>
          <a:bodyPr wrap="square" lIns="0" tIns="0" rIns="0" bIns="0">
            <a:spAutoFit/>
          </a:bodyPr>
          <a:lstStyle/>
          <a:p>
            <a:pPr algn="ctr"/>
            <a:r>
              <a:rPr lang="en-US" sz="1200" dirty="0">
                <a:solidFill>
                  <a:schemeClr val="bg1">
                    <a:lumMod val="95000"/>
                  </a:schemeClr>
                </a:solidFill>
                <a:latin typeface="Montserrat" panose="00000500000000000000" pitchFamily="2" charset="0"/>
                <a:ea typeface="Roboto Light" panose="02000000000000000000" pitchFamily="2" charset="0"/>
              </a:rPr>
              <a:t>TEXT HERE</a:t>
            </a:r>
          </a:p>
        </p:txBody>
      </p:sp>
      <p:grpSp>
        <p:nvGrpSpPr>
          <p:cNvPr id="139" name="Group 138"/>
          <p:cNvGrpSpPr/>
          <p:nvPr/>
        </p:nvGrpSpPr>
        <p:grpSpPr>
          <a:xfrm>
            <a:off x="3878252" y="3054527"/>
            <a:ext cx="185737" cy="285750"/>
            <a:chOff x="7666038" y="5922963"/>
            <a:chExt cx="185737" cy="285750"/>
          </a:xfrm>
          <a:solidFill>
            <a:schemeClr val="bg1"/>
          </a:solidFill>
        </p:grpSpPr>
        <p:sp>
          <p:nvSpPr>
            <p:cNvPr id="140" name="Freeform 3584"/>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585"/>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586"/>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42"/>
          <p:cNvGrpSpPr/>
          <p:nvPr/>
        </p:nvGrpSpPr>
        <p:grpSpPr>
          <a:xfrm>
            <a:off x="8104080" y="3082696"/>
            <a:ext cx="261216" cy="261216"/>
            <a:chOff x="2598738" y="1344613"/>
            <a:chExt cx="287338" cy="287338"/>
          </a:xfrm>
          <a:solidFill>
            <a:schemeClr val="bg1"/>
          </a:solidFill>
        </p:grpSpPr>
        <p:sp>
          <p:nvSpPr>
            <p:cNvPr id="144" name="Freeform 457"/>
            <p:cNvSpPr>
              <a:spLocks/>
            </p:cNvSpPr>
            <p:nvPr/>
          </p:nvSpPr>
          <p:spPr bwMode="auto">
            <a:xfrm>
              <a:off x="2693988" y="1508125"/>
              <a:ext cx="192088" cy="47625"/>
            </a:xfrm>
            <a:custGeom>
              <a:avLst/>
              <a:gdLst>
                <a:gd name="T0" fmla="*/ 1 w 601"/>
                <a:gd name="T1" fmla="*/ 93 h 150"/>
                <a:gd name="T2" fmla="*/ 11 w 601"/>
                <a:gd name="T3" fmla="*/ 101 h 150"/>
                <a:gd name="T4" fmla="*/ 30 w 601"/>
                <a:gd name="T5" fmla="*/ 111 h 150"/>
                <a:gd name="T6" fmla="*/ 58 w 601"/>
                <a:gd name="T7" fmla="*/ 121 h 150"/>
                <a:gd name="T8" fmla="*/ 96 w 601"/>
                <a:gd name="T9" fmla="*/ 131 h 150"/>
                <a:gd name="T10" fmla="*/ 144 w 601"/>
                <a:gd name="T11" fmla="*/ 140 h 150"/>
                <a:gd name="T12" fmla="*/ 199 w 601"/>
                <a:gd name="T13" fmla="*/ 146 h 150"/>
                <a:gd name="T14" fmla="*/ 265 w 601"/>
                <a:gd name="T15" fmla="*/ 149 h 150"/>
                <a:gd name="T16" fmla="*/ 337 w 601"/>
                <a:gd name="T17" fmla="*/ 149 h 150"/>
                <a:gd name="T18" fmla="*/ 402 w 601"/>
                <a:gd name="T19" fmla="*/ 146 h 150"/>
                <a:gd name="T20" fmla="*/ 458 w 601"/>
                <a:gd name="T21" fmla="*/ 140 h 150"/>
                <a:gd name="T22" fmla="*/ 505 w 601"/>
                <a:gd name="T23" fmla="*/ 131 h 150"/>
                <a:gd name="T24" fmla="*/ 542 w 601"/>
                <a:gd name="T25" fmla="*/ 121 h 150"/>
                <a:gd name="T26" fmla="*/ 571 w 601"/>
                <a:gd name="T27" fmla="*/ 111 h 150"/>
                <a:gd name="T28" fmla="*/ 591 w 601"/>
                <a:gd name="T29" fmla="*/ 101 h 150"/>
                <a:gd name="T30" fmla="*/ 600 w 601"/>
                <a:gd name="T31" fmla="*/ 93 h 150"/>
                <a:gd name="T32" fmla="*/ 601 w 601"/>
                <a:gd name="T33" fmla="*/ 87 h 150"/>
                <a:gd name="T34" fmla="*/ 600 w 601"/>
                <a:gd name="T35" fmla="*/ 82 h 150"/>
                <a:gd name="T36" fmla="*/ 599 w 601"/>
                <a:gd name="T37" fmla="*/ 79 h 150"/>
                <a:gd name="T38" fmla="*/ 596 w 601"/>
                <a:gd name="T39" fmla="*/ 71 h 150"/>
                <a:gd name="T40" fmla="*/ 583 w 601"/>
                <a:gd name="T41" fmla="*/ 56 h 150"/>
                <a:gd name="T42" fmla="*/ 564 w 601"/>
                <a:gd name="T43" fmla="*/ 43 h 150"/>
                <a:gd name="T44" fmla="*/ 540 w 601"/>
                <a:gd name="T45" fmla="*/ 32 h 150"/>
                <a:gd name="T46" fmla="*/ 525 w 601"/>
                <a:gd name="T47" fmla="*/ 27 h 150"/>
                <a:gd name="T48" fmla="*/ 523 w 601"/>
                <a:gd name="T49" fmla="*/ 27 h 150"/>
                <a:gd name="T50" fmla="*/ 495 w 601"/>
                <a:gd name="T51" fmla="*/ 19 h 150"/>
                <a:gd name="T52" fmla="*/ 443 w 601"/>
                <a:gd name="T53" fmla="*/ 10 h 150"/>
                <a:gd name="T54" fmla="*/ 387 w 601"/>
                <a:gd name="T55" fmla="*/ 3 h 150"/>
                <a:gd name="T56" fmla="*/ 334 w 601"/>
                <a:gd name="T57" fmla="*/ 0 h 150"/>
                <a:gd name="T58" fmla="*/ 305 w 601"/>
                <a:gd name="T59" fmla="*/ 0 h 150"/>
                <a:gd name="T60" fmla="*/ 257 w 601"/>
                <a:gd name="T61" fmla="*/ 0 h 150"/>
                <a:gd name="T62" fmla="*/ 184 w 601"/>
                <a:gd name="T63" fmla="*/ 7 h 150"/>
                <a:gd name="T64" fmla="*/ 135 w 601"/>
                <a:gd name="T65" fmla="*/ 13 h 150"/>
                <a:gd name="T66" fmla="*/ 88 w 601"/>
                <a:gd name="T67" fmla="*/ 24 h 150"/>
                <a:gd name="T68" fmla="*/ 48 w 601"/>
                <a:gd name="T69" fmla="*/ 38 h 150"/>
                <a:gd name="T70" fmla="*/ 24 w 601"/>
                <a:gd name="T71" fmla="*/ 51 h 150"/>
                <a:gd name="T72" fmla="*/ 13 w 601"/>
                <a:gd name="T73" fmla="*/ 60 h 150"/>
                <a:gd name="T74" fmla="*/ 4 w 601"/>
                <a:gd name="T75" fmla="*/ 71 h 150"/>
                <a:gd name="T76" fmla="*/ 0 w 601"/>
                <a:gd name="T77" fmla="*/ 8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1" h="150">
                  <a:moveTo>
                    <a:pt x="0" y="90"/>
                  </a:moveTo>
                  <a:lnTo>
                    <a:pt x="1" y="93"/>
                  </a:lnTo>
                  <a:lnTo>
                    <a:pt x="4" y="97"/>
                  </a:lnTo>
                  <a:lnTo>
                    <a:pt x="11" y="101"/>
                  </a:lnTo>
                  <a:lnTo>
                    <a:pt x="19" y="106"/>
                  </a:lnTo>
                  <a:lnTo>
                    <a:pt x="30" y="111"/>
                  </a:lnTo>
                  <a:lnTo>
                    <a:pt x="43" y="116"/>
                  </a:lnTo>
                  <a:lnTo>
                    <a:pt x="58" y="121"/>
                  </a:lnTo>
                  <a:lnTo>
                    <a:pt x="76" y="126"/>
                  </a:lnTo>
                  <a:lnTo>
                    <a:pt x="96" y="131"/>
                  </a:lnTo>
                  <a:lnTo>
                    <a:pt x="119" y="135"/>
                  </a:lnTo>
                  <a:lnTo>
                    <a:pt x="144" y="140"/>
                  </a:lnTo>
                  <a:lnTo>
                    <a:pt x="170" y="143"/>
                  </a:lnTo>
                  <a:lnTo>
                    <a:pt x="199" y="146"/>
                  </a:lnTo>
                  <a:lnTo>
                    <a:pt x="230" y="148"/>
                  </a:lnTo>
                  <a:lnTo>
                    <a:pt x="265" y="149"/>
                  </a:lnTo>
                  <a:lnTo>
                    <a:pt x="300" y="150"/>
                  </a:lnTo>
                  <a:lnTo>
                    <a:pt x="337" y="149"/>
                  </a:lnTo>
                  <a:lnTo>
                    <a:pt x="370" y="148"/>
                  </a:lnTo>
                  <a:lnTo>
                    <a:pt x="402" y="146"/>
                  </a:lnTo>
                  <a:lnTo>
                    <a:pt x="431" y="143"/>
                  </a:lnTo>
                  <a:lnTo>
                    <a:pt x="458" y="140"/>
                  </a:lnTo>
                  <a:lnTo>
                    <a:pt x="482" y="135"/>
                  </a:lnTo>
                  <a:lnTo>
                    <a:pt x="505" y="131"/>
                  </a:lnTo>
                  <a:lnTo>
                    <a:pt x="525" y="126"/>
                  </a:lnTo>
                  <a:lnTo>
                    <a:pt x="542" y="121"/>
                  </a:lnTo>
                  <a:lnTo>
                    <a:pt x="559" y="116"/>
                  </a:lnTo>
                  <a:lnTo>
                    <a:pt x="571" y="111"/>
                  </a:lnTo>
                  <a:lnTo>
                    <a:pt x="582" y="106"/>
                  </a:lnTo>
                  <a:lnTo>
                    <a:pt x="591" y="101"/>
                  </a:lnTo>
                  <a:lnTo>
                    <a:pt x="596" y="97"/>
                  </a:lnTo>
                  <a:lnTo>
                    <a:pt x="600" y="93"/>
                  </a:lnTo>
                  <a:lnTo>
                    <a:pt x="601" y="90"/>
                  </a:lnTo>
                  <a:lnTo>
                    <a:pt x="601" y="87"/>
                  </a:lnTo>
                  <a:lnTo>
                    <a:pt x="600" y="84"/>
                  </a:lnTo>
                  <a:lnTo>
                    <a:pt x="600" y="82"/>
                  </a:lnTo>
                  <a:lnTo>
                    <a:pt x="600" y="81"/>
                  </a:lnTo>
                  <a:lnTo>
                    <a:pt x="599" y="79"/>
                  </a:lnTo>
                  <a:lnTo>
                    <a:pt x="599" y="78"/>
                  </a:lnTo>
                  <a:lnTo>
                    <a:pt x="596" y="71"/>
                  </a:lnTo>
                  <a:lnTo>
                    <a:pt x="591" y="63"/>
                  </a:lnTo>
                  <a:lnTo>
                    <a:pt x="583" y="56"/>
                  </a:lnTo>
                  <a:lnTo>
                    <a:pt x="575" y="49"/>
                  </a:lnTo>
                  <a:lnTo>
                    <a:pt x="564" y="43"/>
                  </a:lnTo>
                  <a:lnTo>
                    <a:pt x="553" y="38"/>
                  </a:lnTo>
                  <a:lnTo>
                    <a:pt x="540" y="32"/>
                  </a:lnTo>
                  <a:lnTo>
                    <a:pt x="525" y="28"/>
                  </a:lnTo>
                  <a:lnTo>
                    <a:pt x="525" y="27"/>
                  </a:lnTo>
                  <a:lnTo>
                    <a:pt x="525" y="27"/>
                  </a:lnTo>
                  <a:lnTo>
                    <a:pt x="523" y="27"/>
                  </a:lnTo>
                  <a:lnTo>
                    <a:pt x="520" y="26"/>
                  </a:lnTo>
                  <a:lnTo>
                    <a:pt x="495" y="19"/>
                  </a:lnTo>
                  <a:lnTo>
                    <a:pt x="470" y="14"/>
                  </a:lnTo>
                  <a:lnTo>
                    <a:pt x="443" y="10"/>
                  </a:lnTo>
                  <a:lnTo>
                    <a:pt x="415" y="5"/>
                  </a:lnTo>
                  <a:lnTo>
                    <a:pt x="387" y="3"/>
                  </a:lnTo>
                  <a:lnTo>
                    <a:pt x="360" y="1"/>
                  </a:lnTo>
                  <a:lnTo>
                    <a:pt x="334" y="0"/>
                  </a:lnTo>
                  <a:lnTo>
                    <a:pt x="311" y="0"/>
                  </a:lnTo>
                  <a:lnTo>
                    <a:pt x="305" y="0"/>
                  </a:lnTo>
                  <a:lnTo>
                    <a:pt x="300" y="0"/>
                  </a:lnTo>
                  <a:lnTo>
                    <a:pt x="257" y="0"/>
                  </a:lnTo>
                  <a:lnTo>
                    <a:pt x="209" y="3"/>
                  </a:lnTo>
                  <a:lnTo>
                    <a:pt x="184" y="7"/>
                  </a:lnTo>
                  <a:lnTo>
                    <a:pt x="160" y="10"/>
                  </a:lnTo>
                  <a:lnTo>
                    <a:pt x="135" y="13"/>
                  </a:lnTo>
                  <a:lnTo>
                    <a:pt x="110" y="18"/>
                  </a:lnTo>
                  <a:lnTo>
                    <a:pt x="88" y="24"/>
                  </a:lnTo>
                  <a:lnTo>
                    <a:pt x="67" y="30"/>
                  </a:lnTo>
                  <a:lnTo>
                    <a:pt x="48" y="38"/>
                  </a:lnTo>
                  <a:lnTo>
                    <a:pt x="32" y="45"/>
                  </a:lnTo>
                  <a:lnTo>
                    <a:pt x="24" y="51"/>
                  </a:lnTo>
                  <a:lnTo>
                    <a:pt x="18" y="55"/>
                  </a:lnTo>
                  <a:lnTo>
                    <a:pt x="13" y="60"/>
                  </a:lnTo>
                  <a:lnTo>
                    <a:pt x="8" y="66"/>
                  </a:lnTo>
                  <a:lnTo>
                    <a:pt x="4" y="71"/>
                  </a:lnTo>
                  <a:lnTo>
                    <a:pt x="2" y="77"/>
                  </a:lnTo>
                  <a:lnTo>
                    <a:pt x="0" y="84"/>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58"/>
            <p:cNvSpPr>
              <a:spLocks/>
            </p:cNvSpPr>
            <p:nvPr/>
          </p:nvSpPr>
          <p:spPr bwMode="auto">
            <a:xfrm>
              <a:off x="2598738" y="1420813"/>
              <a:ext cx="190500" cy="39688"/>
            </a:xfrm>
            <a:custGeom>
              <a:avLst/>
              <a:gdLst>
                <a:gd name="T0" fmla="*/ 333 w 602"/>
                <a:gd name="T1" fmla="*/ 125 h 125"/>
                <a:gd name="T2" fmla="*/ 393 w 602"/>
                <a:gd name="T3" fmla="*/ 122 h 125"/>
                <a:gd name="T4" fmla="*/ 448 w 602"/>
                <a:gd name="T5" fmla="*/ 116 h 125"/>
                <a:gd name="T6" fmla="*/ 495 w 602"/>
                <a:gd name="T7" fmla="*/ 108 h 125"/>
                <a:gd name="T8" fmla="*/ 536 w 602"/>
                <a:gd name="T9" fmla="*/ 99 h 125"/>
                <a:gd name="T10" fmla="*/ 567 w 602"/>
                <a:gd name="T11" fmla="*/ 89 h 125"/>
                <a:gd name="T12" fmla="*/ 589 w 602"/>
                <a:gd name="T13" fmla="*/ 79 h 125"/>
                <a:gd name="T14" fmla="*/ 599 w 602"/>
                <a:gd name="T15" fmla="*/ 72 h 125"/>
                <a:gd name="T16" fmla="*/ 602 w 602"/>
                <a:gd name="T17" fmla="*/ 67 h 125"/>
                <a:gd name="T18" fmla="*/ 602 w 602"/>
                <a:gd name="T19" fmla="*/ 0 h 125"/>
                <a:gd name="T20" fmla="*/ 573 w 602"/>
                <a:gd name="T21" fmla="*/ 13 h 125"/>
                <a:gd name="T22" fmla="*/ 537 w 602"/>
                <a:gd name="T23" fmla="*/ 24 h 125"/>
                <a:gd name="T24" fmla="*/ 497 w 602"/>
                <a:gd name="T25" fmla="*/ 34 h 125"/>
                <a:gd name="T26" fmla="*/ 454 w 602"/>
                <a:gd name="T27" fmla="*/ 40 h 125"/>
                <a:gd name="T28" fmla="*/ 369 w 602"/>
                <a:gd name="T29" fmla="*/ 48 h 125"/>
                <a:gd name="T30" fmla="*/ 302 w 602"/>
                <a:gd name="T31" fmla="*/ 50 h 125"/>
                <a:gd name="T32" fmla="*/ 233 w 602"/>
                <a:gd name="T33" fmla="*/ 48 h 125"/>
                <a:gd name="T34" fmla="*/ 148 w 602"/>
                <a:gd name="T35" fmla="*/ 40 h 125"/>
                <a:gd name="T36" fmla="*/ 106 w 602"/>
                <a:gd name="T37" fmla="*/ 34 h 125"/>
                <a:gd name="T38" fmla="*/ 66 w 602"/>
                <a:gd name="T39" fmla="*/ 25 h 125"/>
                <a:gd name="T40" fmla="*/ 29 w 602"/>
                <a:gd name="T41" fmla="*/ 13 h 125"/>
                <a:gd name="T42" fmla="*/ 0 w 602"/>
                <a:gd name="T43" fmla="*/ 0 h 125"/>
                <a:gd name="T44" fmla="*/ 0 w 602"/>
                <a:gd name="T45" fmla="*/ 67 h 125"/>
                <a:gd name="T46" fmla="*/ 4 w 602"/>
                <a:gd name="T47" fmla="*/ 72 h 125"/>
                <a:gd name="T48" fmla="*/ 13 w 602"/>
                <a:gd name="T49" fmla="*/ 79 h 125"/>
                <a:gd name="T50" fmla="*/ 36 w 602"/>
                <a:gd name="T51" fmla="*/ 89 h 125"/>
                <a:gd name="T52" fmla="*/ 67 w 602"/>
                <a:gd name="T53" fmla="*/ 99 h 125"/>
                <a:gd name="T54" fmla="*/ 108 w 602"/>
                <a:gd name="T55" fmla="*/ 108 h 125"/>
                <a:gd name="T56" fmla="*/ 155 w 602"/>
                <a:gd name="T57" fmla="*/ 116 h 125"/>
                <a:gd name="T58" fmla="*/ 210 w 602"/>
                <a:gd name="T59" fmla="*/ 122 h 125"/>
                <a:gd name="T60" fmla="*/ 270 w 602"/>
                <a:gd name="T61" fmla="*/ 125 h 125"/>
                <a:gd name="T62" fmla="*/ 302 w 602"/>
                <a:gd name="T6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2" h="125">
                  <a:moveTo>
                    <a:pt x="302" y="125"/>
                  </a:moveTo>
                  <a:lnTo>
                    <a:pt x="333" y="125"/>
                  </a:lnTo>
                  <a:lnTo>
                    <a:pt x="364" y="124"/>
                  </a:lnTo>
                  <a:lnTo>
                    <a:pt x="393" y="122"/>
                  </a:lnTo>
                  <a:lnTo>
                    <a:pt x="421" y="118"/>
                  </a:lnTo>
                  <a:lnTo>
                    <a:pt x="448" y="116"/>
                  </a:lnTo>
                  <a:lnTo>
                    <a:pt x="472" y="112"/>
                  </a:lnTo>
                  <a:lnTo>
                    <a:pt x="495" y="108"/>
                  </a:lnTo>
                  <a:lnTo>
                    <a:pt x="516" y="103"/>
                  </a:lnTo>
                  <a:lnTo>
                    <a:pt x="536" y="99"/>
                  </a:lnTo>
                  <a:lnTo>
                    <a:pt x="553" y="94"/>
                  </a:lnTo>
                  <a:lnTo>
                    <a:pt x="567" y="89"/>
                  </a:lnTo>
                  <a:lnTo>
                    <a:pt x="580" y="84"/>
                  </a:lnTo>
                  <a:lnTo>
                    <a:pt x="589" y="79"/>
                  </a:lnTo>
                  <a:lnTo>
                    <a:pt x="597" y="74"/>
                  </a:lnTo>
                  <a:lnTo>
                    <a:pt x="599" y="72"/>
                  </a:lnTo>
                  <a:lnTo>
                    <a:pt x="601" y="69"/>
                  </a:lnTo>
                  <a:lnTo>
                    <a:pt x="602" y="67"/>
                  </a:lnTo>
                  <a:lnTo>
                    <a:pt x="602" y="65"/>
                  </a:lnTo>
                  <a:lnTo>
                    <a:pt x="602" y="0"/>
                  </a:lnTo>
                  <a:lnTo>
                    <a:pt x="589" y="7"/>
                  </a:lnTo>
                  <a:lnTo>
                    <a:pt x="573" y="13"/>
                  </a:lnTo>
                  <a:lnTo>
                    <a:pt x="556" y="20"/>
                  </a:lnTo>
                  <a:lnTo>
                    <a:pt x="537" y="24"/>
                  </a:lnTo>
                  <a:lnTo>
                    <a:pt x="517" y="29"/>
                  </a:lnTo>
                  <a:lnTo>
                    <a:pt x="497" y="34"/>
                  </a:lnTo>
                  <a:lnTo>
                    <a:pt x="476" y="37"/>
                  </a:lnTo>
                  <a:lnTo>
                    <a:pt x="454" y="40"/>
                  </a:lnTo>
                  <a:lnTo>
                    <a:pt x="410" y="44"/>
                  </a:lnTo>
                  <a:lnTo>
                    <a:pt x="369" y="48"/>
                  </a:lnTo>
                  <a:lnTo>
                    <a:pt x="332" y="50"/>
                  </a:lnTo>
                  <a:lnTo>
                    <a:pt x="302" y="50"/>
                  </a:lnTo>
                  <a:lnTo>
                    <a:pt x="271" y="50"/>
                  </a:lnTo>
                  <a:lnTo>
                    <a:pt x="233" y="48"/>
                  </a:lnTo>
                  <a:lnTo>
                    <a:pt x="192" y="44"/>
                  </a:lnTo>
                  <a:lnTo>
                    <a:pt x="148" y="40"/>
                  </a:lnTo>
                  <a:lnTo>
                    <a:pt x="127" y="37"/>
                  </a:lnTo>
                  <a:lnTo>
                    <a:pt x="106" y="34"/>
                  </a:lnTo>
                  <a:lnTo>
                    <a:pt x="85" y="29"/>
                  </a:lnTo>
                  <a:lnTo>
                    <a:pt x="66" y="25"/>
                  </a:lnTo>
                  <a:lnTo>
                    <a:pt x="47" y="20"/>
                  </a:lnTo>
                  <a:lnTo>
                    <a:pt x="29" y="13"/>
                  </a:lnTo>
                  <a:lnTo>
                    <a:pt x="14" y="7"/>
                  </a:lnTo>
                  <a:lnTo>
                    <a:pt x="0" y="0"/>
                  </a:lnTo>
                  <a:lnTo>
                    <a:pt x="0" y="65"/>
                  </a:lnTo>
                  <a:lnTo>
                    <a:pt x="0" y="67"/>
                  </a:lnTo>
                  <a:lnTo>
                    <a:pt x="2" y="69"/>
                  </a:lnTo>
                  <a:lnTo>
                    <a:pt x="4" y="72"/>
                  </a:lnTo>
                  <a:lnTo>
                    <a:pt x="6" y="74"/>
                  </a:lnTo>
                  <a:lnTo>
                    <a:pt x="13" y="79"/>
                  </a:lnTo>
                  <a:lnTo>
                    <a:pt x="23" y="84"/>
                  </a:lnTo>
                  <a:lnTo>
                    <a:pt x="36" y="89"/>
                  </a:lnTo>
                  <a:lnTo>
                    <a:pt x="50" y="95"/>
                  </a:lnTo>
                  <a:lnTo>
                    <a:pt x="67" y="99"/>
                  </a:lnTo>
                  <a:lnTo>
                    <a:pt x="86" y="103"/>
                  </a:lnTo>
                  <a:lnTo>
                    <a:pt x="108" y="108"/>
                  </a:lnTo>
                  <a:lnTo>
                    <a:pt x="130" y="112"/>
                  </a:lnTo>
                  <a:lnTo>
                    <a:pt x="155" y="116"/>
                  </a:lnTo>
                  <a:lnTo>
                    <a:pt x="182" y="120"/>
                  </a:lnTo>
                  <a:lnTo>
                    <a:pt x="210" y="122"/>
                  </a:lnTo>
                  <a:lnTo>
                    <a:pt x="240" y="124"/>
                  </a:lnTo>
                  <a:lnTo>
                    <a:pt x="270" y="125"/>
                  </a:lnTo>
                  <a:lnTo>
                    <a:pt x="302" y="125"/>
                  </a:lnTo>
                  <a:lnTo>
                    <a:pt x="3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59"/>
            <p:cNvSpPr>
              <a:spLocks/>
            </p:cNvSpPr>
            <p:nvPr/>
          </p:nvSpPr>
          <p:spPr bwMode="auto">
            <a:xfrm>
              <a:off x="2598738" y="1454150"/>
              <a:ext cx="190500" cy="39688"/>
            </a:xfrm>
            <a:custGeom>
              <a:avLst/>
              <a:gdLst>
                <a:gd name="T0" fmla="*/ 302 w 602"/>
                <a:gd name="T1" fmla="*/ 124 h 124"/>
                <a:gd name="T2" fmla="*/ 333 w 602"/>
                <a:gd name="T3" fmla="*/ 124 h 124"/>
                <a:gd name="T4" fmla="*/ 364 w 602"/>
                <a:gd name="T5" fmla="*/ 123 h 124"/>
                <a:gd name="T6" fmla="*/ 393 w 602"/>
                <a:gd name="T7" fmla="*/ 121 h 124"/>
                <a:gd name="T8" fmla="*/ 421 w 602"/>
                <a:gd name="T9" fmla="*/ 119 h 124"/>
                <a:gd name="T10" fmla="*/ 448 w 602"/>
                <a:gd name="T11" fmla="*/ 115 h 124"/>
                <a:gd name="T12" fmla="*/ 472 w 602"/>
                <a:gd name="T13" fmla="*/ 111 h 124"/>
                <a:gd name="T14" fmla="*/ 495 w 602"/>
                <a:gd name="T15" fmla="*/ 108 h 124"/>
                <a:gd name="T16" fmla="*/ 516 w 602"/>
                <a:gd name="T17" fmla="*/ 104 h 124"/>
                <a:gd name="T18" fmla="*/ 536 w 602"/>
                <a:gd name="T19" fmla="*/ 98 h 124"/>
                <a:gd name="T20" fmla="*/ 553 w 602"/>
                <a:gd name="T21" fmla="*/ 94 h 124"/>
                <a:gd name="T22" fmla="*/ 567 w 602"/>
                <a:gd name="T23" fmla="*/ 89 h 124"/>
                <a:gd name="T24" fmla="*/ 580 w 602"/>
                <a:gd name="T25" fmla="*/ 83 h 124"/>
                <a:gd name="T26" fmla="*/ 589 w 602"/>
                <a:gd name="T27" fmla="*/ 79 h 124"/>
                <a:gd name="T28" fmla="*/ 597 w 602"/>
                <a:gd name="T29" fmla="*/ 74 h 124"/>
                <a:gd name="T30" fmla="*/ 599 w 602"/>
                <a:gd name="T31" fmla="*/ 71 h 124"/>
                <a:gd name="T32" fmla="*/ 601 w 602"/>
                <a:gd name="T33" fmla="*/ 69 h 124"/>
                <a:gd name="T34" fmla="*/ 602 w 602"/>
                <a:gd name="T35" fmla="*/ 66 h 124"/>
                <a:gd name="T36" fmla="*/ 602 w 602"/>
                <a:gd name="T37" fmla="*/ 64 h 124"/>
                <a:gd name="T38" fmla="*/ 602 w 602"/>
                <a:gd name="T39" fmla="*/ 0 h 124"/>
                <a:gd name="T40" fmla="*/ 589 w 602"/>
                <a:gd name="T41" fmla="*/ 7 h 124"/>
                <a:gd name="T42" fmla="*/ 573 w 602"/>
                <a:gd name="T43" fmla="*/ 14 h 124"/>
                <a:gd name="T44" fmla="*/ 556 w 602"/>
                <a:gd name="T45" fmla="*/ 19 h 124"/>
                <a:gd name="T46" fmla="*/ 537 w 602"/>
                <a:gd name="T47" fmla="*/ 24 h 124"/>
                <a:gd name="T48" fmla="*/ 517 w 602"/>
                <a:gd name="T49" fmla="*/ 29 h 124"/>
                <a:gd name="T50" fmla="*/ 497 w 602"/>
                <a:gd name="T51" fmla="*/ 33 h 124"/>
                <a:gd name="T52" fmla="*/ 476 w 602"/>
                <a:gd name="T53" fmla="*/ 36 h 124"/>
                <a:gd name="T54" fmla="*/ 454 w 602"/>
                <a:gd name="T55" fmla="*/ 39 h 124"/>
                <a:gd name="T56" fmla="*/ 410 w 602"/>
                <a:gd name="T57" fmla="*/ 44 h 124"/>
                <a:gd name="T58" fmla="*/ 369 w 602"/>
                <a:gd name="T59" fmla="*/ 47 h 124"/>
                <a:gd name="T60" fmla="*/ 332 w 602"/>
                <a:gd name="T61" fmla="*/ 49 h 124"/>
                <a:gd name="T62" fmla="*/ 302 w 602"/>
                <a:gd name="T63" fmla="*/ 49 h 124"/>
                <a:gd name="T64" fmla="*/ 271 w 602"/>
                <a:gd name="T65" fmla="*/ 49 h 124"/>
                <a:gd name="T66" fmla="*/ 233 w 602"/>
                <a:gd name="T67" fmla="*/ 47 h 124"/>
                <a:gd name="T68" fmla="*/ 192 w 602"/>
                <a:gd name="T69" fmla="*/ 44 h 124"/>
                <a:gd name="T70" fmla="*/ 148 w 602"/>
                <a:gd name="T71" fmla="*/ 39 h 124"/>
                <a:gd name="T72" fmla="*/ 127 w 602"/>
                <a:gd name="T73" fmla="*/ 36 h 124"/>
                <a:gd name="T74" fmla="*/ 106 w 602"/>
                <a:gd name="T75" fmla="*/ 33 h 124"/>
                <a:gd name="T76" fmla="*/ 85 w 602"/>
                <a:gd name="T77" fmla="*/ 29 h 124"/>
                <a:gd name="T78" fmla="*/ 66 w 602"/>
                <a:gd name="T79" fmla="*/ 24 h 124"/>
                <a:gd name="T80" fmla="*/ 47 w 602"/>
                <a:gd name="T81" fmla="*/ 19 h 124"/>
                <a:gd name="T82" fmla="*/ 29 w 602"/>
                <a:gd name="T83" fmla="*/ 14 h 124"/>
                <a:gd name="T84" fmla="*/ 14 w 602"/>
                <a:gd name="T85" fmla="*/ 7 h 124"/>
                <a:gd name="T86" fmla="*/ 0 w 602"/>
                <a:gd name="T87" fmla="*/ 0 h 124"/>
                <a:gd name="T88" fmla="*/ 0 w 602"/>
                <a:gd name="T89" fmla="*/ 64 h 124"/>
                <a:gd name="T90" fmla="*/ 0 w 602"/>
                <a:gd name="T91" fmla="*/ 66 h 124"/>
                <a:gd name="T92" fmla="*/ 2 w 602"/>
                <a:gd name="T93" fmla="*/ 69 h 124"/>
                <a:gd name="T94" fmla="*/ 4 w 602"/>
                <a:gd name="T95" fmla="*/ 71 h 124"/>
                <a:gd name="T96" fmla="*/ 6 w 602"/>
                <a:gd name="T97" fmla="*/ 74 h 124"/>
                <a:gd name="T98" fmla="*/ 13 w 602"/>
                <a:gd name="T99" fmla="*/ 79 h 124"/>
                <a:gd name="T100" fmla="*/ 23 w 602"/>
                <a:gd name="T101" fmla="*/ 83 h 124"/>
                <a:gd name="T102" fmla="*/ 36 w 602"/>
                <a:gd name="T103" fmla="*/ 89 h 124"/>
                <a:gd name="T104" fmla="*/ 50 w 602"/>
                <a:gd name="T105" fmla="*/ 94 h 124"/>
                <a:gd name="T106" fmla="*/ 67 w 602"/>
                <a:gd name="T107" fmla="*/ 98 h 124"/>
                <a:gd name="T108" fmla="*/ 86 w 602"/>
                <a:gd name="T109" fmla="*/ 104 h 124"/>
                <a:gd name="T110" fmla="*/ 108 w 602"/>
                <a:gd name="T111" fmla="*/ 108 h 124"/>
                <a:gd name="T112" fmla="*/ 130 w 602"/>
                <a:gd name="T113" fmla="*/ 111 h 124"/>
                <a:gd name="T114" fmla="*/ 155 w 602"/>
                <a:gd name="T115" fmla="*/ 115 h 124"/>
                <a:gd name="T116" fmla="*/ 182 w 602"/>
                <a:gd name="T117" fmla="*/ 119 h 124"/>
                <a:gd name="T118" fmla="*/ 210 w 602"/>
                <a:gd name="T119" fmla="*/ 121 h 124"/>
                <a:gd name="T120" fmla="*/ 240 w 602"/>
                <a:gd name="T121" fmla="*/ 123 h 124"/>
                <a:gd name="T122" fmla="*/ 270 w 602"/>
                <a:gd name="T123" fmla="*/ 124 h 124"/>
                <a:gd name="T124" fmla="*/ 302 w 602"/>
                <a:gd name="T12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 h="124">
                  <a:moveTo>
                    <a:pt x="302" y="124"/>
                  </a:moveTo>
                  <a:lnTo>
                    <a:pt x="333" y="124"/>
                  </a:lnTo>
                  <a:lnTo>
                    <a:pt x="364" y="123"/>
                  </a:lnTo>
                  <a:lnTo>
                    <a:pt x="393" y="121"/>
                  </a:lnTo>
                  <a:lnTo>
                    <a:pt x="421" y="119"/>
                  </a:lnTo>
                  <a:lnTo>
                    <a:pt x="448" y="115"/>
                  </a:lnTo>
                  <a:lnTo>
                    <a:pt x="472" y="111"/>
                  </a:lnTo>
                  <a:lnTo>
                    <a:pt x="495" y="108"/>
                  </a:lnTo>
                  <a:lnTo>
                    <a:pt x="516" y="104"/>
                  </a:lnTo>
                  <a:lnTo>
                    <a:pt x="536" y="98"/>
                  </a:lnTo>
                  <a:lnTo>
                    <a:pt x="553" y="94"/>
                  </a:lnTo>
                  <a:lnTo>
                    <a:pt x="567" y="89"/>
                  </a:lnTo>
                  <a:lnTo>
                    <a:pt x="580" y="83"/>
                  </a:lnTo>
                  <a:lnTo>
                    <a:pt x="589" y="79"/>
                  </a:lnTo>
                  <a:lnTo>
                    <a:pt x="597" y="74"/>
                  </a:lnTo>
                  <a:lnTo>
                    <a:pt x="599" y="71"/>
                  </a:lnTo>
                  <a:lnTo>
                    <a:pt x="601" y="69"/>
                  </a:lnTo>
                  <a:lnTo>
                    <a:pt x="602" y="66"/>
                  </a:lnTo>
                  <a:lnTo>
                    <a:pt x="602" y="64"/>
                  </a:lnTo>
                  <a:lnTo>
                    <a:pt x="602" y="0"/>
                  </a:lnTo>
                  <a:lnTo>
                    <a:pt x="589" y="7"/>
                  </a:lnTo>
                  <a:lnTo>
                    <a:pt x="573" y="14"/>
                  </a:lnTo>
                  <a:lnTo>
                    <a:pt x="556" y="19"/>
                  </a:lnTo>
                  <a:lnTo>
                    <a:pt x="537" y="24"/>
                  </a:lnTo>
                  <a:lnTo>
                    <a:pt x="517" y="29"/>
                  </a:lnTo>
                  <a:lnTo>
                    <a:pt x="497" y="33"/>
                  </a:lnTo>
                  <a:lnTo>
                    <a:pt x="476" y="36"/>
                  </a:lnTo>
                  <a:lnTo>
                    <a:pt x="454" y="39"/>
                  </a:lnTo>
                  <a:lnTo>
                    <a:pt x="410" y="44"/>
                  </a:lnTo>
                  <a:lnTo>
                    <a:pt x="369" y="47"/>
                  </a:lnTo>
                  <a:lnTo>
                    <a:pt x="332" y="49"/>
                  </a:lnTo>
                  <a:lnTo>
                    <a:pt x="302" y="49"/>
                  </a:lnTo>
                  <a:lnTo>
                    <a:pt x="271" y="49"/>
                  </a:lnTo>
                  <a:lnTo>
                    <a:pt x="233" y="47"/>
                  </a:lnTo>
                  <a:lnTo>
                    <a:pt x="192" y="44"/>
                  </a:lnTo>
                  <a:lnTo>
                    <a:pt x="148" y="39"/>
                  </a:lnTo>
                  <a:lnTo>
                    <a:pt x="127" y="36"/>
                  </a:lnTo>
                  <a:lnTo>
                    <a:pt x="106" y="33"/>
                  </a:lnTo>
                  <a:lnTo>
                    <a:pt x="85" y="29"/>
                  </a:lnTo>
                  <a:lnTo>
                    <a:pt x="66" y="24"/>
                  </a:lnTo>
                  <a:lnTo>
                    <a:pt x="47" y="19"/>
                  </a:lnTo>
                  <a:lnTo>
                    <a:pt x="29" y="14"/>
                  </a:lnTo>
                  <a:lnTo>
                    <a:pt x="14" y="7"/>
                  </a:lnTo>
                  <a:lnTo>
                    <a:pt x="0" y="0"/>
                  </a:lnTo>
                  <a:lnTo>
                    <a:pt x="0" y="64"/>
                  </a:lnTo>
                  <a:lnTo>
                    <a:pt x="0" y="66"/>
                  </a:lnTo>
                  <a:lnTo>
                    <a:pt x="2" y="69"/>
                  </a:lnTo>
                  <a:lnTo>
                    <a:pt x="4" y="71"/>
                  </a:lnTo>
                  <a:lnTo>
                    <a:pt x="6" y="74"/>
                  </a:lnTo>
                  <a:lnTo>
                    <a:pt x="13" y="79"/>
                  </a:lnTo>
                  <a:lnTo>
                    <a:pt x="23" y="83"/>
                  </a:lnTo>
                  <a:lnTo>
                    <a:pt x="36" y="89"/>
                  </a:lnTo>
                  <a:lnTo>
                    <a:pt x="50" y="94"/>
                  </a:lnTo>
                  <a:lnTo>
                    <a:pt x="67" y="98"/>
                  </a:lnTo>
                  <a:lnTo>
                    <a:pt x="86" y="104"/>
                  </a:lnTo>
                  <a:lnTo>
                    <a:pt x="108" y="108"/>
                  </a:lnTo>
                  <a:lnTo>
                    <a:pt x="130" y="111"/>
                  </a:lnTo>
                  <a:lnTo>
                    <a:pt x="155" y="115"/>
                  </a:lnTo>
                  <a:lnTo>
                    <a:pt x="182" y="119"/>
                  </a:lnTo>
                  <a:lnTo>
                    <a:pt x="210" y="121"/>
                  </a:lnTo>
                  <a:lnTo>
                    <a:pt x="240" y="123"/>
                  </a:lnTo>
                  <a:lnTo>
                    <a:pt x="270" y="124"/>
                  </a:lnTo>
                  <a:lnTo>
                    <a:pt x="302"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60"/>
            <p:cNvSpPr>
              <a:spLocks/>
            </p:cNvSpPr>
            <p:nvPr/>
          </p:nvSpPr>
          <p:spPr bwMode="auto">
            <a:xfrm>
              <a:off x="2598738" y="1385888"/>
              <a:ext cx="190500" cy="41275"/>
            </a:xfrm>
            <a:custGeom>
              <a:avLst/>
              <a:gdLst>
                <a:gd name="T0" fmla="*/ 333 w 602"/>
                <a:gd name="T1" fmla="*/ 126 h 127"/>
                <a:gd name="T2" fmla="*/ 393 w 602"/>
                <a:gd name="T3" fmla="*/ 124 h 127"/>
                <a:gd name="T4" fmla="*/ 448 w 602"/>
                <a:gd name="T5" fmla="*/ 117 h 127"/>
                <a:gd name="T6" fmla="*/ 495 w 602"/>
                <a:gd name="T7" fmla="*/ 110 h 127"/>
                <a:gd name="T8" fmla="*/ 536 w 602"/>
                <a:gd name="T9" fmla="*/ 101 h 127"/>
                <a:gd name="T10" fmla="*/ 567 w 602"/>
                <a:gd name="T11" fmla="*/ 91 h 127"/>
                <a:gd name="T12" fmla="*/ 589 w 602"/>
                <a:gd name="T13" fmla="*/ 81 h 127"/>
                <a:gd name="T14" fmla="*/ 599 w 602"/>
                <a:gd name="T15" fmla="*/ 73 h 127"/>
                <a:gd name="T16" fmla="*/ 602 w 602"/>
                <a:gd name="T17" fmla="*/ 69 h 127"/>
                <a:gd name="T18" fmla="*/ 602 w 602"/>
                <a:gd name="T19" fmla="*/ 0 h 127"/>
                <a:gd name="T20" fmla="*/ 576 w 602"/>
                <a:gd name="T21" fmla="*/ 13 h 127"/>
                <a:gd name="T22" fmla="*/ 543 w 602"/>
                <a:gd name="T23" fmla="*/ 24 h 127"/>
                <a:gd name="T24" fmla="*/ 506 w 602"/>
                <a:gd name="T25" fmla="*/ 32 h 127"/>
                <a:gd name="T26" fmla="*/ 466 w 602"/>
                <a:gd name="T27" fmla="*/ 40 h 127"/>
                <a:gd name="T28" fmla="*/ 381 w 602"/>
                <a:gd name="T29" fmla="*/ 48 h 127"/>
                <a:gd name="T30" fmla="*/ 302 w 602"/>
                <a:gd name="T31" fmla="*/ 52 h 127"/>
                <a:gd name="T32" fmla="*/ 221 w 602"/>
                <a:gd name="T33" fmla="*/ 48 h 127"/>
                <a:gd name="T34" fmla="*/ 137 w 602"/>
                <a:gd name="T35" fmla="*/ 40 h 127"/>
                <a:gd name="T36" fmla="*/ 97 w 602"/>
                <a:gd name="T37" fmla="*/ 32 h 127"/>
                <a:gd name="T38" fmla="*/ 59 w 602"/>
                <a:gd name="T39" fmla="*/ 24 h 127"/>
                <a:gd name="T40" fmla="*/ 27 w 602"/>
                <a:gd name="T41" fmla="*/ 13 h 127"/>
                <a:gd name="T42" fmla="*/ 0 w 602"/>
                <a:gd name="T43" fmla="*/ 1 h 127"/>
                <a:gd name="T44" fmla="*/ 0 w 602"/>
                <a:gd name="T45" fmla="*/ 69 h 127"/>
                <a:gd name="T46" fmla="*/ 4 w 602"/>
                <a:gd name="T47" fmla="*/ 73 h 127"/>
                <a:gd name="T48" fmla="*/ 13 w 602"/>
                <a:gd name="T49" fmla="*/ 81 h 127"/>
                <a:gd name="T50" fmla="*/ 36 w 602"/>
                <a:gd name="T51" fmla="*/ 91 h 127"/>
                <a:gd name="T52" fmla="*/ 67 w 602"/>
                <a:gd name="T53" fmla="*/ 101 h 127"/>
                <a:gd name="T54" fmla="*/ 108 w 602"/>
                <a:gd name="T55" fmla="*/ 110 h 127"/>
                <a:gd name="T56" fmla="*/ 155 w 602"/>
                <a:gd name="T57" fmla="*/ 117 h 127"/>
                <a:gd name="T58" fmla="*/ 210 w 602"/>
                <a:gd name="T59" fmla="*/ 124 h 127"/>
                <a:gd name="T60" fmla="*/ 270 w 602"/>
                <a:gd name="T61" fmla="*/ 127 h 127"/>
                <a:gd name="T62" fmla="*/ 302 w 602"/>
                <a:gd name="T63"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2" h="127">
                  <a:moveTo>
                    <a:pt x="302" y="127"/>
                  </a:moveTo>
                  <a:lnTo>
                    <a:pt x="333" y="126"/>
                  </a:lnTo>
                  <a:lnTo>
                    <a:pt x="364" y="125"/>
                  </a:lnTo>
                  <a:lnTo>
                    <a:pt x="393" y="124"/>
                  </a:lnTo>
                  <a:lnTo>
                    <a:pt x="421" y="120"/>
                  </a:lnTo>
                  <a:lnTo>
                    <a:pt x="448" y="117"/>
                  </a:lnTo>
                  <a:lnTo>
                    <a:pt x="472" y="114"/>
                  </a:lnTo>
                  <a:lnTo>
                    <a:pt x="495" y="110"/>
                  </a:lnTo>
                  <a:lnTo>
                    <a:pt x="516" y="105"/>
                  </a:lnTo>
                  <a:lnTo>
                    <a:pt x="536" y="101"/>
                  </a:lnTo>
                  <a:lnTo>
                    <a:pt x="553" y="96"/>
                  </a:lnTo>
                  <a:lnTo>
                    <a:pt x="567" y="91"/>
                  </a:lnTo>
                  <a:lnTo>
                    <a:pt x="580" y="86"/>
                  </a:lnTo>
                  <a:lnTo>
                    <a:pt x="589" y="81"/>
                  </a:lnTo>
                  <a:lnTo>
                    <a:pt x="597" y="76"/>
                  </a:lnTo>
                  <a:lnTo>
                    <a:pt x="599" y="73"/>
                  </a:lnTo>
                  <a:lnTo>
                    <a:pt x="601" y="71"/>
                  </a:lnTo>
                  <a:lnTo>
                    <a:pt x="602" y="69"/>
                  </a:lnTo>
                  <a:lnTo>
                    <a:pt x="602" y="67"/>
                  </a:lnTo>
                  <a:lnTo>
                    <a:pt x="602" y="0"/>
                  </a:lnTo>
                  <a:lnTo>
                    <a:pt x="590" y="8"/>
                  </a:lnTo>
                  <a:lnTo>
                    <a:pt x="576" y="13"/>
                  </a:lnTo>
                  <a:lnTo>
                    <a:pt x="560" y="18"/>
                  </a:lnTo>
                  <a:lnTo>
                    <a:pt x="543" y="24"/>
                  </a:lnTo>
                  <a:lnTo>
                    <a:pt x="525" y="28"/>
                  </a:lnTo>
                  <a:lnTo>
                    <a:pt x="506" y="32"/>
                  </a:lnTo>
                  <a:lnTo>
                    <a:pt x="486" y="37"/>
                  </a:lnTo>
                  <a:lnTo>
                    <a:pt x="466" y="40"/>
                  </a:lnTo>
                  <a:lnTo>
                    <a:pt x="423" y="45"/>
                  </a:lnTo>
                  <a:lnTo>
                    <a:pt x="381" y="48"/>
                  </a:lnTo>
                  <a:lnTo>
                    <a:pt x="340" y="51"/>
                  </a:lnTo>
                  <a:lnTo>
                    <a:pt x="302" y="52"/>
                  </a:lnTo>
                  <a:lnTo>
                    <a:pt x="263" y="51"/>
                  </a:lnTo>
                  <a:lnTo>
                    <a:pt x="221" y="48"/>
                  </a:lnTo>
                  <a:lnTo>
                    <a:pt x="180" y="45"/>
                  </a:lnTo>
                  <a:lnTo>
                    <a:pt x="137" y="40"/>
                  </a:lnTo>
                  <a:lnTo>
                    <a:pt x="116" y="37"/>
                  </a:lnTo>
                  <a:lnTo>
                    <a:pt x="97" y="32"/>
                  </a:lnTo>
                  <a:lnTo>
                    <a:pt x="78" y="28"/>
                  </a:lnTo>
                  <a:lnTo>
                    <a:pt x="59" y="24"/>
                  </a:lnTo>
                  <a:lnTo>
                    <a:pt x="42" y="18"/>
                  </a:lnTo>
                  <a:lnTo>
                    <a:pt x="27" y="13"/>
                  </a:lnTo>
                  <a:lnTo>
                    <a:pt x="12" y="8"/>
                  </a:lnTo>
                  <a:lnTo>
                    <a:pt x="0" y="1"/>
                  </a:lnTo>
                  <a:lnTo>
                    <a:pt x="0" y="67"/>
                  </a:lnTo>
                  <a:lnTo>
                    <a:pt x="0" y="69"/>
                  </a:lnTo>
                  <a:lnTo>
                    <a:pt x="2" y="71"/>
                  </a:lnTo>
                  <a:lnTo>
                    <a:pt x="4" y="73"/>
                  </a:lnTo>
                  <a:lnTo>
                    <a:pt x="6" y="75"/>
                  </a:lnTo>
                  <a:lnTo>
                    <a:pt x="13" y="81"/>
                  </a:lnTo>
                  <a:lnTo>
                    <a:pt x="23" y="86"/>
                  </a:lnTo>
                  <a:lnTo>
                    <a:pt x="36" y="91"/>
                  </a:lnTo>
                  <a:lnTo>
                    <a:pt x="50" y="96"/>
                  </a:lnTo>
                  <a:lnTo>
                    <a:pt x="67" y="101"/>
                  </a:lnTo>
                  <a:lnTo>
                    <a:pt x="86" y="105"/>
                  </a:lnTo>
                  <a:lnTo>
                    <a:pt x="108" y="110"/>
                  </a:lnTo>
                  <a:lnTo>
                    <a:pt x="130" y="114"/>
                  </a:lnTo>
                  <a:lnTo>
                    <a:pt x="155" y="117"/>
                  </a:lnTo>
                  <a:lnTo>
                    <a:pt x="182" y="120"/>
                  </a:lnTo>
                  <a:lnTo>
                    <a:pt x="210" y="124"/>
                  </a:lnTo>
                  <a:lnTo>
                    <a:pt x="240" y="125"/>
                  </a:lnTo>
                  <a:lnTo>
                    <a:pt x="270" y="127"/>
                  </a:lnTo>
                  <a:lnTo>
                    <a:pt x="302" y="127"/>
                  </a:lnTo>
                  <a:lnTo>
                    <a:pt x="30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61"/>
            <p:cNvSpPr>
              <a:spLocks/>
            </p:cNvSpPr>
            <p:nvPr/>
          </p:nvSpPr>
          <p:spPr bwMode="auto">
            <a:xfrm>
              <a:off x="2598738" y="1487488"/>
              <a:ext cx="190500" cy="39688"/>
            </a:xfrm>
            <a:custGeom>
              <a:avLst/>
              <a:gdLst>
                <a:gd name="T0" fmla="*/ 602 w 602"/>
                <a:gd name="T1" fmla="*/ 0 h 125"/>
                <a:gd name="T2" fmla="*/ 573 w 602"/>
                <a:gd name="T3" fmla="*/ 14 h 125"/>
                <a:gd name="T4" fmla="*/ 537 w 602"/>
                <a:gd name="T5" fmla="*/ 24 h 125"/>
                <a:gd name="T6" fmla="*/ 497 w 602"/>
                <a:gd name="T7" fmla="*/ 33 h 125"/>
                <a:gd name="T8" fmla="*/ 454 w 602"/>
                <a:gd name="T9" fmla="*/ 39 h 125"/>
                <a:gd name="T10" fmla="*/ 369 w 602"/>
                <a:gd name="T11" fmla="*/ 47 h 125"/>
                <a:gd name="T12" fmla="*/ 302 w 602"/>
                <a:gd name="T13" fmla="*/ 49 h 125"/>
                <a:gd name="T14" fmla="*/ 233 w 602"/>
                <a:gd name="T15" fmla="*/ 47 h 125"/>
                <a:gd name="T16" fmla="*/ 148 w 602"/>
                <a:gd name="T17" fmla="*/ 39 h 125"/>
                <a:gd name="T18" fmla="*/ 106 w 602"/>
                <a:gd name="T19" fmla="*/ 33 h 125"/>
                <a:gd name="T20" fmla="*/ 66 w 602"/>
                <a:gd name="T21" fmla="*/ 24 h 125"/>
                <a:gd name="T22" fmla="*/ 29 w 602"/>
                <a:gd name="T23" fmla="*/ 14 h 125"/>
                <a:gd name="T24" fmla="*/ 0 w 602"/>
                <a:gd name="T25" fmla="*/ 0 h 125"/>
                <a:gd name="T26" fmla="*/ 2 w 602"/>
                <a:gd name="T27" fmla="*/ 69 h 125"/>
                <a:gd name="T28" fmla="*/ 11 w 602"/>
                <a:gd name="T29" fmla="*/ 79 h 125"/>
                <a:gd name="T30" fmla="*/ 32 w 602"/>
                <a:gd name="T31" fmla="*/ 89 h 125"/>
                <a:gd name="T32" fmla="*/ 59 w 602"/>
                <a:gd name="T33" fmla="*/ 98 h 125"/>
                <a:gd name="T34" fmla="*/ 96 w 602"/>
                <a:gd name="T35" fmla="*/ 107 h 125"/>
                <a:gd name="T36" fmla="*/ 140 w 602"/>
                <a:gd name="T37" fmla="*/ 116 h 125"/>
                <a:gd name="T38" fmla="*/ 190 w 602"/>
                <a:gd name="T39" fmla="*/ 121 h 125"/>
                <a:gd name="T40" fmla="*/ 248 w 602"/>
                <a:gd name="T41" fmla="*/ 124 h 125"/>
                <a:gd name="T42" fmla="*/ 283 w 602"/>
                <a:gd name="T43" fmla="*/ 119 h 125"/>
                <a:gd name="T44" fmla="*/ 292 w 602"/>
                <a:gd name="T45" fmla="*/ 106 h 125"/>
                <a:gd name="T46" fmla="*/ 305 w 602"/>
                <a:gd name="T47" fmla="*/ 94 h 125"/>
                <a:gd name="T48" fmla="*/ 320 w 602"/>
                <a:gd name="T49" fmla="*/ 84 h 125"/>
                <a:gd name="T50" fmla="*/ 350 w 602"/>
                <a:gd name="T51" fmla="*/ 70 h 125"/>
                <a:gd name="T52" fmla="*/ 400 w 602"/>
                <a:gd name="T53" fmla="*/ 55 h 125"/>
                <a:gd name="T54" fmla="*/ 458 w 602"/>
                <a:gd name="T55" fmla="*/ 45 h 125"/>
                <a:gd name="T56" fmla="*/ 514 w 602"/>
                <a:gd name="T57" fmla="*/ 38 h 125"/>
                <a:gd name="T58" fmla="*/ 561 w 602"/>
                <a:gd name="T59" fmla="*/ 35 h 125"/>
                <a:gd name="T60" fmla="*/ 594 w 602"/>
                <a:gd name="T61" fmla="*/ 35 h 125"/>
                <a:gd name="T62" fmla="*/ 602 w 602"/>
                <a:gd name="T63" fmla="*/ 3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2" h="125">
                  <a:moveTo>
                    <a:pt x="602" y="34"/>
                  </a:moveTo>
                  <a:lnTo>
                    <a:pt x="602" y="0"/>
                  </a:lnTo>
                  <a:lnTo>
                    <a:pt x="589" y="7"/>
                  </a:lnTo>
                  <a:lnTo>
                    <a:pt x="573" y="14"/>
                  </a:lnTo>
                  <a:lnTo>
                    <a:pt x="556" y="19"/>
                  </a:lnTo>
                  <a:lnTo>
                    <a:pt x="537" y="24"/>
                  </a:lnTo>
                  <a:lnTo>
                    <a:pt x="517" y="29"/>
                  </a:lnTo>
                  <a:lnTo>
                    <a:pt x="497" y="33"/>
                  </a:lnTo>
                  <a:lnTo>
                    <a:pt x="476" y="36"/>
                  </a:lnTo>
                  <a:lnTo>
                    <a:pt x="454" y="39"/>
                  </a:lnTo>
                  <a:lnTo>
                    <a:pt x="410" y="45"/>
                  </a:lnTo>
                  <a:lnTo>
                    <a:pt x="369" y="47"/>
                  </a:lnTo>
                  <a:lnTo>
                    <a:pt x="332" y="49"/>
                  </a:lnTo>
                  <a:lnTo>
                    <a:pt x="302" y="49"/>
                  </a:lnTo>
                  <a:lnTo>
                    <a:pt x="271" y="49"/>
                  </a:lnTo>
                  <a:lnTo>
                    <a:pt x="233" y="47"/>
                  </a:lnTo>
                  <a:lnTo>
                    <a:pt x="192" y="45"/>
                  </a:lnTo>
                  <a:lnTo>
                    <a:pt x="148" y="39"/>
                  </a:lnTo>
                  <a:lnTo>
                    <a:pt x="127" y="36"/>
                  </a:lnTo>
                  <a:lnTo>
                    <a:pt x="106" y="33"/>
                  </a:lnTo>
                  <a:lnTo>
                    <a:pt x="85" y="29"/>
                  </a:lnTo>
                  <a:lnTo>
                    <a:pt x="66" y="24"/>
                  </a:lnTo>
                  <a:lnTo>
                    <a:pt x="47" y="19"/>
                  </a:lnTo>
                  <a:lnTo>
                    <a:pt x="29" y="14"/>
                  </a:lnTo>
                  <a:lnTo>
                    <a:pt x="14" y="7"/>
                  </a:lnTo>
                  <a:lnTo>
                    <a:pt x="0" y="0"/>
                  </a:lnTo>
                  <a:lnTo>
                    <a:pt x="0" y="64"/>
                  </a:lnTo>
                  <a:lnTo>
                    <a:pt x="2" y="69"/>
                  </a:lnTo>
                  <a:lnTo>
                    <a:pt x="6" y="74"/>
                  </a:lnTo>
                  <a:lnTo>
                    <a:pt x="11" y="79"/>
                  </a:lnTo>
                  <a:lnTo>
                    <a:pt x="20" y="83"/>
                  </a:lnTo>
                  <a:lnTo>
                    <a:pt x="32" y="89"/>
                  </a:lnTo>
                  <a:lnTo>
                    <a:pt x="44" y="94"/>
                  </a:lnTo>
                  <a:lnTo>
                    <a:pt x="59" y="98"/>
                  </a:lnTo>
                  <a:lnTo>
                    <a:pt x="77" y="103"/>
                  </a:lnTo>
                  <a:lnTo>
                    <a:pt x="96" y="107"/>
                  </a:lnTo>
                  <a:lnTo>
                    <a:pt x="117" y="111"/>
                  </a:lnTo>
                  <a:lnTo>
                    <a:pt x="140" y="116"/>
                  </a:lnTo>
                  <a:lnTo>
                    <a:pt x="165" y="118"/>
                  </a:lnTo>
                  <a:lnTo>
                    <a:pt x="190" y="121"/>
                  </a:lnTo>
                  <a:lnTo>
                    <a:pt x="218" y="123"/>
                  </a:lnTo>
                  <a:lnTo>
                    <a:pt x="248" y="124"/>
                  </a:lnTo>
                  <a:lnTo>
                    <a:pt x="278" y="125"/>
                  </a:lnTo>
                  <a:lnTo>
                    <a:pt x="283" y="119"/>
                  </a:lnTo>
                  <a:lnTo>
                    <a:pt x="287" y="112"/>
                  </a:lnTo>
                  <a:lnTo>
                    <a:pt x="292" y="106"/>
                  </a:lnTo>
                  <a:lnTo>
                    <a:pt x="298" y="101"/>
                  </a:lnTo>
                  <a:lnTo>
                    <a:pt x="305" y="94"/>
                  </a:lnTo>
                  <a:lnTo>
                    <a:pt x="313" y="89"/>
                  </a:lnTo>
                  <a:lnTo>
                    <a:pt x="320" y="84"/>
                  </a:lnTo>
                  <a:lnTo>
                    <a:pt x="330" y="79"/>
                  </a:lnTo>
                  <a:lnTo>
                    <a:pt x="350" y="70"/>
                  </a:lnTo>
                  <a:lnTo>
                    <a:pt x="374" y="62"/>
                  </a:lnTo>
                  <a:lnTo>
                    <a:pt x="400" y="55"/>
                  </a:lnTo>
                  <a:lnTo>
                    <a:pt x="429" y="49"/>
                  </a:lnTo>
                  <a:lnTo>
                    <a:pt x="458" y="45"/>
                  </a:lnTo>
                  <a:lnTo>
                    <a:pt x="486" y="40"/>
                  </a:lnTo>
                  <a:lnTo>
                    <a:pt x="514" y="38"/>
                  </a:lnTo>
                  <a:lnTo>
                    <a:pt x="539" y="36"/>
                  </a:lnTo>
                  <a:lnTo>
                    <a:pt x="561" y="35"/>
                  </a:lnTo>
                  <a:lnTo>
                    <a:pt x="580" y="35"/>
                  </a:lnTo>
                  <a:lnTo>
                    <a:pt x="594" y="35"/>
                  </a:lnTo>
                  <a:lnTo>
                    <a:pt x="602" y="34"/>
                  </a:lnTo>
                  <a:lnTo>
                    <a:pt x="60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62"/>
            <p:cNvSpPr>
              <a:spLocks/>
            </p:cNvSpPr>
            <p:nvPr/>
          </p:nvSpPr>
          <p:spPr bwMode="auto">
            <a:xfrm>
              <a:off x="2598738" y="1520825"/>
              <a:ext cx="85725" cy="49213"/>
            </a:xfrm>
            <a:custGeom>
              <a:avLst/>
              <a:gdLst>
                <a:gd name="T0" fmla="*/ 0 w 271"/>
                <a:gd name="T1" fmla="*/ 63 h 153"/>
                <a:gd name="T2" fmla="*/ 0 w 271"/>
                <a:gd name="T3" fmla="*/ 69 h 153"/>
                <a:gd name="T4" fmla="*/ 3 w 271"/>
                <a:gd name="T5" fmla="*/ 75 h 153"/>
                <a:gd name="T6" fmla="*/ 5 w 271"/>
                <a:gd name="T7" fmla="*/ 80 h 153"/>
                <a:gd name="T8" fmla="*/ 7 w 271"/>
                <a:gd name="T9" fmla="*/ 86 h 153"/>
                <a:gd name="T10" fmla="*/ 11 w 271"/>
                <a:gd name="T11" fmla="*/ 90 h 153"/>
                <a:gd name="T12" fmla="*/ 15 w 271"/>
                <a:gd name="T13" fmla="*/ 95 h 153"/>
                <a:gd name="T14" fmla="*/ 21 w 271"/>
                <a:gd name="T15" fmla="*/ 100 h 153"/>
                <a:gd name="T16" fmla="*/ 27 w 271"/>
                <a:gd name="T17" fmla="*/ 104 h 153"/>
                <a:gd name="T18" fmla="*/ 40 w 271"/>
                <a:gd name="T19" fmla="*/ 113 h 153"/>
                <a:gd name="T20" fmla="*/ 56 w 271"/>
                <a:gd name="T21" fmla="*/ 119 h 153"/>
                <a:gd name="T22" fmla="*/ 74 w 271"/>
                <a:gd name="T23" fmla="*/ 125 h 153"/>
                <a:gd name="T24" fmla="*/ 94 w 271"/>
                <a:gd name="T25" fmla="*/ 131 h 153"/>
                <a:gd name="T26" fmla="*/ 114 w 271"/>
                <a:gd name="T27" fmla="*/ 136 h 153"/>
                <a:gd name="T28" fmla="*/ 136 w 271"/>
                <a:gd name="T29" fmla="*/ 140 h 153"/>
                <a:gd name="T30" fmla="*/ 158 w 271"/>
                <a:gd name="T31" fmla="*/ 144 h 153"/>
                <a:gd name="T32" fmla="*/ 182 w 271"/>
                <a:gd name="T33" fmla="*/ 147 h 153"/>
                <a:gd name="T34" fmla="*/ 227 w 271"/>
                <a:gd name="T35" fmla="*/ 151 h 153"/>
                <a:gd name="T36" fmla="*/ 271 w 271"/>
                <a:gd name="T37" fmla="*/ 153 h 153"/>
                <a:gd name="T38" fmla="*/ 271 w 271"/>
                <a:gd name="T39" fmla="*/ 48 h 153"/>
                <a:gd name="T40" fmla="*/ 271 w 271"/>
                <a:gd name="T41" fmla="*/ 48 h 153"/>
                <a:gd name="T42" fmla="*/ 271 w 271"/>
                <a:gd name="T43" fmla="*/ 48 h 153"/>
                <a:gd name="T44" fmla="*/ 237 w 271"/>
                <a:gd name="T45" fmla="*/ 47 h 153"/>
                <a:gd name="T46" fmla="*/ 201 w 271"/>
                <a:gd name="T47" fmla="*/ 45 h 153"/>
                <a:gd name="T48" fmla="*/ 163 w 271"/>
                <a:gd name="T49" fmla="*/ 42 h 153"/>
                <a:gd name="T50" fmla="*/ 126 w 271"/>
                <a:gd name="T51" fmla="*/ 36 h 153"/>
                <a:gd name="T52" fmla="*/ 107 w 271"/>
                <a:gd name="T53" fmla="*/ 33 h 153"/>
                <a:gd name="T54" fmla="*/ 89 w 271"/>
                <a:gd name="T55" fmla="*/ 30 h 153"/>
                <a:gd name="T56" fmla="*/ 71 w 271"/>
                <a:gd name="T57" fmla="*/ 26 h 153"/>
                <a:gd name="T58" fmla="*/ 55 w 271"/>
                <a:gd name="T59" fmla="*/ 21 h 153"/>
                <a:gd name="T60" fmla="*/ 39 w 271"/>
                <a:gd name="T61" fmla="*/ 17 h 153"/>
                <a:gd name="T62" fmla="*/ 25 w 271"/>
                <a:gd name="T63" fmla="*/ 12 h 153"/>
                <a:gd name="T64" fmla="*/ 12 w 271"/>
                <a:gd name="T65" fmla="*/ 5 h 153"/>
                <a:gd name="T66" fmla="*/ 0 w 271"/>
                <a:gd name="T67" fmla="*/ 0 h 153"/>
                <a:gd name="T68" fmla="*/ 0 w 271"/>
                <a:gd name="T69" fmla="*/ 6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1" h="153">
                  <a:moveTo>
                    <a:pt x="0" y="63"/>
                  </a:moveTo>
                  <a:lnTo>
                    <a:pt x="0" y="69"/>
                  </a:lnTo>
                  <a:lnTo>
                    <a:pt x="3" y="75"/>
                  </a:lnTo>
                  <a:lnTo>
                    <a:pt x="5" y="80"/>
                  </a:lnTo>
                  <a:lnTo>
                    <a:pt x="7" y="86"/>
                  </a:lnTo>
                  <a:lnTo>
                    <a:pt x="11" y="90"/>
                  </a:lnTo>
                  <a:lnTo>
                    <a:pt x="15" y="95"/>
                  </a:lnTo>
                  <a:lnTo>
                    <a:pt x="21" y="100"/>
                  </a:lnTo>
                  <a:lnTo>
                    <a:pt x="27" y="104"/>
                  </a:lnTo>
                  <a:lnTo>
                    <a:pt x="40" y="113"/>
                  </a:lnTo>
                  <a:lnTo>
                    <a:pt x="56" y="119"/>
                  </a:lnTo>
                  <a:lnTo>
                    <a:pt x="74" y="125"/>
                  </a:lnTo>
                  <a:lnTo>
                    <a:pt x="94" y="131"/>
                  </a:lnTo>
                  <a:lnTo>
                    <a:pt x="114" y="136"/>
                  </a:lnTo>
                  <a:lnTo>
                    <a:pt x="136" y="140"/>
                  </a:lnTo>
                  <a:lnTo>
                    <a:pt x="158" y="144"/>
                  </a:lnTo>
                  <a:lnTo>
                    <a:pt x="182" y="147"/>
                  </a:lnTo>
                  <a:lnTo>
                    <a:pt x="227" y="151"/>
                  </a:lnTo>
                  <a:lnTo>
                    <a:pt x="271" y="153"/>
                  </a:lnTo>
                  <a:lnTo>
                    <a:pt x="271" y="48"/>
                  </a:lnTo>
                  <a:lnTo>
                    <a:pt x="271" y="48"/>
                  </a:lnTo>
                  <a:lnTo>
                    <a:pt x="271" y="48"/>
                  </a:lnTo>
                  <a:lnTo>
                    <a:pt x="237" y="47"/>
                  </a:lnTo>
                  <a:lnTo>
                    <a:pt x="201" y="45"/>
                  </a:lnTo>
                  <a:lnTo>
                    <a:pt x="163" y="42"/>
                  </a:lnTo>
                  <a:lnTo>
                    <a:pt x="126" y="36"/>
                  </a:lnTo>
                  <a:lnTo>
                    <a:pt x="107" y="33"/>
                  </a:lnTo>
                  <a:lnTo>
                    <a:pt x="89" y="30"/>
                  </a:lnTo>
                  <a:lnTo>
                    <a:pt x="71" y="26"/>
                  </a:lnTo>
                  <a:lnTo>
                    <a:pt x="55" y="21"/>
                  </a:lnTo>
                  <a:lnTo>
                    <a:pt x="39" y="17"/>
                  </a:lnTo>
                  <a:lnTo>
                    <a:pt x="25" y="12"/>
                  </a:lnTo>
                  <a:lnTo>
                    <a:pt x="12" y="5"/>
                  </a:lnTo>
                  <a:lnTo>
                    <a:pt x="0" y="0"/>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63"/>
            <p:cNvSpPr>
              <a:spLocks/>
            </p:cNvSpPr>
            <p:nvPr/>
          </p:nvSpPr>
          <p:spPr bwMode="auto">
            <a:xfrm>
              <a:off x="2693988" y="1582738"/>
              <a:ext cx="192088" cy="49213"/>
            </a:xfrm>
            <a:custGeom>
              <a:avLst/>
              <a:gdLst>
                <a:gd name="T0" fmla="*/ 0 w 601"/>
                <a:gd name="T1" fmla="*/ 0 h 155"/>
                <a:gd name="T2" fmla="*/ 0 w 601"/>
                <a:gd name="T3" fmla="*/ 64 h 155"/>
                <a:gd name="T4" fmla="*/ 0 w 601"/>
                <a:gd name="T5" fmla="*/ 71 h 155"/>
                <a:gd name="T6" fmla="*/ 2 w 601"/>
                <a:gd name="T7" fmla="*/ 77 h 155"/>
                <a:gd name="T8" fmla="*/ 4 w 601"/>
                <a:gd name="T9" fmla="*/ 84 h 155"/>
                <a:gd name="T10" fmla="*/ 7 w 601"/>
                <a:gd name="T11" fmla="*/ 89 h 155"/>
                <a:gd name="T12" fmla="*/ 13 w 601"/>
                <a:gd name="T13" fmla="*/ 95 h 155"/>
                <a:gd name="T14" fmla="*/ 18 w 601"/>
                <a:gd name="T15" fmla="*/ 100 h 155"/>
                <a:gd name="T16" fmla="*/ 23 w 601"/>
                <a:gd name="T17" fmla="*/ 104 h 155"/>
                <a:gd name="T18" fmla="*/ 31 w 601"/>
                <a:gd name="T19" fmla="*/ 108 h 155"/>
                <a:gd name="T20" fmla="*/ 47 w 601"/>
                <a:gd name="T21" fmla="*/ 117 h 155"/>
                <a:gd name="T22" fmla="*/ 65 w 601"/>
                <a:gd name="T23" fmla="*/ 125 h 155"/>
                <a:gd name="T24" fmla="*/ 86 w 601"/>
                <a:gd name="T25" fmla="*/ 131 h 155"/>
                <a:gd name="T26" fmla="*/ 108 w 601"/>
                <a:gd name="T27" fmla="*/ 136 h 155"/>
                <a:gd name="T28" fmla="*/ 132 w 601"/>
                <a:gd name="T29" fmla="*/ 142 h 155"/>
                <a:gd name="T30" fmla="*/ 156 w 601"/>
                <a:gd name="T31" fmla="*/ 145 h 155"/>
                <a:gd name="T32" fmla="*/ 181 w 601"/>
                <a:gd name="T33" fmla="*/ 148 h 155"/>
                <a:gd name="T34" fmla="*/ 206 w 601"/>
                <a:gd name="T35" fmla="*/ 151 h 155"/>
                <a:gd name="T36" fmla="*/ 255 w 601"/>
                <a:gd name="T37" fmla="*/ 155 h 155"/>
                <a:gd name="T38" fmla="*/ 300 w 601"/>
                <a:gd name="T39" fmla="*/ 155 h 155"/>
                <a:gd name="T40" fmla="*/ 345 w 601"/>
                <a:gd name="T41" fmla="*/ 155 h 155"/>
                <a:gd name="T42" fmla="*/ 394 w 601"/>
                <a:gd name="T43" fmla="*/ 151 h 155"/>
                <a:gd name="T44" fmla="*/ 420 w 601"/>
                <a:gd name="T45" fmla="*/ 148 h 155"/>
                <a:gd name="T46" fmla="*/ 445 w 601"/>
                <a:gd name="T47" fmla="*/ 145 h 155"/>
                <a:gd name="T48" fmla="*/ 470 w 601"/>
                <a:gd name="T49" fmla="*/ 142 h 155"/>
                <a:gd name="T50" fmla="*/ 493 w 601"/>
                <a:gd name="T51" fmla="*/ 136 h 155"/>
                <a:gd name="T52" fmla="*/ 515 w 601"/>
                <a:gd name="T53" fmla="*/ 131 h 155"/>
                <a:gd name="T54" fmla="*/ 536 w 601"/>
                <a:gd name="T55" fmla="*/ 125 h 155"/>
                <a:gd name="T56" fmla="*/ 554 w 601"/>
                <a:gd name="T57" fmla="*/ 117 h 155"/>
                <a:gd name="T58" fmla="*/ 570 w 601"/>
                <a:gd name="T59" fmla="*/ 108 h 155"/>
                <a:gd name="T60" fmla="*/ 577 w 601"/>
                <a:gd name="T61" fmla="*/ 104 h 155"/>
                <a:gd name="T62" fmla="*/ 583 w 601"/>
                <a:gd name="T63" fmla="*/ 100 h 155"/>
                <a:gd name="T64" fmla="*/ 589 w 601"/>
                <a:gd name="T65" fmla="*/ 95 h 155"/>
                <a:gd name="T66" fmla="*/ 593 w 601"/>
                <a:gd name="T67" fmla="*/ 89 h 155"/>
                <a:gd name="T68" fmla="*/ 597 w 601"/>
                <a:gd name="T69" fmla="*/ 84 h 155"/>
                <a:gd name="T70" fmla="*/ 599 w 601"/>
                <a:gd name="T71" fmla="*/ 77 h 155"/>
                <a:gd name="T72" fmla="*/ 600 w 601"/>
                <a:gd name="T73" fmla="*/ 71 h 155"/>
                <a:gd name="T74" fmla="*/ 601 w 601"/>
                <a:gd name="T75" fmla="*/ 64 h 155"/>
                <a:gd name="T76" fmla="*/ 601 w 601"/>
                <a:gd name="T77" fmla="*/ 0 h 155"/>
                <a:gd name="T78" fmla="*/ 588 w 601"/>
                <a:gd name="T79" fmla="*/ 7 h 155"/>
                <a:gd name="T80" fmla="*/ 573 w 601"/>
                <a:gd name="T81" fmla="*/ 13 h 155"/>
                <a:gd name="T82" fmla="*/ 555 w 601"/>
                <a:gd name="T83" fmla="*/ 19 h 155"/>
                <a:gd name="T84" fmla="*/ 536 w 601"/>
                <a:gd name="T85" fmla="*/ 25 h 155"/>
                <a:gd name="T86" fmla="*/ 517 w 601"/>
                <a:gd name="T87" fmla="*/ 29 h 155"/>
                <a:gd name="T88" fmla="*/ 495 w 601"/>
                <a:gd name="T89" fmla="*/ 33 h 155"/>
                <a:gd name="T90" fmla="*/ 474 w 601"/>
                <a:gd name="T91" fmla="*/ 37 h 155"/>
                <a:gd name="T92" fmla="*/ 452 w 601"/>
                <a:gd name="T93" fmla="*/ 40 h 155"/>
                <a:gd name="T94" fmla="*/ 410 w 601"/>
                <a:gd name="T95" fmla="*/ 44 h 155"/>
                <a:gd name="T96" fmla="*/ 369 w 601"/>
                <a:gd name="T97" fmla="*/ 47 h 155"/>
                <a:gd name="T98" fmla="*/ 331 w 601"/>
                <a:gd name="T99" fmla="*/ 49 h 155"/>
                <a:gd name="T100" fmla="*/ 300 w 601"/>
                <a:gd name="T101" fmla="*/ 49 h 155"/>
                <a:gd name="T102" fmla="*/ 269 w 601"/>
                <a:gd name="T103" fmla="*/ 49 h 155"/>
                <a:gd name="T104" fmla="*/ 233 w 601"/>
                <a:gd name="T105" fmla="*/ 47 h 155"/>
                <a:gd name="T106" fmla="*/ 191 w 601"/>
                <a:gd name="T107" fmla="*/ 44 h 155"/>
                <a:gd name="T108" fmla="*/ 148 w 601"/>
                <a:gd name="T109" fmla="*/ 40 h 155"/>
                <a:gd name="T110" fmla="*/ 126 w 601"/>
                <a:gd name="T111" fmla="*/ 37 h 155"/>
                <a:gd name="T112" fmla="*/ 105 w 601"/>
                <a:gd name="T113" fmla="*/ 33 h 155"/>
                <a:gd name="T114" fmla="*/ 85 w 601"/>
                <a:gd name="T115" fmla="*/ 29 h 155"/>
                <a:gd name="T116" fmla="*/ 64 w 601"/>
                <a:gd name="T117" fmla="*/ 25 h 155"/>
                <a:gd name="T118" fmla="*/ 46 w 601"/>
                <a:gd name="T119" fmla="*/ 19 h 155"/>
                <a:gd name="T120" fmla="*/ 29 w 601"/>
                <a:gd name="T121" fmla="*/ 14 h 155"/>
                <a:gd name="T122" fmla="*/ 13 w 601"/>
                <a:gd name="T123" fmla="*/ 8 h 155"/>
                <a:gd name="T124" fmla="*/ 0 w 601"/>
                <a:gd name="T1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1" h="155">
                  <a:moveTo>
                    <a:pt x="0" y="0"/>
                  </a:moveTo>
                  <a:lnTo>
                    <a:pt x="0" y="64"/>
                  </a:lnTo>
                  <a:lnTo>
                    <a:pt x="0" y="71"/>
                  </a:lnTo>
                  <a:lnTo>
                    <a:pt x="2" y="77"/>
                  </a:lnTo>
                  <a:lnTo>
                    <a:pt x="4" y="84"/>
                  </a:lnTo>
                  <a:lnTo>
                    <a:pt x="7" y="89"/>
                  </a:lnTo>
                  <a:lnTo>
                    <a:pt x="13" y="95"/>
                  </a:lnTo>
                  <a:lnTo>
                    <a:pt x="18" y="100"/>
                  </a:lnTo>
                  <a:lnTo>
                    <a:pt x="23" y="104"/>
                  </a:lnTo>
                  <a:lnTo>
                    <a:pt x="31" y="108"/>
                  </a:lnTo>
                  <a:lnTo>
                    <a:pt x="47" y="117"/>
                  </a:lnTo>
                  <a:lnTo>
                    <a:pt x="65" y="125"/>
                  </a:lnTo>
                  <a:lnTo>
                    <a:pt x="86" y="131"/>
                  </a:lnTo>
                  <a:lnTo>
                    <a:pt x="108" y="136"/>
                  </a:lnTo>
                  <a:lnTo>
                    <a:pt x="132" y="142"/>
                  </a:lnTo>
                  <a:lnTo>
                    <a:pt x="156" y="145"/>
                  </a:lnTo>
                  <a:lnTo>
                    <a:pt x="181" y="148"/>
                  </a:lnTo>
                  <a:lnTo>
                    <a:pt x="206" y="151"/>
                  </a:lnTo>
                  <a:lnTo>
                    <a:pt x="255" y="155"/>
                  </a:lnTo>
                  <a:lnTo>
                    <a:pt x="300" y="155"/>
                  </a:lnTo>
                  <a:lnTo>
                    <a:pt x="345" y="155"/>
                  </a:lnTo>
                  <a:lnTo>
                    <a:pt x="394" y="151"/>
                  </a:lnTo>
                  <a:lnTo>
                    <a:pt x="420" y="148"/>
                  </a:lnTo>
                  <a:lnTo>
                    <a:pt x="445" y="145"/>
                  </a:lnTo>
                  <a:lnTo>
                    <a:pt x="470" y="142"/>
                  </a:lnTo>
                  <a:lnTo>
                    <a:pt x="493" y="136"/>
                  </a:lnTo>
                  <a:lnTo>
                    <a:pt x="515" y="131"/>
                  </a:lnTo>
                  <a:lnTo>
                    <a:pt x="536" y="125"/>
                  </a:lnTo>
                  <a:lnTo>
                    <a:pt x="554" y="117"/>
                  </a:lnTo>
                  <a:lnTo>
                    <a:pt x="570" y="108"/>
                  </a:lnTo>
                  <a:lnTo>
                    <a:pt x="577" y="104"/>
                  </a:lnTo>
                  <a:lnTo>
                    <a:pt x="583" y="100"/>
                  </a:lnTo>
                  <a:lnTo>
                    <a:pt x="589" y="95"/>
                  </a:lnTo>
                  <a:lnTo>
                    <a:pt x="593" y="89"/>
                  </a:lnTo>
                  <a:lnTo>
                    <a:pt x="597" y="84"/>
                  </a:lnTo>
                  <a:lnTo>
                    <a:pt x="599" y="77"/>
                  </a:lnTo>
                  <a:lnTo>
                    <a:pt x="600" y="71"/>
                  </a:lnTo>
                  <a:lnTo>
                    <a:pt x="601" y="64"/>
                  </a:lnTo>
                  <a:lnTo>
                    <a:pt x="601" y="0"/>
                  </a:lnTo>
                  <a:lnTo>
                    <a:pt x="588" y="7"/>
                  </a:lnTo>
                  <a:lnTo>
                    <a:pt x="573" y="13"/>
                  </a:lnTo>
                  <a:lnTo>
                    <a:pt x="555" y="19"/>
                  </a:lnTo>
                  <a:lnTo>
                    <a:pt x="536" y="25"/>
                  </a:lnTo>
                  <a:lnTo>
                    <a:pt x="517" y="29"/>
                  </a:lnTo>
                  <a:lnTo>
                    <a:pt x="495" y="33"/>
                  </a:lnTo>
                  <a:lnTo>
                    <a:pt x="474" y="37"/>
                  </a:lnTo>
                  <a:lnTo>
                    <a:pt x="452" y="40"/>
                  </a:lnTo>
                  <a:lnTo>
                    <a:pt x="410" y="44"/>
                  </a:lnTo>
                  <a:lnTo>
                    <a:pt x="369" y="47"/>
                  </a:lnTo>
                  <a:lnTo>
                    <a:pt x="331" y="49"/>
                  </a:lnTo>
                  <a:lnTo>
                    <a:pt x="300" y="49"/>
                  </a:lnTo>
                  <a:lnTo>
                    <a:pt x="269" y="49"/>
                  </a:lnTo>
                  <a:lnTo>
                    <a:pt x="233" y="47"/>
                  </a:lnTo>
                  <a:lnTo>
                    <a:pt x="191" y="44"/>
                  </a:lnTo>
                  <a:lnTo>
                    <a:pt x="148" y="40"/>
                  </a:lnTo>
                  <a:lnTo>
                    <a:pt x="126" y="37"/>
                  </a:lnTo>
                  <a:lnTo>
                    <a:pt x="105" y="33"/>
                  </a:lnTo>
                  <a:lnTo>
                    <a:pt x="85" y="29"/>
                  </a:lnTo>
                  <a:lnTo>
                    <a:pt x="64" y="25"/>
                  </a:lnTo>
                  <a:lnTo>
                    <a:pt x="46" y="19"/>
                  </a:lnTo>
                  <a:lnTo>
                    <a:pt x="29" y="14"/>
                  </a:lnTo>
                  <a:lnTo>
                    <a:pt x="13"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64"/>
            <p:cNvSpPr>
              <a:spLocks/>
            </p:cNvSpPr>
            <p:nvPr/>
          </p:nvSpPr>
          <p:spPr bwMode="auto">
            <a:xfrm>
              <a:off x="2693988" y="1549400"/>
              <a:ext cx="192088" cy="39688"/>
            </a:xfrm>
            <a:custGeom>
              <a:avLst/>
              <a:gdLst>
                <a:gd name="T0" fmla="*/ 0 w 601"/>
                <a:gd name="T1" fmla="*/ 65 h 125"/>
                <a:gd name="T2" fmla="*/ 1 w 601"/>
                <a:gd name="T3" fmla="*/ 70 h 125"/>
                <a:gd name="T4" fmla="*/ 5 w 601"/>
                <a:gd name="T5" fmla="*/ 75 h 125"/>
                <a:gd name="T6" fmla="*/ 22 w 601"/>
                <a:gd name="T7" fmla="*/ 85 h 125"/>
                <a:gd name="T8" fmla="*/ 49 w 601"/>
                <a:gd name="T9" fmla="*/ 94 h 125"/>
                <a:gd name="T10" fmla="*/ 86 w 601"/>
                <a:gd name="T11" fmla="*/ 104 h 125"/>
                <a:gd name="T12" fmla="*/ 130 w 601"/>
                <a:gd name="T13" fmla="*/ 113 h 125"/>
                <a:gd name="T14" fmla="*/ 181 w 601"/>
                <a:gd name="T15" fmla="*/ 119 h 125"/>
                <a:gd name="T16" fmla="*/ 238 w 601"/>
                <a:gd name="T17" fmla="*/ 124 h 125"/>
                <a:gd name="T18" fmla="*/ 300 w 601"/>
                <a:gd name="T19" fmla="*/ 125 h 125"/>
                <a:gd name="T20" fmla="*/ 362 w 601"/>
                <a:gd name="T21" fmla="*/ 124 h 125"/>
                <a:gd name="T22" fmla="*/ 420 w 601"/>
                <a:gd name="T23" fmla="*/ 119 h 125"/>
                <a:gd name="T24" fmla="*/ 471 w 601"/>
                <a:gd name="T25" fmla="*/ 113 h 125"/>
                <a:gd name="T26" fmla="*/ 516 w 601"/>
                <a:gd name="T27" fmla="*/ 104 h 125"/>
                <a:gd name="T28" fmla="*/ 551 w 601"/>
                <a:gd name="T29" fmla="*/ 94 h 125"/>
                <a:gd name="T30" fmla="*/ 579 w 601"/>
                <a:gd name="T31" fmla="*/ 85 h 125"/>
                <a:gd name="T32" fmla="*/ 595 w 601"/>
                <a:gd name="T33" fmla="*/ 75 h 125"/>
                <a:gd name="T34" fmla="*/ 600 w 601"/>
                <a:gd name="T35" fmla="*/ 70 h 125"/>
                <a:gd name="T36" fmla="*/ 601 w 601"/>
                <a:gd name="T37" fmla="*/ 65 h 125"/>
                <a:gd name="T38" fmla="*/ 589 w 601"/>
                <a:gd name="T39" fmla="*/ 6 h 125"/>
                <a:gd name="T40" fmla="*/ 560 w 601"/>
                <a:gd name="T41" fmla="*/ 18 h 125"/>
                <a:gd name="T42" fmla="*/ 524 w 601"/>
                <a:gd name="T43" fmla="*/ 28 h 125"/>
                <a:gd name="T44" fmla="*/ 486 w 601"/>
                <a:gd name="T45" fmla="*/ 35 h 125"/>
                <a:gd name="T46" fmla="*/ 422 w 601"/>
                <a:gd name="T47" fmla="*/ 44 h 125"/>
                <a:gd name="T48" fmla="*/ 339 w 601"/>
                <a:gd name="T49" fmla="*/ 49 h 125"/>
                <a:gd name="T50" fmla="*/ 261 w 601"/>
                <a:gd name="T51" fmla="*/ 49 h 125"/>
                <a:gd name="T52" fmla="*/ 178 w 601"/>
                <a:gd name="T53" fmla="*/ 44 h 125"/>
                <a:gd name="T54" fmla="*/ 116 w 601"/>
                <a:gd name="T55" fmla="*/ 35 h 125"/>
                <a:gd name="T56" fmla="*/ 77 w 601"/>
                <a:gd name="T57" fmla="*/ 28 h 125"/>
                <a:gd name="T58" fmla="*/ 42 w 601"/>
                <a:gd name="T59" fmla="*/ 18 h 125"/>
                <a:gd name="T60" fmla="*/ 12 w 601"/>
                <a:gd name="T61" fmla="*/ 6 h 125"/>
                <a:gd name="T62" fmla="*/ 0 w 601"/>
                <a:gd name="T6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1" h="125">
                  <a:moveTo>
                    <a:pt x="0" y="0"/>
                  </a:moveTo>
                  <a:lnTo>
                    <a:pt x="0" y="65"/>
                  </a:lnTo>
                  <a:lnTo>
                    <a:pt x="0" y="67"/>
                  </a:lnTo>
                  <a:lnTo>
                    <a:pt x="1" y="70"/>
                  </a:lnTo>
                  <a:lnTo>
                    <a:pt x="3" y="72"/>
                  </a:lnTo>
                  <a:lnTo>
                    <a:pt x="5" y="75"/>
                  </a:lnTo>
                  <a:lnTo>
                    <a:pt x="13" y="79"/>
                  </a:lnTo>
                  <a:lnTo>
                    <a:pt x="22" y="85"/>
                  </a:lnTo>
                  <a:lnTo>
                    <a:pt x="34" y="90"/>
                  </a:lnTo>
                  <a:lnTo>
                    <a:pt x="49" y="94"/>
                  </a:lnTo>
                  <a:lnTo>
                    <a:pt x="66" y="100"/>
                  </a:lnTo>
                  <a:lnTo>
                    <a:pt x="86" y="104"/>
                  </a:lnTo>
                  <a:lnTo>
                    <a:pt x="107" y="108"/>
                  </a:lnTo>
                  <a:lnTo>
                    <a:pt x="130" y="113"/>
                  </a:lnTo>
                  <a:lnTo>
                    <a:pt x="154" y="117"/>
                  </a:lnTo>
                  <a:lnTo>
                    <a:pt x="181" y="119"/>
                  </a:lnTo>
                  <a:lnTo>
                    <a:pt x="209" y="122"/>
                  </a:lnTo>
                  <a:lnTo>
                    <a:pt x="238" y="124"/>
                  </a:lnTo>
                  <a:lnTo>
                    <a:pt x="269" y="125"/>
                  </a:lnTo>
                  <a:lnTo>
                    <a:pt x="300" y="125"/>
                  </a:lnTo>
                  <a:lnTo>
                    <a:pt x="332" y="125"/>
                  </a:lnTo>
                  <a:lnTo>
                    <a:pt x="362" y="124"/>
                  </a:lnTo>
                  <a:lnTo>
                    <a:pt x="392" y="122"/>
                  </a:lnTo>
                  <a:lnTo>
                    <a:pt x="420" y="119"/>
                  </a:lnTo>
                  <a:lnTo>
                    <a:pt x="446" y="117"/>
                  </a:lnTo>
                  <a:lnTo>
                    <a:pt x="471" y="113"/>
                  </a:lnTo>
                  <a:lnTo>
                    <a:pt x="494" y="108"/>
                  </a:lnTo>
                  <a:lnTo>
                    <a:pt x="516" y="104"/>
                  </a:lnTo>
                  <a:lnTo>
                    <a:pt x="535" y="100"/>
                  </a:lnTo>
                  <a:lnTo>
                    <a:pt x="551" y="94"/>
                  </a:lnTo>
                  <a:lnTo>
                    <a:pt x="566" y="90"/>
                  </a:lnTo>
                  <a:lnTo>
                    <a:pt x="579" y="85"/>
                  </a:lnTo>
                  <a:lnTo>
                    <a:pt x="589" y="79"/>
                  </a:lnTo>
                  <a:lnTo>
                    <a:pt x="595" y="75"/>
                  </a:lnTo>
                  <a:lnTo>
                    <a:pt x="598" y="72"/>
                  </a:lnTo>
                  <a:lnTo>
                    <a:pt x="600" y="70"/>
                  </a:lnTo>
                  <a:lnTo>
                    <a:pt x="601" y="67"/>
                  </a:lnTo>
                  <a:lnTo>
                    <a:pt x="601" y="65"/>
                  </a:lnTo>
                  <a:lnTo>
                    <a:pt x="601" y="0"/>
                  </a:lnTo>
                  <a:lnTo>
                    <a:pt x="589" y="6"/>
                  </a:lnTo>
                  <a:lnTo>
                    <a:pt x="575" y="12"/>
                  </a:lnTo>
                  <a:lnTo>
                    <a:pt x="560" y="18"/>
                  </a:lnTo>
                  <a:lnTo>
                    <a:pt x="542" y="22"/>
                  </a:lnTo>
                  <a:lnTo>
                    <a:pt x="524" y="28"/>
                  </a:lnTo>
                  <a:lnTo>
                    <a:pt x="505" y="31"/>
                  </a:lnTo>
                  <a:lnTo>
                    <a:pt x="486" y="35"/>
                  </a:lnTo>
                  <a:lnTo>
                    <a:pt x="464" y="39"/>
                  </a:lnTo>
                  <a:lnTo>
                    <a:pt x="422" y="44"/>
                  </a:lnTo>
                  <a:lnTo>
                    <a:pt x="381" y="47"/>
                  </a:lnTo>
                  <a:lnTo>
                    <a:pt x="339" y="49"/>
                  </a:lnTo>
                  <a:lnTo>
                    <a:pt x="300" y="50"/>
                  </a:lnTo>
                  <a:lnTo>
                    <a:pt x="261" y="49"/>
                  </a:lnTo>
                  <a:lnTo>
                    <a:pt x="221" y="47"/>
                  </a:lnTo>
                  <a:lnTo>
                    <a:pt x="178" y="44"/>
                  </a:lnTo>
                  <a:lnTo>
                    <a:pt x="136" y="39"/>
                  </a:lnTo>
                  <a:lnTo>
                    <a:pt x="116" y="35"/>
                  </a:lnTo>
                  <a:lnTo>
                    <a:pt x="95" y="32"/>
                  </a:lnTo>
                  <a:lnTo>
                    <a:pt x="77" y="28"/>
                  </a:lnTo>
                  <a:lnTo>
                    <a:pt x="59" y="22"/>
                  </a:lnTo>
                  <a:lnTo>
                    <a:pt x="42" y="18"/>
                  </a:lnTo>
                  <a:lnTo>
                    <a:pt x="26" y="13"/>
                  </a:lnTo>
                  <a:lnTo>
                    <a:pt x="12"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65"/>
            <p:cNvSpPr>
              <a:spLocks/>
            </p:cNvSpPr>
            <p:nvPr/>
          </p:nvSpPr>
          <p:spPr bwMode="auto">
            <a:xfrm>
              <a:off x="2598738" y="1344613"/>
              <a:ext cx="190500" cy="49213"/>
            </a:xfrm>
            <a:custGeom>
              <a:avLst/>
              <a:gdLst>
                <a:gd name="T0" fmla="*/ 337 w 602"/>
                <a:gd name="T1" fmla="*/ 151 h 152"/>
                <a:gd name="T2" fmla="*/ 403 w 602"/>
                <a:gd name="T3" fmla="*/ 147 h 152"/>
                <a:gd name="T4" fmla="*/ 458 w 602"/>
                <a:gd name="T5" fmla="*/ 141 h 152"/>
                <a:gd name="T6" fmla="*/ 506 w 602"/>
                <a:gd name="T7" fmla="*/ 132 h 152"/>
                <a:gd name="T8" fmla="*/ 544 w 602"/>
                <a:gd name="T9" fmla="*/ 122 h 152"/>
                <a:gd name="T10" fmla="*/ 572 w 602"/>
                <a:gd name="T11" fmla="*/ 112 h 152"/>
                <a:gd name="T12" fmla="*/ 591 w 602"/>
                <a:gd name="T13" fmla="*/ 102 h 152"/>
                <a:gd name="T14" fmla="*/ 601 w 602"/>
                <a:gd name="T15" fmla="*/ 95 h 152"/>
                <a:gd name="T16" fmla="*/ 602 w 602"/>
                <a:gd name="T17" fmla="*/ 85 h 152"/>
                <a:gd name="T18" fmla="*/ 599 w 602"/>
                <a:gd name="T19" fmla="*/ 74 h 152"/>
                <a:gd name="T20" fmla="*/ 591 w 602"/>
                <a:gd name="T21" fmla="*/ 65 h 152"/>
                <a:gd name="T22" fmla="*/ 582 w 602"/>
                <a:gd name="T23" fmla="*/ 55 h 152"/>
                <a:gd name="T24" fmla="*/ 561 w 602"/>
                <a:gd name="T25" fmla="*/ 42 h 152"/>
                <a:gd name="T26" fmla="*/ 527 w 602"/>
                <a:gd name="T27" fmla="*/ 28 h 152"/>
                <a:gd name="T28" fmla="*/ 484 w 602"/>
                <a:gd name="T29" fmla="*/ 18 h 152"/>
                <a:gd name="T30" fmla="*/ 436 w 602"/>
                <a:gd name="T31" fmla="*/ 9 h 152"/>
                <a:gd name="T32" fmla="*/ 383 w 602"/>
                <a:gd name="T33" fmla="*/ 4 h 152"/>
                <a:gd name="T34" fmla="*/ 329 w 602"/>
                <a:gd name="T35" fmla="*/ 1 h 152"/>
                <a:gd name="T36" fmla="*/ 274 w 602"/>
                <a:gd name="T37" fmla="*/ 1 h 152"/>
                <a:gd name="T38" fmla="*/ 219 w 602"/>
                <a:gd name="T39" fmla="*/ 4 h 152"/>
                <a:gd name="T40" fmla="*/ 168 w 602"/>
                <a:gd name="T41" fmla="*/ 9 h 152"/>
                <a:gd name="T42" fmla="*/ 118 w 602"/>
                <a:gd name="T43" fmla="*/ 18 h 152"/>
                <a:gd name="T44" fmla="*/ 76 w 602"/>
                <a:gd name="T45" fmla="*/ 28 h 152"/>
                <a:gd name="T46" fmla="*/ 41 w 602"/>
                <a:gd name="T47" fmla="*/ 42 h 152"/>
                <a:gd name="T48" fmla="*/ 21 w 602"/>
                <a:gd name="T49" fmla="*/ 55 h 152"/>
                <a:gd name="T50" fmla="*/ 11 w 602"/>
                <a:gd name="T51" fmla="*/ 65 h 152"/>
                <a:gd name="T52" fmla="*/ 5 w 602"/>
                <a:gd name="T53" fmla="*/ 74 h 152"/>
                <a:gd name="T54" fmla="*/ 0 w 602"/>
                <a:gd name="T55" fmla="*/ 85 h 152"/>
                <a:gd name="T56" fmla="*/ 2 w 602"/>
                <a:gd name="T57" fmla="*/ 95 h 152"/>
                <a:gd name="T58" fmla="*/ 11 w 602"/>
                <a:gd name="T59" fmla="*/ 102 h 152"/>
                <a:gd name="T60" fmla="*/ 30 w 602"/>
                <a:gd name="T61" fmla="*/ 112 h 152"/>
                <a:gd name="T62" fmla="*/ 59 w 602"/>
                <a:gd name="T63" fmla="*/ 122 h 152"/>
                <a:gd name="T64" fmla="*/ 97 w 602"/>
                <a:gd name="T65" fmla="*/ 131 h 152"/>
                <a:gd name="T66" fmla="*/ 144 w 602"/>
                <a:gd name="T67" fmla="*/ 141 h 152"/>
                <a:gd name="T68" fmla="*/ 200 w 602"/>
                <a:gd name="T69" fmla="*/ 147 h 152"/>
                <a:gd name="T70" fmla="*/ 265 w 602"/>
                <a:gd name="T71" fmla="*/ 1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2" h="152">
                  <a:moveTo>
                    <a:pt x="302" y="152"/>
                  </a:moveTo>
                  <a:lnTo>
                    <a:pt x="337" y="151"/>
                  </a:lnTo>
                  <a:lnTo>
                    <a:pt x="370" y="149"/>
                  </a:lnTo>
                  <a:lnTo>
                    <a:pt x="403" y="147"/>
                  </a:lnTo>
                  <a:lnTo>
                    <a:pt x="432" y="144"/>
                  </a:lnTo>
                  <a:lnTo>
                    <a:pt x="458" y="141"/>
                  </a:lnTo>
                  <a:lnTo>
                    <a:pt x="483" y="137"/>
                  </a:lnTo>
                  <a:lnTo>
                    <a:pt x="506" y="132"/>
                  </a:lnTo>
                  <a:lnTo>
                    <a:pt x="526" y="127"/>
                  </a:lnTo>
                  <a:lnTo>
                    <a:pt x="544" y="122"/>
                  </a:lnTo>
                  <a:lnTo>
                    <a:pt x="559" y="117"/>
                  </a:lnTo>
                  <a:lnTo>
                    <a:pt x="572" y="112"/>
                  </a:lnTo>
                  <a:lnTo>
                    <a:pt x="583" y="107"/>
                  </a:lnTo>
                  <a:lnTo>
                    <a:pt x="591" y="102"/>
                  </a:lnTo>
                  <a:lnTo>
                    <a:pt x="598" y="98"/>
                  </a:lnTo>
                  <a:lnTo>
                    <a:pt x="601" y="95"/>
                  </a:lnTo>
                  <a:lnTo>
                    <a:pt x="602" y="92"/>
                  </a:lnTo>
                  <a:lnTo>
                    <a:pt x="602" y="85"/>
                  </a:lnTo>
                  <a:lnTo>
                    <a:pt x="601" y="80"/>
                  </a:lnTo>
                  <a:lnTo>
                    <a:pt x="599" y="74"/>
                  </a:lnTo>
                  <a:lnTo>
                    <a:pt x="596" y="69"/>
                  </a:lnTo>
                  <a:lnTo>
                    <a:pt x="591" y="65"/>
                  </a:lnTo>
                  <a:lnTo>
                    <a:pt x="587" y="59"/>
                  </a:lnTo>
                  <a:lnTo>
                    <a:pt x="582" y="55"/>
                  </a:lnTo>
                  <a:lnTo>
                    <a:pt x="575" y="51"/>
                  </a:lnTo>
                  <a:lnTo>
                    <a:pt x="561" y="42"/>
                  </a:lnTo>
                  <a:lnTo>
                    <a:pt x="545" y="35"/>
                  </a:lnTo>
                  <a:lnTo>
                    <a:pt x="527" y="28"/>
                  </a:lnTo>
                  <a:lnTo>
                    <a:pt x="507" y="23"/>
                  </a:lnTo>
                  <a:lnTo>
                    <a:pt x="484" y="18"/>
                  </a:lnTo>
                  <a:lnTo>
                    <a:pt x="461" y="13"/>
                  </a:lnTo>
                  <a:lnTo>
                    <a:pt x="436" y="9"/>
                  </a:lnTo>
                  <a:lnTo>
                    <a:pt x="409" y="6"/>
                  </a:lnTo>
                  <a:lnTo>
                    <a:pt x="383" y="4"/>
                  </a:lnTo>
                  <a:lnTo>
                    <a:pt x="355" y="3"/>
                  </a:lnTo>
                  <a:lnTo>
                    <a:pt x="329" y="1"/>
                  </a:lnTo>
                  <a:lnTo>
                    <a:pt x="302" y="0"/>
                  </a:lnTo>
                  <a:lnTo>
                    <a:pt x="274" y="1"/>
                  </a:lnTo>
                  <a:lnTo>
                    <a:pt x="247" y="3"/>
                  </a:lnTo>
                  <a:lnTo>
                    <a:pt x="219" y="4"/>
                  </a:lnTo>
                  <a:lnTo>
                    <a:pt x="193" y="6"/>
                  </a:lnTo>
                  <a:lnTo>
                    <a:pt x="168" y="9"/>
                  </a:lnTo>
                  <a:lnTo>
                    <a:pt x="142" y="13"/>
                  </a:lnTo>
                  <a:lnTo>
                    <a:pt x="118" y="18"/>
                  </a:lnTo>
                  <a:lnTo>
                    <a:pt x="97" y="23"/>
                  </a:lnTo>
                  <a:lnTo>
                    <a:pt x="76" y="28"/>
                  </a:lnTo>
                  <a:lnTo>
                    <a:pt x="57" y="35"/>
                  </a:lnTo>
                  <a:lnTo>
                    <a:pt x="41" y="42"/>
                  </a:lnTo>
                  <a:lnTo>
                    <a:pt x="27" y="51"/>
                  </a:lnTo>
                  <a:lnTo>
                    <a:pt x="21" y="55"/>
                  </a:lnTo>
                  <a:lnTo>
                    <a:pt x="15" y="59"/>
                  </a:lnTo>
                  <a:lnTo>
                    <a:pt x="11" y="65"/>
                  </a:lnTo>
                  <a:lnTo>
                    <a:pt x="7" y="69"/>
                  </a:lnTo>
                  <a:lnTo>
                    <a:pt x="5" y="74"/>
                  </a:lnTo>
                  <a:lnTo>
                    <a:pt x="3" y="80"/>
                  </a:lnTo>
                  <a:lnTo>
                    <a:pt x="0" y="85"/>
                  </a:lnTo>
                  <a:lnTo>
                    <a:pt x="0" y="92"/>
                  </a:lnTo>
                  <a:lnTo>
                    <a:pt x="2" y="95"/>
                  </a:lnTo>
                  <a:lnTo>
                    <a:pt x="5" y="98"/>
                  </a:lnTo>
                  <a:lnTo>
                    <a:pt x="11" y="102"/>
                  </a:lnTo>
                  <a:lnTo>
                    <a:pt x="20" y="107"/>
                  </a:lnTo>
                  <a:lnTo>
                    <a:pt x="30" y="112"/>
                  </a:lnTo>
                  <a:lnTo>
                    <a:pt x="43" y="117"/>
                  </a:lnTo>
                  <a:lnTo>
                    <a:pt x="59" y="122"/>
                  </a:lnTo>
                  <a:lnTo>
                    <a:pt x="77" y="127"/>
                  </a:lnTo>
                  <a:lnTo>
                    <a:pt x="97" y="131"/>
                  </a:lnTo>
                  <a:lnTo>
                    <a:pt x="119" y="137"/>
                  </a:lnTo>
                  <a:lnTo>
                    <a:pt x="144" y="141"/>
                  </a:lnTo>
                  <a:lnTo>
                    <a:pt x="171" y="144"/>
                  </a:lnTo>
                  <a:lnTo>
                    <a:pt x="200" y="147"/>
                  </a:lnTo>
                  <a:lnTo>
                    <a:pt x="232" y="149"/>
                  </a:lnTo>
                  <a:lnTo>
                    <a:pt x="265" y="151"/>
                  </a:lnTo>
                  <a:lnTo>
                    <a:pt x="302"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 name="Group 152"/>
          <p:cNvGrpSpPr/>
          <p:nvPr/>
        </p:nvGrpSpPr>
        <p:grpSpPr>
          <a:xfrm>
            <a:off x="5955709" y="3041937"/>
            <a:ext cx="285750" cy="280988"/>
            <a:chOff x="319051" y="2495550"/>
            <a:chExt cx="285750" cy="280988"/>
          </a:xfrm>
          <a:solidFill>
            <a:schemeClr val="bg1"/>
          </a:solidFill>
        </p:grpSpPr>
        <p:sp>
          <p:nvSpPr>
            <p:cNvPr id="154" name="Freeform 2985"/>
            <p:cNvSpPr>
              <a:spLocks/>
            </p:cNvSpPr>
            <p:nvPr/>
          </p:nvSpPr>
          <p:spPr bwMode="auto">
            <a:xfrm>
              <a:off x="319051" y="2495550"/>
              <a:ext cx="214313" cy="195263"/>
            </a:xfrm>
            <a:custGeom>
              <a:avLst/>
              <a:gdLst>
                <a:gd name="T0" fmla="*/ 505 w 537"/>
                <a:gd name="T1" fmla="*/ 263 h 492"/>
                <a:gd name="T2" fmla="*/ 525 w 537"/>
                <a:gd name="T3" fmla="*/ 266 h 492"/>
                <a:gd name="T4" fmla="*/ 537 w 537"/>
                <a:gd name="T5" fmla="*/ 250 h 492"/>
                <a:gd name="T6" fmla="*/ 537 w 537"/>
                <a:gd name="T7" fmla="*/ 227 h 492"/>
                <a:gd name="T8" fmla="*/ 536 w 537"/>
                <a:gd name="T9" fmla="*/ 210 h 492"/>
                <a:gd name="T10" fmla="*/ 534 w 537"/>
                <a:gd name="T11" fmla="*/ 187 h 492"/>
                <a:gd name="T12" fmla="*/ 528 w 537"/>
                <a:gd name="T13" fmla="*/ 166 h 492"/>
                <a:gd name="T14" fmla="*/ 521 w 537"/>
                <a:gd name="T15" fmla="*/ 146 h 492"/>
                <a:gd name="T16" fmla="*/ 510 w 537"/>
                <a:gd name="T17" fmla="*/ 125 h 492"/>
                <a:gd name="T18" fmla="*/ 498 w 537"/>
                <a:gd name="T19" fmla="*/ 106 h 492"/>
                <a:gd name="T20" fmla="*/ 475 w 537"/>
                <a:gd name="T21" fmla="*/ 81 h 492"/>
                <a:gd name="T22" fmla="*/ 438 w 537"/>
                <a:gd name="T23" fmla="*/ 50 h 492"/>
                <a:gd name="T24" fmla="*/ 396 w 537"/>
                <a:gd name="T25" fmla="*/ 27 h 492"/>
                <a:gd name="T26" fmla="*/ 348 w 537"/>
                <a:gd name="T27" fmla="*/ 10 h 492"/>
                <a:gd name="T28" fmla="*/ 296 w 537"/>
                <a:gd name="T29" fmla="*/ 2 h 492"/>
                <a:gd name="T30" fmla="*/ 241 w 537"/>
                <a:gd name="T31" fmla="*/ 2 h 492"/>
                <a:gd name="T32" fmla="*/ 189 w 537"/>
                <a:gd name="T33" fmla="*/ 10 h 492"/>
                <a:gd name="T34" fmla="*/ 140 w 537"/>
                <a:gd name="T35" fmla="*/ 27 h 492"/>
                <a:gd name="T36" fmla="*/ 97 w 537"/>
                <a:gd name="T37" fmla="*/ 52 h 492"/>
                <a:gd name="T38" fmla="*/ 61 w 537"/>
                <a:gd name="T39" fmla="*/ 81 h 492"/>
                <a:gd name="T40" fmla="*/ 39 w 537"/>
                <a:gd name="T41" fmla="*/ 108 h 492"/>
                <a:gd name="T42" fmla="*/ 26 w 537"/>
                <a:gd name="T43" fmla="*/ 127 h 492"/>
                <a:gd name="T44" fmla="*/ 16 w 537"/>
                <a:gd name="T45" fmla="*/ 146 h 492"/>
                <a:gd name="T46" fmla="*/ 8 w 537"/>
                <a:gd name="T47" fmla="*/ 167 h 492"/>
                <a:gd name="T48" fmla="*/ 3 w 537"/>
                <a:gd name="T49" fmla="*/ 188 h 492"/>
                <a:gd name="T50" fmla="*/ 0 w 537"/>
                <a:gd name="T51" fmla="*/ 211 h 492"/>
                <a:gd name="T52" fmla="*/ 1 w 537"/>
                <a:gd name="T53" fmla="*/ 244 h 492"/>
                <a:gd name="T54" fmla="*/ 9 w 537"/>
                <a:gd name="T55" fmla="*/ 286 h 492"/>
                <a:gd name="T56" fmla="*/ 27 w 537"/>
                <a:gd name="T57" fmla="*/ 325 h 492"/>
                <a:gd name="T58" fmla="*/ 52 w 537"/>
                <a:gd name="T59" fmla="*/ 360 h 492"/>
                <a:gd name="T60" fmla="*/ 13 w 537"/>
                <a:gd name="T61" fmla="*/ 474 h 492"/>
                <a:gd name="T62" fmla="*/ 11 w 537"/>
                <a:gd name="T63" fmla="*/ 481 h 492"/>
                <a:gd name="T64" fmla="*/ 14 w 537"/>
                <a:gd name="T65" fmla="*/ 487 h 492"/>
                <a:gd name="T66" fmla="*/ 23 w 537"/>
                <a:gd name="T67" fmla="*/ 492 h 492"/>
                <a:gd name="T68" fmla="*/ 28 w 537"/>
                <a:gd name="T69" fmla="*/ 491 h 492"/>
                <a:gd name="T70" fmla="*/ 191 w 537"/>
                <a:gd name="T71" fmla="*/ 436 h 492"/>
                <a:gd name="T72" fmla="*/ 215 w 537"/>
                <a:gd name="T73" fmla="*/ 442 h 492"/>
                <a:gd name="T74" fmla="*/ 239 w 537"/>
                <a:gd name="T75" fmla="*/ 445 h 492"/>
                <a:gd name="T76" fmla="*/ 255 w 537"/>
                <a:gd name="T77" fmla="*/ 428 h 492"/>
                <a:gd name="T78" fmla="*/ 271 w 537"/>
                <a:gd name="T79" fmla="*/ 391 h 492"/>
                <a:gd name="T80" fmla="*/ 292 w 537"/>
                <a:gd name="T81" fmla="*/ 359 h 492"/>
                <a:gd name="T82" fmla="*/ 320 w 537"/>
                <a:gd name="T83" fmla="*/ 329 h 492"/>
                <a:gd name="T84" fmla="*/ 352 w 537"/>
                <a:gd name="T85" fmla="*/ 305 h 492"/>
                <a:gd name="T86" fmla="*/ 389 w 537"/>
                <a:gd name="T87" fmla="*/ 285 h 492"/>
                <a:gd name="T88" fmla="*/ 429 w 537"/>
                <a:gd name="T89" fmla="*/ 272 h 492"/>
                <a:gd name="T90" fmla="*/ 472 w 537"/>
                <a:gd name="T91" fmla="*/ 26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7" h="492">
                  <a:moveTo>
                    <a:pt x="494" y="263"/>
                  </a:moveTo>
                  <a:lnTo>
                    <a:pt x="505" y="263"/>
                  </a:lnTo>
                  <a:lnTo>
                    <a:pt x="515" y="265"/>
                  </a:lnTo>
                  <a:lnTo>
                    <a:pt x="525" y="266"/>
                  </a:lnTo>
                  <a:lnTo>
                    <a:pt x="535" y="267"/>
                  </a:lnTo>
                  <a:lnTo>
                    <a:pt x="537" y="250"/>
                  </a:lnTo>
                  <a:lnTo>
                    <a:pt x="537" y="236"/>
                  </a:lnTo>
                  <a:lnTo>
                    <a:pt x="537" y="227"/>
                  </a:lnTo>
                  <a:lnTo>
                    <a:pt x="537" y="222"/>
                  </a:lnTo>
                  <a:lnTo>
                    <a:pt x="536" y="210"/>
                  </a:lnTo>
                  <a:lnTo>
                    <a:pt x="535" y="199"/>
                  </a:lnTo>
                  <a:lnTo>
                    <a:pt x="534" y="187"/>
                  </a:lnTo>
                  <a:lnTo>
                    <a:pt x="531" y="177"/>
                  </a:lnTo>
                  <a:lnTo>
                    <a:pt x="528" y="166"/>
                  </a:lnTo>
                  <a:lnTo>
                    <a:pt x="524" y="156"/>
                  </a:lnTo>
                  <a:lnTo>
                    <a:pt x="521" y="146"/>
                  </a:lnTo>
                  <a:lnTo>
                    <a:pt x="516" y="135"/>
                  </a:lnTo>
                  <a:lnTo>
                    <a:pt x="510" y="125"/>
                  </a:lnTo>
                  <a:lnTo>
                    <a:pt x="504" y="116"/>
                  </a:lnTo>
                  <a:lnTo>
                    <a:pt x="498" y="106"/>
                  </a:lnTo>
                  <a:lnTo>
                    <a:pt x="491" y="98"/>
                  </a:lnTo>
                  <a:lnTo>
                    <a:pt x="475" y="81"/>
                  </a:lnTo>
                  <a:lnTo>
                    <a:pt x="457" y="65"/>
                  </a:lnTo>
                  <a:lnTo>
                    <a:pt x="438" y="50"/>
                  </a:lnTo>
                  <a:lnTo>
                    <a:pt x="418" y="39"/>
                  </a:lnTo>
                  <a:lnTo>
                    <a:pt x="396" y="27"/>
                  </a:lnTo>
                  <a:lnTo>
                    <a:pt x="373" y="18"/>
                  </a:lnTo>
                  <a:lnTo>
                    <a:pt x="348" y="10"/>
                  </a:lnTo>
                  <a:lnTo>
                    <a:pt x="322" y="5"/>
                  </a:lnTo>
                  <a:lnTo>
                    <a:pt x="296" y="2"/>
                  </a:lnTo>
                  <a:lnTo>
                    <a:pt x="268" y="0"/>
                  </a:lnTo>
                  <a:lnTo>
                    <a:pt x="241" y="2"/>
                  </a:lnTo>
                  <a:lnTo>
                    <a:pt x="214" y="5"/>
                  </a:lnTo>
                  <a:lnTo>
                    <a:pt x="189" y="10"/>
                  </a:lnTo>
                  <a:lnTo>
                    <a:pt x="164" y="18"/>
                  </a:lnTo>
                  <a:lnTo>
                    <a:pt x="140" y="27"/>
                  </a:lnTo>
                  <a:lnTo>
                    <a:pt x="118" y="39"/>
                  </a:lnTo>
                  <a:lnTo>
                    <a:pt x="97" y="52"/>
                  </a:lnTo>
                  <a:lnTo>
                    <a:pt x="78" y="66"/>
                  </a:lnTo>
                  <a:lnTo>
                    <a:pt x="61" y="81"/>
                  </a:lnTo>
                  <a:lnTo>
                    <a:pt x="46" y="98"/>
                  </a:lnTo>
                  <a:lnTo>
                    <a:pt x="39" y="108"/>
                  </a:lnTo>
                  <a:lnTo>
                    <a:pt x="32" y="116"/>
                  </a:lnTo>
                  <a:lnTo>
                    <a:pt x="26" y="127"/>
                  </a:lnTo>
                  <a:lnTo>
                    <a:pt x="21" y="136"/>
                  </a:lnTo>
                  <a:lnTo>
                    <a:pt x="16" y="146"/>
                  </a:lnTo>
                  <a:lnTo>
                    <a:pt x="11" y="156"/>
                  </a:lnTo>
                  <a:lnTo>
                    <a:pt x="8" y="167"/>
                  </a:lnTo>
                  <a:lnTo>
                    <a:pt x="5" y="178"/>
                  </a:lnTo>
                  <a:lnTo>
                    <a:pt x="3" y="188"/>
                  </a:lnTo>
                  <a:lnTo>
                    <a:pt x="1" y="199"/>
                  </a:lnTo>
                  <a:lnTo>
                    <a:pt x="0" y="211"/>
                  </a:lnTo>
                  <a:lnTo>
                    <a:pt x="0" y="222"/>
                  </a:lnTo>
                  <a:lnTo>
                    <a:pt x="1" y="244"/>
                  </a:lnTo>
                  <a:lnTo>
                    <a:pt x="4" y="266"/>
                  </a:lnTo>
                  <a:lnTo>
                    <a:pt x="9" y="286"/>
                  </a:lnTo>
                  <a:lnTo>
                    <a:pt x="17" y="306"/>
                  </a:lnTo>
                  <a:lnTo>
                    <a:pt x="27" y="325"/>
                  </a:lnTo>
                  <a:lnTo>
                    <a:pt x="39" y="343"/>
                  </a:lnTo>
                  <a:lnTo>
                    <a:pt x="52" y="360"/>
                  </a:lnTo>
                  <a:lnTo>
                    <a:pt x="69" y="374"/>
                  </a:lnTo>
                  <a:lnTo>
                    <a:pt x="13" y="474"/>
                  </a:lnTo>
                  <a:lnTo>
                    <a:pt x="11" y="477"/>
                  </a:lnTo>
                  <a:lnTo>
                    <a:pt x="11" y="481"/>
                  </a:lnTo>
                  <a:lnTo>
                    <a:pt x="13" y="485"/>
                  </a:lnTo>
                  <a:lnTo>
                    <a:pt x="14" y="487"/>
                  </a:lnTo>
                  <a:lnTo>
                    <a:pt x="19" y="491"/>
                  </a:lnTo>
                  <a:lnTo>
                    <a:pt x="23" y="492"/>
                  </a:lnTo>
                  <a:lnTo>
                    <a:pt x="26" y="492"/>
                  </a:lnTo>
                  <a:lnTo>
                    <a:pt x="28" y="491"/>
                  </a:lnTo>
                  <a:lnTo>
                    <a:pt x="179" y="432"/>
                  </a:lnTo>
                  <a:lnTo>
                    <a:pt x="191" y="436"/>
                  </a:lnTo>
                  <a:lnTo>
                    <a:pt x="203" y="439"/>
                  </a:lnTo>
                  <a:lnTo>
                    <a:pt x="215" y="442"/>
                  </a:lnTo>
                  <a:lnTo>
                    <a:pt x="226" y="443"/>
                  </a:lnTo>
                  <a:lnTo>
                    <a:pt x="239" y="445"/>
                  </a:lnTo>
                  <a:lnTo>
                    <a:pt x="251" y="445"/>
                  </a:lnTo>
                  <a:lnTo>
                    <a:pt x="255" y="428"/>
                  </a:lnTo>
                  <a:lnTo>
                    <a:pt x="262" y="408"/>
                  </a:lnTo>
                  <a:lnTo>
                    <a:pt x="271" y="391"/>
                  </a:lnTo>
                  <a:lnTo>
                    <a:pt x="280" y="374"/>
                  </a:lnTo>
                  <a:lnTo>
                    <a:pt x="292" y="359"/>
                  </a:lnTo>
                  <a:lnTo>
                    <a:pt x="305" y="343"/>
                  </a:lnTo>
                  <a:lnTo>
                    <a:pt x="320" y="329"/>
                  </a:lnTo>
                  <a:lnTo>
                    <a:pt x="335" y="317"/>
                  </a:lnTo>
                  <a:lnTo>
                    <a:pt x="352" y="305"/>
                  </a:lnTo>
                  <a:lnTo>
                    <a:pt x="369" y="294"/>
                  </a:lnTo>
                  <a:lnTo>
                    <a:pt x="389" y="285"/>
                  </a:lnTo>
                  <a:lnTo>
                    <a:pt x="409" y="278"/>
                  </a:lnTo>
                  <a:lnTo>
                    <a:pt x="429" y="272"/>
                  </a:lnTo>
                  <a:lnTo>
                    <a:pt x="450" y="267"/>
                  </a:lnTo>
                  <a:lnTo>
                    <a:pt x="472" y="265"/>
                  </a:lnTo>
                  <a:lnTo>
                    <a:pt x="49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986"/>
            <p:cNvSpPr>
              <a:spLocks/>
            </p:cNvSpPr>
            <p:nvPr/>
          </p:nvSpPr>
          <p:spPr bwMode="auto">
            <a:xfrm>
              <a:off x="427001" y="2609850"/>
              <a:ext cx="177800" cy="166688"/>
            </a:xfrm>
            <a:custGeom>
              <a:avLst/>
              <a:gdLst>
                <a:gd name="T0" fmla="*/ 201 w 447"/>
                <a:gd name="T1" fmla="*/ 1 h 420"/>
                <a:gd name="T2" fmla="*/ 158 w 447"/>
                <a:gd name="T3" fmla="*/ 10 h 420"/>
                <a:gd name="T4" fmla="*/ 119 w 447"/>
                <a:gd name="T5" fmla="*/ 24 h 420"/>
                <a:gd name="T6" fmla="*/ 83 w 447"/>
                <a:gd name="T7" fmla="*/ 45 h 420"/>
                <a:gd name="T8" fmla="*/ 52 w 447"/>
                <a:gd name="T9" fmla="*/ 72 h 420"/>
                <a:gd name="T10" fmla="*/ 27 w 447"/>
                <a:gd name="T11" fmla="*/ 102 h 420"/>
                <a:gd name="T12" fmla="*/ 10 w 447"/>
                <a:gd name="T13" fmla="*/ 137 h 420"/>
                <a:gd name="T14" fmla="*/ 1 w 447"/>
                <a:gd name="T15" fmla="*/ 174 h 420"/>
                <a:gd name="T16" fmla="*/ 1 w 447"/>
                <a:gd name="T17" fmla="*/ 204 h 420"/>
                <a:gd name="T18" fmla="*/ 3 w 447"/>
                <a:gd name="T19" fmla="*/ 223 h 420"/>
                <a:gd name="T20" fmla="*/ 9 w 447"/>
                <a:gd name="T21" fmla="*/ 249 h 420"/>
                <a:gd name="T22" fmla="*/ 24 w 447"/>
                <a:gd name="T23" fmla="*/ 280 h 420"/>
                <a:gd name="T24" fmla="*/ 43 w 447"/>
                <a:gd name="T25" fmla="*/ 308 h 420"/>
                <a:gd name="T26" fmla="*/ 66 w 447"/>
                <a:gd name="T27" fmla="*/ 333 h 420"/>
                <a:gd name="T28" fmla="*/ 95 w 447"/>
                <a:gd name="T29" fmla="*/ 355 h 420"/>
                <a:gd name="T30" fmla="*/ 127 w 447"/>
                <a:gd name="T31" fmla="*/ 371 h 420"/>
                <a:gd name="T32" fmla="*/ 162 w 447"/>
                <a:gd name="T33" fmla="*/ 383 h 420"/>
                <a:gd name="T34" fmla="*/ 198 w 447"/>
                <a:gd name="T35" fmla="*/ 390 h 420"/>
                <a:gd name="T36" fmla="*/ 217 w 447"/>
                <a:gd name="T37" fmla="*/ 390 h 420"/>
                <a:gd name="T38" fmla="*/ 228 w 447"/>
                <a:gd name="T39" fmla="*/ 390 h 420"/>
                <a:gd name="T40" fmla="*/ 242 w 447"/>
                <a:gd name="T41" fmla="*/ 389 h 420"/>
                <a:gd name="T42" fmla="*/ 253 w 447"/>
                <a:gd name="T43" fmla="*/ 388 h 420"/>
                <a:gd name="T44" fmla="*/ 264 w 447"/>
                <a:gd name="T45" fmla="*/ 386 h 420"/>
                <a:gd name="T46" fmla="*/ 275 w 447"/>
                <a:gd name="T47" fmla="*/ 383 h 420"/>
                <a:gd name="T48" fmla="*/ 285 w 447"/>
                <a:gd name="T49" fmla="*/ 380 h 420"/>
                <a:gd name="T50" fmla="*/ 297 w 447"/>
                <a:gd name="T51" fmla="*/ 376 h 420"/>
                <a:gd name="T52" fmla="*/ 308 w 447"/>
                <a:gd name="T53" fmla="*/ 375 h 420"/>
                <a:gd name="T54" fmla="*/ 308 w 447"/>
                <a:gd name="T55" fmla="*/ 375 h 420"/>
                <a:gd name="T56" fmla="*/ 421 w 447"/>
                <a:gd name="T57" fmla="*/ 420 h 420"/>
                <a:gd name="T58" fmla="*/ 428 w 447"/>
                <a:gd name="T59" fmla="*/ 419 h 420"/>
                <a:gd name="T60" fmla="*/ 434 w 447"/>
                <a:gd name="T61" fmla="*/ 413 h 420"/>
                <a:gd name="T62" fmla="*/ 435 w 447"/>
                <a:gd name="T63" fmla="*/ 406 h 420"/>
                <a:gd name="T64" fmla="*/ 390 w 447"/>
                <a:gd name="T65" fmla="*/ 318 h 420"/>
                <a:gd name="T66" fmla="*/ 399 w 447"/>
                <a:gd name="T67" fmla="*/ 307 h 420"/>
                <a:gd name="T68" fmla="*/ 405 w 447"/>
                <a:gd name="T69" fmla="*/ 302 h 420"/>
                <a:gd name="T70" fmla="*/ 411 w 447"/>
                <a:gd name="T71" fmla="*/ 294 h 420"/>
                <a:gd name="T72" fmla="*/ 416 w 447"/>
                <a:gd name="T73" fmla="*/ 288 h 420"/>
                <a:gd name="T74" fmla="*/ 421 w 447"/>
                <a:gd name="T75" fmla="*/ 281 h 420"/>
                <a:gd name="T76" fmla="*/ 426 w 447"/>
                <a:gd name="T77" fmla="*/ 274 h 420"/>
                <a:gd name="T78" fmla="*/ 429 w 447"/>
                <a:gd name="T79" fmla="*/ 267 h 420"/>
                <a:gd name="T80" fmla="*/ 434 w 447"/>
                <a:gd name="T81" fmla="*/ 258 h 420"/>
                <a:gd name="T82" fmla="*/ 436 w 447"/>
                <a:gd name="T83" fmla="*/ 252 h 420"/>
                <a:gd name="T84" fmla="*/ 440 w 447"/>
                <a:gd name="T85" fmla="*/ 243 h 420"/>
                <a:gd name="T86" fmla="*/ 441 w 447"/>
                <a:gd name="T87" fmla="*/ 236 h 420"/>
                <a:gd name="T88" fmla="*/ 443 w 447"/>
                <a:gd name="T89" fmla="*/ 227 h 420"/>
                <a:gd name="T90" fmla="*/ 445 w 447"/>
                <a:gd name="T91" fmla="*/ 218 h 420"/>
                <a:gd name="T92" fmla="*/ 446 w 447"/>
                <a:gd name="T93" fmla="*/ 211 h 420"/>
                <a:gd name="T94" fmla="*/ 447 w 447"/>
                <a:gd name="T95" fmla="*/ 194 h 420"/>
                <a:gd name="T96" fmla="*/ 442 w 447"/>
                <a:gd name="T97" fmla="*/ 155 h 420"/>
                <a:gd name="T98" fmla="*/ 429 w 447"/>
                <a:gd name="T99" fmla="*/ 119 h 420"/>
                <a:gd name="T100" fmla="*/ 408 w 447"/>
                <a:gd name="T101" fmla="*/ 87 h 420"/>
                <a:gd name="T102" fmla="*/ 380 w 447"/>
                <a:gd name="T103" fmla="*/ 57 h 420"/>
                <a:gd name="T104" fmla="*/ 347 w 447"/>
                <a:gd name="T105" fmla="*/ 33 h 420"/>
                <a:gd name="T106" fmla="*/ 310 w 447"/>
                <a:gd name="T107" fmla="*/ 16 h 420"/>
                <a:gd name="T108" fmla="*/ 269 w 447"/>
                <a:gd name="T109" fmla="*/ 5 h 420"/>
                <a:gd name="T110" fmla="*/ 223 w 447"/>
                <a:gd name="T111"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7" h="420">
                  <a:moveTo>
                    <a:pt x="223" y="0"/>
                  </a:moveTo>
                  <a:lnTo>
                    <a:pt x="201" y="1"/>
                  </a:lnTo>
                  <a:lnTo>
                    <a:pt x="179" y="4"/>
                  </a:lnTo>
                  <a:lnTo>
                    <a:pt x="158" y="10"/>
                  </a:lnTo>
                  <a:lnTo>
                    <a:pt x="138" y="16"/>
                  </a:lnTo>
                  <a:lnTo>
                    <a:pt x="119" y="24"/>
                  </a:lnTo>
                  <a:lnTo>
                    <a:pt x="100" y="33"/>
                  </a:lnTo>
                  <a:lnTo>
                    <a:pt x="83" y="45"/>
                  </a:lnTo>
                  <a:lnTo>
                    <a:pt x="66" y="57"/>
                  </a:lnTo>
                  <a:lnTo>
                    <a:pt x="52" y="72"/>
                  </a:lnTo>
                  <a:lnTo>
                    <a:pt x="39" y="87"/>
                  </a:lnTo>
                  <a:lnTo>
                    <a:pt x="27" y="102"/>
                  </a:lnTo>
                  <a:lnTo>
                    <a:pt x="18" y="119"/>
                  </a:lnTo>
                  <a:lnTo>
                    <a:pt x="10" y="137"/>
                  </a:lnTo>
                  <a:lnTo>
                    <a:pt x="4" y="155"/>
                  </a:lnTo>
                  <a:lnTo>
                    <a:pt x="1" y="174"/>
                  </a:lnTo>
                  <a:lnTo>
                    <a:pt x="0" y="194"/>
                  </a:lnTo>
                  <a:lnTo>
                    <a:pt x="1" y="204"/>
                  </a:lnTo>
                  <a:lnTo>
                    <a:pt x="1" y="213"/>
                  </a:lnTo>
                  <a:lnTo>
                    <a:pt x="3" y="223"/>
                  </a:lnTo>
                  <a:lnTo>
                    <a:pt x="4" y="232"/>
                  </a:lnTo>
                  <a:lnTo>
                    <a:pt x="9" y="249"/>
                  </a:lnTo>
                  <a:lnTo>
                    <a:pt x="15" y="265"/>
                  </a:lnTo>
                  <a:lnTo>
                    <a:pt x="24" y="280"/>
                  </a:lnTo>
                  <a:lnTo>
                    <a:pt x="32" y="295"/>
                  </a:lnTo>
                  <a:lnTo>
                    <a:pt x="43" y="308"/>
                  </a:lnTo>
                  <a:lnTo>
                    <a:pt x="54" y="321"/>
                  </a:lnTo>
                  <a:lnTo>
                    <a:pt x="66" y="333"/>
                  </a:lnTo>
                  <a:lnTo>
                    <a:pt x="81" y="345"/>
                  </a:lnTo>
                  <a:lnTo>
                    <a:pt x="95" y="355"/>
                  </a:lnTo>
                  <a:lnTo>
                    <a:pt x="110" y="364"/>
                  </a:lnTo>
                  <a:lnTo>
                    <a:pt x="127" y="371"/>
                  </a:lnTo>
                  <a:lnTo>
                    <a:pt x="144" y="378"/>
                  </a:lnTo>
                  <a:lnTo>
                    <a:pt x="162" y="383"/>
                  </a:lnTo>
                  <a:lnTo>
                    <a:pt x="179" y="388"/>
                  </a:lnTo>
                  <a:lnTo>
                    <a:pt x="198" y="390"/>
                  </a:lnTo>
                  <a:lnTo>
                    <a:pt x="217" y="390"/>
                  </a:lnTo>
                  <a:lnTo>
                    <a:pt x="217" y="390"/>
                  </a:lnTo>
                  <a:lnTo>
                    <a:pt x="217" y="390"/>
                  </a:lnTo>
                  <a:lnTo>
                    <a:pt x="228" y="390"/>
                  </a:lnTo>
                  <a:lnTo>
                    <a:pt x="239" y="389"/>
                  </a:lnTo>
                  <a:lnTo>
                    <a:pt x="242" y="389"/>
                  </a:lnTo>
                  <a:lnTo>
                    <a:pt x="246" y="388"/>
                  </a:lnTo>
                  <a:lnTo>
                    <a:pt x="253" y="388"/>
                  </a:lnTo>
                  <a:lnTo>
                    <a:pt x="260" y="387"/>
                  </a:lnTo>
                  <a:lnTo>
                    <a:pt x="264" y="386"/>
                  </a:lnTo>
                  <a:lnTo>
                    <a:pt x="269" y="384"/>
                  </a:lnTo>
                  <a:lnTo>
                    <a:pt x="275" y="383"/>
                  </a:lnTo>
                  <a:lnTo>
                    <a:pt x="280" y="381"/>
                  </a:lnTo>
                  <a:lnTo>
                    <a:pt x="285" y="380"/>
                  </a:lnTo>
                  <a:lnTo>
                    <a:pt x="290" y="378"/>
                  </a:lnTo>
                  <a:lnTo>
                    <a:pt x="297" y="376"/>
                  </a:lnTo>
                  <a:lnTo>
                    <a:pt x="303" y="374"/>
                  </a:lnTo>
                  <a:lnTo>
                    <a:pt x="308" y="375"/>
                  </a:lnTo>
                  <a:lnTo>
                    <a:pt x="308" y="375"/>
                  </a:lnTo>
                  <a:lnTo>
                    <a:pt x="308" y="375"/>
                  </a:lnTo>
                  <a:lnTo>
                    <a:pt x="418" y="419"/>
                  </a:lnTo>
                  <a:lnTo>
                    <a:pt x="421" y="420"/>
                  </a:lnTo>
                  <a:lnTo>
                    <a:pt x="423" y="420"/>
                  </a:lnTo>
                  <a:lnTo>
                    <a:pt x="428" y="419"/>
                  </a:lnTo>
                  <a:lnTo>
                    <a:pt x="432" y="416"/>
                  </a:lnTo>
                  <a:lnTo>
                    <a:pt x="434" y="413"/>
                  </a:lnTo>
                  <a:lnTo>
                    <a:pt x="435" y="409"/>
                  </a:lnTo>
                  <a:lnTo>
                    <a:pt x="435" y="406"/>
                  </a:lnTo>
                  <a:lnTo>
                    <a:pt x="434" y="402"/>
                  </a:lnTo>
                  <a:lnTo>
                    <a:pt x="390" y="318"/>
                  </a:lnTo>
                  <a:lnTo>
                    <a:pt x="395" y="313"/>
                  </a:lnTo>
                  <a:lnTo>
                    <a:pt x="399" y="307"/>
                  </a:lnTo>
                  <a:lnTo>
                    <a:pt x="403" y="305"/>
                  </a:lnTo>
                  <a:lnTo>
                    <a:pt x="405" y="302"/>
                  </a:lnTo>
                  <a:lnTo>
                    <a:pt x="408" y="299"/>
                  </a:lnTo>
                  <a:lnTo>
                    <a:pt x="411" y="294"/>
                  </a:lnTo>
                  <a:lnTo>
                    <a:pt x="414" y="292"/>
                  </a:lnTo>
                  <a:lnTo>
                    <a:pt x="416" y="288"/>
                  </a:lnTo>
                  <a:lnTo>
                    <a:pt x="418" y="284"/>
                  </a:lnTo>
                  <a:lnTo>
                    <a:pt x="421" y="281"/>
                  </a:lnTo>
                  <a:lnTo>
                    <a:pt x="423" y="277"/>
                  </a:lnTo>
                  <a:lnTo>
                    <a:pt x="426" y="274"/>
                  </a:lnTo>
                  <a:lnTo>
                    <a:pt x="428" y="270"/>
                  </a:lnTo>
                  <a:lnTo>
                    <a:pt x="429" y="267"/>
                  </a:lnTo>
                  <a:lnTo>
                    <a:pt x="432" y="263"/>
                  </a:lnTo>
                  <a:lnTo>
                    <a:pt x="434" y="258"/>
                  </a:lnTo>
                  <a:lnTo>
                    <a:pt x="435" y="256"/>
                  </a:lnTo>
                  <a:lnTo>
                    <a:pt x="436" y="252"/>
                  </a:lnTo>
                  <a:lnTo>
                    <a:pt x="437" y="248"/>
                  </a:lnTo>
                  <a:lnTo>
                    <a:pt x="440" y="243"/>
                  </a:lnTo>
                  <a:lnTo>
                    <a:pt x="440" y="239"/>
                  </a:lnTo>
                  <a:lnTo>
                    <a:pt x="441" y="236"/>
                  </a:lnTo>
                  <a:lnTo>
                    <a:pt x="442" y="232"/>
                  </a:lnTo>
                  <a:lnTo>
                    <a:pt x="443" y="227"/>
                  </a:lnTo>
                  <a:lnTo>
                    <a:pt x="445" y="223"/>
                  </a:lnTo>
                  <a:lnTo>
                    <a:pt x="445" y="218"/>
                  </a:lnTo>
                  <a:lnTo>
                    <a:pt x="446" y="214"/>
                  </a:lnTo>
                  <a:lnTo>
                    <a:pt x="446" y="211"/>
                  </a:lnTo>
                  <a:lnTo>
                    <a:pt x="447" y="202"/>
                  </a:lnTo>
                  <a:lnTo>
                    <a:pt x="447" y="194"/>
                  </a:lnTo>
                  <a:lnTo>
                    <a:pt x="446" y="174"/>
                  </a:lnTo>
                  <a:lnTo>
                    <a:pt x="442" y="155"/>
                  </a:lnTo>
                  <a:lnTo>
                    <a:pt x="436" y="137"/>
                  </a:lnTo>
                  <a:lnTo>
                    <a:pt x="429" y="119"/>
                  </a:lnTo>
                  <a:lnTo>
                    <a:pt x="420" y="102"/>
                  </a:lnTo>
                  <a:lnTo>
                    <a:pt x="408" y="87"/>
                  </a:lnTo>
                  <a:lnTo>
                    <a:pt x="396" y="72"/>
                  </a:lnTo>
                  <a:lnTo>
                    <a:pt x="380" y="57"/>
                  </a:lnTo>
                  <a:lnTo>
                    <a:pt x="365" y="45"/>
                  </a:lnTo>
                  <a:lnTo>
                    <a:pt x="347" y="33"/>
                  </a:lnTo>
                  <a:lnTo>
                    <a:pt x="329" y="24"/>
                  </a:lnTo>
                  <a:lnTo>
                    <a:pt x="310" y="16"/>
                  </a:lnTo>
                  <a:lnTo>
                    <a:pt x="289" y="10"/>
                  </a:lnTo>
                  <a:lnTo>
                    <a:pt x="269" y="5"/>
                  </a:lnTo>
                  <a:lnTo>
                    <a:pt x="246" y="1"/>
                  </a:lnTo>
                  <a:lnTo>
                    <a:pt x="223" y="0"/>
                  </a:lnTo>
                  <a:lnTo>
                    <a:pt x="2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6" name="Group 155"/>
          <p:cNvGrpSpPr/>
          <p:nvPr/>
        </p:nvGrpSpPr>
        <p:grpSpPr>
          <a:xfrm>
            <a:off x="10207719" y="3030958"/>
            <a:ext cx="287338" cy="287338"/>
            <a:chOff x="4319588" y="2492375"/>
            <a:chExt cx="287338" cy="287338"/>
          </a:xfrm>
          <a:solidFill>
            <a:schemeClr val="bg1"/>
          </a:solidFill>
        </p:grpSpPr>
        <p:sp>
          <p:nvSpPr>
            <p:cNvPr id="157" name="Freeform 372"/>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373"/>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Slide Number Placeholder 1"/>
          <p:cNvSpPr>
            <a:spLocks noGrp="1"/>
          </p:cNvSpPr>
          <p:nvPr>
            <p:ph type="sldNum" sz="quarter" idx="12"/>
          </p:nvPr>
        </p:nvSpPr>
        <p:spPr/>
        <p:txBody>
          <a:bodyPr/>
          <a:lstStyle/>
          <a:p>
            <a:fld id="{DE156FE7-4276-48C2-8D29-2DA35A3BAE26}" type="slidenum">
              <a:rPr lang="en-US" smtClean="0"/>
              <a:t>18</a:t>
            </a:fld>
            <a:endParaRPr lang="en-US"/>
          </a:p>
        </p:txBody>
      </p:sp>
    </p:spTree>
    <p:extLst>
      <p:ext uri="{BB962C8B-B14F-4D97-AF65-F5344CB8AC3E}">
        <p14:creationId xmlns:p14="http://schemas.microsoft.com/office/powerpoint/2010/main" val="704295429"/>
      </p:ext>
    </p:extLst>
  </p:cSld>
  <p:clrMapOvr>
    <a:masterClrMapping/>
  </p:clrMapOvr>
  <p:transition spd="med">
    <p:pull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6" y="391662"/>
            <a:ext cx="7235459"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COLUMN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CHART ELEMENT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aphicFrame>
        <p:nvGraphicFramePr>
          <p:cNvPr id="4" name="Chart 3"/>
          <p:cNvGraphicFramePr/>
          <p:nvPr>
            <p:extLst>
              <p:ext uri="{D42A27DB-BD31-4B8C-83A1-F6EECF244321}">
                <p14:modId xmlns:p14="http://schemas.microsoft.com/office/powerpoint/2010/main" val="2635106809"/>
              </p:ext>
            </p:extLst>
          </p:nvPr>
        </p:nvGraphicFramePr>
        <p:xfrm>
          <a:off x="965143" y="1814287"/>
          <a:ext cx="10797879" cy="2952656"/>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a:xfrm>
            <a:off x="1177432" y="4910523"/>
            <a:ext cx="1731432" cy="413283"/>
          </a:xfrm>
          <a:prstGeom prst="rect">
            <a:avLst/>
          </a:prstGeom>
        </p:spPr>
        <p:txBody>
          <a:bodyPr vert="horz" lIns="91440" tIns="45720" rIns="91440" bIns="45720" rtlCol="0" anchor="ctr">
            <a:noAutofit/>
          </a:bodyPr>
          <a:lstStyle/>
          <a:p>
            <a:pPr defTabSz="913924">
              <a:spcBef>
                <a:spcPct val="0"/>
              </a:spcBef>
            </a:pPr>
            <a:r>
              <a:rPr lang="da-DK" sz="1600" b="1"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Short Biography</a:t>
            </a:r>
          </a:p>
        </p:txBody>
      </p:sp>
      <p:sp>
        <p:nvSpPr>
          <p:cNvPr id="6" name="Rectangle 5"/>
          <p:cNvSpPr/>
          <p:nvPr/>
        </p:nvSpPr>
        <p:spPr>
          <a:xfrm>
            <a:off x="1177432" y="5459182"/>
            <a:ext cx="10227548" cy="646331"/>
          </a:xfrm>
          <a:prstGeom prst="rect">
            <a:avLst/>
          </a:prstGeom>
        </p:spPr>
        <p:txBody>
          <a:bodyPr wrap="square">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Lorem ipsum dolor sit amet, consectetur adipiscing elit. Nulla imperdiet volutpat dui at fermentum</a:t>
            </a:r>
          </a:p>
        </p:txBody>
      </p:sp>
      <p:sp>
        <p:nvSpPr>
          <p:cNvPr id="3" name="Slide Number Placeholder 2"/>
          <p:cNvSpPr>
            <a:spLocks noGrp="1"/>
          </p:cNvSpPr>
          <p:nvPr>
            <p:ph type="sldNum" sz="quarter" idx="12"/>
          </p:nvPr>
        </p:nvSpPr>
        <p:spPr/>
        <p:txBody>
          <a:bodyPr/>
          <a:lstStyle/>
          <a:p>
            <a:fld id="{DE156FE7-4276-48C2-8D29-2DA35A3BAE26}" type="slidenum">
              <a:rPr lang="en-US" smtClean="0"/>
              <a:t>19</a:t>
            </a:fld>
            <a:endParaRPr lang="en-US"/>
          </a:p>
        </p:txBody>
      </p:sp>
    </p:spTree>
    <p:extLst>
      <p:ext uri="{BB962C8B-B14F-4D97-AF65-F5344CB8AC3E}">
        <p14:creationId xmlns:p14="http://schemas.microsoft.com/office/powerpoint/2010/main" val="1390825591"/>
      </p:ext>
    </p:extLst>
  </p:cSld>
  <p:clrMapOvr>
    <a:masterClrMapping/>
  </p:clrMapOvr>
  <p:transition spd="med">
    <p:pull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8F04DED-2007-4A31-8795-583E69031D70}"/>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9541" b="9541"/>
          <a:stretch>
            <a:fillRect/>
          </a:stretch>
        </p:blipFill>
        <p:spPr/>
      </p:pic>
      <p:sp>
        <p:nvSpPr>
          <p:cNvPr id="26" name="Rectangle 25"/>
          <p:cNvSpPr/>
          <p:nvPr/>
        </p:nvSpPr>
        <p:spPr>
          <a:xfrm rot="16200000" flipV="1">
            <a:off x="-440902" y="673118"/>
            <a:ext cx="6625766" cy="5743985"/>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762000" y="1379318"/>
            <a:ext cx="6179850" cy="723267"/>
          </a:xfrm>
          <a:prstGeom prst="rect">
            <a:avLst/>
          </a:prstGeom>
          <a:noFill/>
        </p:spPr>
        <p:txBody>
          <a:bodyPr wrap="square" lIns="45711" tIns="22856" rIns="45711" bIns="22856" rtlCol="0">
            <a:spAutoFit/>
          </a:bodyPr>
          <a:lstStyle/>
          <a:p>
            <a:r>
              <a:rPr lang="en-US" sz="4400" dirty="0">
                <a:solidFill>
                  <a:schemeClr val="bg1"/>
                </a:solidFill>
                <a:latin typeface="Montserrat" panose="00000500000000000000" pitchFamily="2" charset="0"/>
                <a:cs typeface="Lato Regular"/>
              </a:rPr>
              <a:t>Introduction</a:t>
            </a:r>
            <a:endParaRPr lang="id-ID" sz="4400" dirty="0">
              <a:solidFill>
                <a:schemeClr val="bg1"/>
              </a:solidFill>
              <a:latin typeface="Montserrat" panose="00000500000000000000" pitchFamily="2" charset="0"/>
              <a:cs typeface="Lato Regular"/>
            </a:endParaRPr>
          </a:p>
        </p:txBody>
      </p:sp>
      <p:sp>
        <p:nvSpPr>
          <p:cNvPr id="30" name="Subtitle 2"/>
          <p:cNvSpPr txBox="1">
            <a:spLocks/>
          </p:cNvSpPr>
          <p:nvPr/>
        </p:nvSpPr>
        <p:spPr>
          <a:xfrm>
            <a:off x="762000" y="1984255"/>
            <a:ext cx="5827593" cy="419558"/>
          </a:xfrm>
          <a:prstGeom prst="rect">
            <a:avLst/>
          </a:prstGeom>
        </p:spPr>
        <p:txBody>
          <a:bodyPr vert="horz" lIns="108745" tIns="54373" rIns="108745" bIns="54373"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1400" dirty="0">
                <a:solidFill>
                  <a:schemeClr val="bg1"/>
                </a:solidFill>
                <a:latin typeface="+mj-lt"/>
                <a:cs typeface="Lato Light"/>
              </a:rPr>
              <a:t>Click To Change Your Subtitle</a:t>
            </a:r>
          </a:p>
        </p:txBody>
      </p:sp>
      <p:sp>
        <p:nvSpPr>
          <p:cNvPr id="31" name="Rectangle 30"/>
          <p:cNvSpPr/>
          <p:nvPr/>
        </p:nvSpPr>
        <p:spPr>
          <a:xfrm>
            <a:off x="762000" y="2748788"/>
            <a:ext cx="3751943" cy="1569660"/>
          </a:xfrm>
          <a:prstGeom prst="rect">
            <a:avLst/>
          </a:prstGeom>
        </p:spPr>
        <p:txBody>
          <a:bodyPr wrap="square">
            <a:spAutoFit/>
          </a:bodyPr>
          <a:lstStyle/>
          <a:p>
            <a:r>
              <a:rPr lang="en-US" sz="1200" dirty="0">
                <a:solidFill>
                  <a:schemeClr val="bg1"/>
                </a:solidFill>
              </a:rPr>
              <a:t>Lorem ipsum dolor sit </a:t>
            </a:r>
            <a:r>
              <a:rPr lang="en-US" sz="1200" dirty="0" err="1">
                <a:solidFill>
                  <a:schemeClr val="bg1"/>
                </a:solidFill>
              </a:rPr>
              <a:t>amet</a:t>
            </a:r>
            <a:r>
              <a:rPr lang="en-US" sz="1200" dirty="0">
                <a:solidFill>
                  <a:schemeClr val="bg1"/>
                </a:solidFill>
              </a:rPr>
              <a:t>, </a:t>
            </a:r>
            <a:r>
              <a:rPr lang="en-US" sz="1200" dirty="0" err="1">
                <a:solidFill>
                  <a:schemeClr val="bg1"/>
                </a:solidFill>
              </a:rPr>
              <a:t>consectetur</a:t>
            </a:r>
            <a:r>
              <a:rPr lang="en-US" sz="1200" dirty="0">
                <a:solidFill>
                  <a:schemeClr val="bg1"/>
                </a:solidFill>
              </a:rPr>
              <a:t> </a:t>
            </a:r>
            <a:r>
              <a:rPr lang="en-US" sz="1200" dirty="0" err="1">
                <a:solidFill>
                  <a:schemeClr val="bg1"/>
                </a:solidFill>
              </a:rPr>
              <a:t>adipiscing</a:t>
            </a:r>
            <a:r>
              <a:rPr lang="en-US" sz="1200" dirty="0">
                <a:solidFill>
                  <a:schemeClr val="bg1"/>
                </a:solidFill>
              </a:rPr>
              <a:t> </a:t>
            </a:r>
            <a:r>
              <a:rPr lang="en-US" sz="1200" dirty="0" err="1">
                <a:solidFill>
                  <a:schemeClr val="bg1"/>
                </a:solidFill>
              </a:rPr>
              <a:t>elit</a:t>
            </a:r>
            <a:r>
              <a:rPr lang="en-US" sz="1200" dirty="0">
                <a:solidFill>
                  <a:schemeClr val="bg1"/>
                </a:solidFill>
              </a:rPr>
              <a:t>. </a:t>
            </a:r>
            <a:r>
              <a:rPr lang="en-US" sz="1200" dirty="0" err="1">
                <a:solidFill>
                  <a:schemeClr val="bg1"/>
                </a:solidFill>
              </a:rPr>
              <a:t>Pellentesque</a:t>
            </a:r>
            <a:r>
              <a:rPr lang="en-US" sz="1200" dirty="0">
                <a:solidFill>
                  <a:schemeClr val="bg1"/>
                </a:solidFill>
              </a:rPr>
              <a:t> </a:t>
            </a:r>
            <a:r>
              <a:rPr lang="en-US" sz="1200" dirty="0" err="1">
                <a:solidFill>
                  <a:schemeClr val="bg1"/>
                </a:solidFill>
              </a:rPr>
              <a:t>consequat</a:t>
            </a:r>
            <a:r>
              <a:rPr lang="en-US" sz="1200" dirty="0">
                <a:solidFill>
                  <a:schemeClr val="bg1"/>
                </a:solidFill>
              </a:rPr>
              <a:t> libero tempus </a:t>
            </a:r>
            <a:r>
              <a:rPr lang="en-US" sz="1200" dirty="0" err="1">
                <a:solidFill>
                  <a:schemeClr val="bg1"/>
                </a:solidFill>
              </a:rPr>
              <a:t>felis</a:t>
            </a:r>
            <a:r>
              <a:rPr lang="en-US" sz="1200" dirty="0">
                <a:solidFill>
                  <a:schemeClr val="bg1"/>
                </a:solidFill>
              </a:rPr>
              <a:t> </a:t>
            </a:r>
            <a:r>
              <a:rPr lang="en-US" sz="1200" dirty="0" err="1">
                <a:solidFill>
                  <a:schemeClr val="bg1"/>
                </a:solidFill>
              </a:rPr>
              <a:t>ornare</a:t>
            </a:r>
            <a:r>
              <a:rPr lang="en-US" sz="1200" dirty="0">
                <a:solidFill>
                  <a:schemeClr val="bg1"/>
                </a:solidFill>
              </a:rPr>
              <a:t> maximus. </a:t>
            </a:r>
            <a:r>
              <a:rPr lang="en-US" sz="1200" dirty="0" err="1">
                <a:solidFill>
                  <a:schemeClr val="bg1"/>
                </a:solidFill>
              </a:rPr>
              <a:t>Aliquam</a:t>
            </a:r>
            <a:r>
              <a:rPr lang="en-US" sz="1200" dirty="0">
                <a:solidFill>
                  <a:schemeClr val="bg1"/>
                </a:solidFill>
              </a:rPr>
              <a:t> </a:t>
            </a:r>
            <a:r>
              <a:rPr lang="en-US" sz="1200" dirty="0" err="1">
                <a:solidFill>
                  <a:schemeClr val="bg1"/>
                </a:solidFill>
              </a:rPr>
              <a:t>lobortis</a:t>
            </a:r>
            <a:r>
              <a:rPr lang="en-US" sz="1200" dirty="0">
                <a:solidFill>
                  <a:schemeClr val="bg1"/>
                </a:solidFill>
              </a:rPr>
              <a:t> id </a:t>
            </a:r>
            <a:r>
              <a:rPr lang="en-US" sz="1200" dirty="0" err="1">
                <a:solidFill>
                  <a:schemeClr val="bg1"/>
                </a:solidFill>
              </a:rPr>
              <a:t>leo</a:t>
            </a:r>
            <a:r>
              <a:rPr lang="en-US" sz="1200" dirty="0">
                <a:solidFill>
                  <a:schemeClr val="bg1"/>
                </a:solidFill>
              </a:rPr>
              <a:t> a </a:t>
            </a:r>
            <a:r>
              <a:rPr lang="en-US" sz="1200" dirty="0" err="1">
                <a:solidFill>
                  <a:schemeClr val="bg1"/>
                </a:solidFill>
              </a:rPr>
              <a:t>euismod</a:t>
            </a:r>
            <a:r>
              <a:rPr lang="en-US" sz="1200" dirty="0">
                <a:solidFill>
                  <a:schemeClr val="bg1"/>
                </a:solidFill>
              </a:rPr>
              <a:t>. </a:t>
            </a:r>
            <a:r>
              <a:rPr lang="en-US" sz="1200" dirty="0" err="1">
                <a:solidFill>
                  <a:schemeClr val="bg1"/>
                </a:solidFill>
              </a:rPr>
              <a:t>Phasellus</a:t>
            </a:r>
            <a:r>
              <a:rPr lang="en-US" sz="1200" dirty="0">
                <a:solidFill>
                  <a:schemeClr val="bg1"/>
                </a:solidFill>
              </a:rPr>
              <a:t> </a:t>
            </a:r>
            <a:r>
              <a:rPr lang="en-US" sz="1200" dirty="0" err="1">
                <a:solidFill>
                  <a:schemeClr val="bg1"/>
                </a:solidFill>
              </a:rPr>
              <a:t>euismod</a:t>
            </a:r>
            <a:r>
              <a:rPr lang="en-US" sz="1200" dirty="0">
                <a:solidFill>
                  <a:schemeClr val="bg1"/>
                </a:solidFill>
              </a:rPr>
              <a:t> </a:t>
            </a:r>
            <a:r>
              <a:rPr lang="en-US" sz="1200" dirty="0" err="1">
                <a:solidFill>
                  <a:schemeClr val="bg1"/>
                </a:solidFill>
              </a:rPr>
              <a:t>metus</a:t>
            </a:r>
            <a:r>
              <a:rPr lang="en-US" sz="1200" dirty="0">
                <a:solidFill>
                  <a:schemeClr val="bg1"/>
                </a:solidFill>
              </a:rPr>
              <a:t> sed </a:t>
            </a:r>
            <a:r>
              <a:rPr lang="en-US" sz="1200" dirty="0" err="1">
                <a:solidFill>
                  <a:schemeClr val="bg1"/>
                </a:solidFill>
              </a:rPr>
              <a:t>turpis</a:t>
            </a:r>
            <a:r>
              <a:rPr lang="en-US" sz="1200" dirty="0">
                <a:solidFill>
                  <a:schemeClr val="bg1"/>
                </a:solidFill>
              </a:rPr>
              <a:t> </a:t>
            </a:r>
            <a:r>
              <a:rPr lang="en-US" sz="1200" dirty="0" err="1">
                <a:solidFill>
                  <a:schemeClr val="bg1"/>
                </a:solidFill>
              </a:rPr>
              <a:t>aliquam</a:t>
            </a:r>
            <a:r>
              <a:rPr lang="en-US" sz="1200" dirty="0">
                <a:solidFill>
                  <a:schemeClr val="bg1"/>
                </a:solidFill>
              </a:rPr>
              <a:t> </a:t>
            </a:r>
            <a:r>
              <a:rPr lang="en-US" sz="1200" dirty="0" err="1">
                <a:solidFill>
                  <a:schemeClr val="bg1"/>
                </a:solidFill>
              </a:rPr>
              <a:t>tincidunt</a:t>
            </a:r>
            <a:r>
              <a:rPr lang="en-US" sz="1200" dirty="0">
                <a:solidFill>
                  <a:schemeClr val="bg1"/>
                </a:solidFill>
              </a:rPr>
              <a:t>. Maecenas sed </a:t>
            </a:r>
            <a:r>
              <a:rPr lang="en-US" sz="1200" dirty="0" err="1">
                <a:solidFill>
                  <a:schemeClr val="bg1"/>
                </a:solidFill>
              </a:rPr>
              <a:t>volutpat</a:t>
            </a:r>
            <a:r>
              <a:rPr lang="en-US" sz="1200" dirty="0">
                <a:solidFill>
                  <a:schemeClr val="bg1"/>
                </a:solidFill>
              </a:rPr>
              <a:t> </a:t>
            </a:r>
            <a:r>
              <a:rPr lang="en-US" sz="1200" dirty="0" err="1">
                <a:solidFill>
                  <a:schemeClr val="bg1"/>
                </a:solidFill>
              </a:rPr>
              <a:t>augue</a:t>
            </a:r>
            <a:r>
              <a:rPr lang="en-US" sz="1200" dirty="0">
                <a:solidFill>
                  <a:schemeClr val="bg1"/>
                </a:solidFill>
              </a:rPr>
              <a:t>. Duis </a:t>
            </a:r>
            <a:r>
              <a:rPr lang="en-US" sz="1200" dirty="0" err="1">
                <a:solidFill>
                  <a:schemeClr val="bg1"/>
                </a:solidFill>
              </a:rPr>
              <a:t>posuere</a:t>
            </a:r>
            <a:r>
              <a:rPr lang="en-US" sz="1200" dirty="0">
                <a:solidFill>
                  <a:schemeClr val="bg1"/>
                </a:solidFill>
              </a:rPr>
              <a:t> </a:t>
            </a:r>
            <a:r>
              <a:rPr lang="en-US" sz="1200" dirty="0" err="1">
                <a:solidFill>
                  <a:schemeClr val="bg1"/>
                </a:solidFill>
              </a:rPr>
              <a:t>aliquam</a:t>
            </a:r>
            <a:r>
              <a:rPr lang="en-US" sz="1200" dirty="0">
                <a:solidFill>
                  <a:schemeClr val="bg1"/>
                </a:solidFill>
              </a:rPr>
              <a:t> </a:t>
            </a:r>
            <a:r>
              <a:rPr lang="en-US" sz="1200" dirty="0" err="1">
                <a:solidFill>
                  <a:schemeClr val="bg1"/>
                </a:solidFill>
              </a:rPr>
              <a:t>suscipit</a:t>
            </a:r>
            <a:r>
              <a:rPr lang="en-US" sz="1200" dirty="0">
                <a:solidFill>
                  <a:schemeClr val="bg1"/>
                </a:solidFill>
              </a:rPr>
              <a:t>. </a:t>
            </a:r>
            <a:r>
              <a:rPr lang="en-US" sz="1200" dirty="0" err="1">
                <a:solidFill>
                  <a:schemeClr val="bg1"/>
                </a:solidFill>
              </a:rPr>
              <a:t>Aliquam</a:t>
            </a:r>
            <a:r>
              <a:rPr lang="en-US" sz="1200" dirty="0">
                <a:solidFill>
                  <a:schemeClr val="bg1"/>
                </a:solidFill>
              </a:rPr>
              <a:t> </a:t>
            </a:r>
            <a:r>
              <a:rPr lang="en-US" sz="1200" dirty="0" err="1">
                <a:solidFill>
                  <a:schemeClr val="bg1"/>
                </a:solidFill>
              </a:rPr>
              <a:t>enim</a:t>
            </a:r>
            <a:r>
              <a:rPr lang="en-US" sz="1200" dirty="0">
                <a:solidFill>
                  <a:schemeClr val="bg1"/>
                </a:solidFill>
              </a:rPr>
              <a:t> </a:t>
            </a:r>
            <a:r>
              <a:rPr lang="en-US" sz="1200" dirty="0" err="1">
                <a:solidFill>
                  <a:schemeClr val="bg1"/>
                </a:solidFill>
              </a:rPr>
              <a:t>mauris</a:t>
            </a:r>
            <a:r>
              <a:rPr lang="en-US" sz="1200" dirty="0">
                <a:solidFill>
                  <a:schemeClr val="bg1"/>
                </a:solidFill>
              </a:rPr>
              <a:t>, tempus </a:t>
            </a:r>
            <a:r>
              <a:rPr lang="en-US" sz="1200" dirty="0" err="1">
                <a:solidFill>
                  <a:schemeClr val="bg1"/>
                </a:solidFill>
              </a:rPr>
              <a:t>nec</a:t>
            </a:r>
            <a:r>
              <a:rPr lang="en-US" sz="1200" dirty="0">
                <a:solidFill>
                  <a:schemeClr val="bg1"/>
                </a:solidFill>
              </a:rPr>
              <a:t> </a:t>
            </a:r>
            <a:r>
              <a:rPr lang="en-US" sz="1200" dirty="0" err="1">
                <a:solidFill>
                  <a:schemeClr val="bg1"/>
                </a:solidFill>
              </a:rPr>
              <a:t>quam</a:t>
            </a:r>
            <a:r>
              <a:rPr lang="en-US" sz="1200" dirty="0">
                <a:solidFill>
                  <a:schemeClr val="bg1"/>
                </a:solidFill>
              </a:rPr>
              <a:t> </a:t>
            </a:r>
            <a:r>
              <a:rPr lang="en-US" sz="1200" dirty="0" err="1">
                <a:solidFill>
                  <a:schemeClr val="bg1"/>
                </a:solidFill>
              </a:rPr>
              <a:t>idr</a:t>
            </a:r>
            <a:r>
              <a:rPr lang="en-US" sz="1200" dirty="0">
                <a:solidFill>
                  <a:schemeClr val="bg1"/>
                </a:solidFill>
              </a:rPr>
              <a:t>. </a:t>
            </a:r>
          </a:p>
          <a:p>
            <a:r>
              <a:rPr lang="en-US" sz="1200" dirty="0" err="1">
                <a:solidFill>
                  <a:schemeClr val="bg1"/>
                </a:solidFill>
              </a:rPr>
              <a:t>Fusce</a:t>
            </a:r>
            <a:r>
              <a:rPr lang="en-US" sz="1200" dirty="0">
                <a:solidFill>
                  <a:schemeClr val="bg1"/>
                </a:solidFill>
              </a:rPr>
              <a:t> a </a:t>
            </a:r>
            <a:r>
              <a:rPr lang="en-US" sz="1200" dirty="0" err="1">
                <a:solidFill>
                  <a:schemeClr val="bg1"/>
                </a:solidFill>
              </a:rPr>
              <a:t>metus</a:t>
            </a:r>
            <a:r>
              <a:rPr lang="en-US" sz="1200" dirty="0">
                <a:solidFill>
                  <a:schemeClr val="bg1"/>
                </a:solidFill>
              </a:rPr>
              <a:t> </a:t>
            </a:r>
            <a:r>
              <a:rPr lang="en-US" sz="1200" dirty="0" err="1">
                <a:solidFill>
                  <a:schemeClr val="bg1"/>
                </a:solidFill>
              </a:rPr>
              <a:t>leo</a:t>
            </a:r>
            <a:r>
              <a:rPr lang="en-US" sz="1200" dirty="0">
                <a:solidFill>
                  <a:schemeClr val="bg1"/>
                </a:solidFill>
              </a:rPr>
              <a:t>. Ut </a:t>
            </a:r>
            <a:r>
              <a:rPr lang="en-US" sz="1200" dirty="0" err="1">
                <a:solidFill>
                  <a:schemeClr val="bg1"/>
                </a:solidFill>
              </a:rPr>
              <a:t>dapibus</a:t>
            </a:r>
            <a:r>
              <a:rPr lang="en-US" sz="1200" dirty="0">
                <a:solidFill>
                  <a:schemeClr val="bg1"/>
                </a:solidFill>
              </a:rPr>
              <a:t> </a:t>
            </a:r>
            <a:r>
              <a:rPr lang="en-US" sz="1200" dirty="0" err="1">
                <a:solidFill>
                  <a:schemeClr val="bg1"/>
                </a:solidFill>
              </a:rPr>
              <a:t>est</a:t>
            </a:r>
            <a:r>
              <a:rPr lang="en-US" sz="1200" dirty="0">
                <a:solidFill>
                  <a:schemeClr val="bg1"/>
                </a:solidFill>
              </a:rPr>
              <a:t> </a:t>
            </a:r>
            <a:r>
              <a:rPr lang="en-US" sz="1200" dirty="0" err="1">
                <a:solidFill>
                  <a:schemeClr val="bg1"/>
                </a:solidFill>
              </a:rPr>
              <a:t>quis</a:t>
            </a:r>
            <a:r>
              <a:rPr lang="en-US" sz="1200" dirty="0">
                <a:solidFill>
                  <a:schemeClr val="bg1"/>
                </a:solidFill>
              </a:rPr>
              <a:t> </a:t>
            </a:r>
            <a:r>
              <a:rPr lang="en-US" sz="1200" dirty="0" err="1">
                <a:solidFill>
                  <a:schemeClr val="bg1"/>
                </a:solidFill>
              </a:rPr>
              <a:t>arcu</a:t>
            </a:r>
            <a:r>
              <a:rPr lang="en-US" sz="1200" dirty="0">
                <a:solidFill>
                  <a:schemeClr val="bg1"/>
                </a:solidFill>
              </a:rPr>
              <a:t> </a:t>
            </a:r>
            <a:r>
              <a:rPr lang="en-US" sz="1200" dirty="0" err="1">
                <a:solidFill>
                  <a:schemeClr val="bg1"/>
                </a:solidFill>
              </a:rPr>
              <a:t>faucibus</a:t>
            </a:r>
            <a:r>
              <a:rPr lang="en-US" sz="1200" dirty="0">
                <a:solidFill>
                  <a:schemeClr val="bg1"/>
                </a:solidFill>
              </a:rPr>
              <a:t> </a:t>
            </a:r>
            <a:r>
              <a:rPr lang="en-US" sz="1200" dirty="0" err="1">
                <a:solidFill>
                  <a:schemeClr val="bg1"/>
                </a:solidFill>
              </a:rPr>
              <a:t>sagittis</a:t>
            </a:r>
            <a:r>
              <a:rPr lang="en-US" sz="1200" dirty="0">
                <a:solidFill>
                  <a:schemeClr val="bg1"/>
                </a:solidFill>
              </a:rPr>
              <a:t>. Duis </a:t>
            </a:r>
            <a:r>
              <a:rPr lang="en-US" sz="1200" dirty="0" err="1">
                <a:solidFill>
                  <a:schemeClr val="bg1"/>
                </a:solidFill>
              </a:rPr>
              <a:t>dapibus</a:t>
            </a:r>
            <a:r>
              <a:rPr lang="en-US" sz="1200" dirty="0">
                <a:solidFill>
                  <a:schemeClr val="bg1"/>
                </a:solidFill>
              </a:rPr>
              <a:t> ac </a:t>
            </a:r>
            <a:r>
              <a:rPr lang="en-US" sz="1200" dirty="0" err="1">
                <a:solidFill>
                  <a:schemeClr val="bg1"/>
                </a:solidFill>
              </a:rPr>
              <a:t>nulla</a:t>
            </a:r>
            <a:r>
              <a:rPr lang="en-US" sz="1200" dirty="0">
                <a:solidFill>
                  <a:schemeClr val="bg1"/>
                </a:solidFill>
              </a:rPr>
              <a:t> vitae vestibulum. </a:t>
            </a:r>
            <a:endParaRPr lang="en-US" sz="1200" dirty="0">
              <a:solidFill>
                <a:schemeClr val="bg1"/>
              </a:solidFill>
              <a:effectLst/>
            </a:endParaRPr>
          </a:p>
        </p:txBody>
      </p:sp>
      <p:grpSp>
        <p:nvGrpSpPr>
          <p:cNvPr id="32" name="Group 31"/>
          <p:cNvGrpSpPr/>
          <p:nvPr/>
        </p:nvGrpSpPr>
        <p:grpSpPr>
          <a:xfrm>
            <a:off x="2072862" y="4884077"/>
            <a:ext cx="835163" cy="835163"/>
            <a:chOff x="2072862" y="4884077"/>
            <a:chExt cx="835163" cy="835163"/>
          </a:xfrm>
        </p:grpSpPr>
        <p:sp>
          <p:nvSpPr>
            <p:cNvPr id="33" name="Oval 32"/>
            <p:cNvSpPr/>
            <p:nvPr/>
          </p:nvSpPr>
          <p:spPr>
            <a:xfrm>
              <a:off x="2072862" y="4884077"/>
              <a:ext cx="835163" cy="83516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AutoShape 123"/>
            <p:cNvSpPr>
              <a:spLocks noChangeAspect="1"/>
            </p:cNvSpPr>
            <p:nvPr/>
          </p:nvSpPr>
          <p:spPr bwMode="auto">
            <a:xfrm>
              <a:off x="2292029" y="5115269"/>
              <a:ext cx="392744" cy="43213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bg1"/>
            </a:solidFill>
            <a:ln>
              <a:noFill/>
            </a:ln>
            <a:effectLst/>
          </p:spPr>
          <p:txBody>
            <a:bodyPr lIns="50789" tIns="50789" rIns="50789" bIns="50789" anchor="ctr"/>
            <a:lstStyle/>
            <a:p>
              <a:pPr defTabSz="457098">
                <a:defRPr/>
              </a:pPr>
              <a:endParaRPr lang="es-ES" sz="36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35" name="Group 34"/>
          <p:cNvGrpSpPr/>
          <p:nvPr/>
        </p:nvGrpSpPr>
        <p:grpSpPr>
          <a:xfrm>
            <a:off x="808725" y="4884077"/>
            <a:ext cx="835163" cy="835163"/>
            <a:chOff x="808725" y="4884077"/>
            <a:chExt cx="835163" cy="835163"/>
          </a:xfrm>
        </p:grpSpPr>
        <p:sp>
          <p:nvSpPr>
            <p:cNvPr id="36" name="Oval 35"/>
            <p:cNvSpPr/>
            <p:nvPr/>
          </p:nvSpPr>
          <p:spPr>
            <a:xfrm>
              <a:off x="808725" y="4884077"/>
              <a:ext cx="835163" cy="83516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4681"/>
            <p:cNvGrpSpPr>
              <a:grpSpLocks noChangeAspect="1"/>
            </p:cNvGrpSpPr>
            <p:nvPr/>
          </p:nvGrpSpPr>
          <p:grpSpPr bwMode="auto">
            <a:xfrm>
              <a:off x="1041763" y="5070598"/>
              <a:ext cx="379190" cy="496999"/>
              <a:chOff x="4576763" y="2300287"/>
              <a:chExt cx="276225" cy="361950"/>
            </a:xfrm>
            <a:solidFill>
              <a:schemeClr val="bg1"/>
            </a:solidFill>
          </p:grpSpPr>
          <p:sp>
            <p:nvSpPr>
              <p:cNvPr id="38" name="Freeform 250"/>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 name="T14" fmla="*/ 92 w 336"/>
                  <a:gd name="T15" fmla="*/ 0 h 336"/>
                  <a:gd name="T16" fmla="*/ 92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92" y="0"/>
                    </a:moveTo>
                    <a:lnTo>
                      <a:pt x="0" y="243"/>
                    </a:lnTo>
                    <a:lnTo>
                      <a:pt x="159" y="193"/>
                    </a:lnTo>
                    <a:lnTo>
                      <a:pt x="251" y="335"/>
                    </a:lnTo>
                    <a:lnTo>
                      <a:pt x="335" y="84"/>
                    </a:lnTo>
                    <a:lnTo>
                      <a:pt x="251" y="9"/>
                    </a:lnTo>
                    <a:lnTo>
                      <a:pt x="92" y="0"/>
                    </a:lnTo>
                    <a:close/>
                    <a:moveTo>
                      <a:pt x="92" y="0"/>
                    </a:moveTo>
                    <a:lnTo>
                      <a:pt x="92"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39" name="Freeform 251"/>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92" y="0"/>
                    </a:moveTo>
                    <a:lnTo>
                      <a:pt x="0" y="243"/>
                    </a:lnTo>
                    <a:lnTo>
                      <a:pt x="159" y="193"/>
                    </a:lnTo>
                    <a:lnTo>
                      <a:pt x="251" y="335"/>
                    </a:lnTo>
                    <a:lnTo>
                      <a:pt x="335" y="84"/>
                    </a:lnTo>
                    <a:lnTo>
                      <a:pt x="251" y="9"/>
                    </a:lnTo>
                    <a:lnTo>
                      <a:pt x="92"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0" name="Freeform 252"/>
              <p:cNvSpPr>
                <a:spLocks noChangeArrowheads="1"/>
              </p:cNvSpPr>
              <p:nvPr/>
            </p:nvSpPr>
            <p:spPr bwMode="auto">
              <a:xfrm>
                <a:off x="4610100"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1" name="Freeform 253"/>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 name="T14" fmla="*/ 251 w 336"/>
                  <a:gd name="T15" fmla="*/ 0 h 336"/>
                  <a:gd name="T16" fmla="*/ 251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251" y="0"/>
                    </a:moveTo>
                    <a:lnTo>
                      <a:pt x="84" y="9"/>
                    </a:lnTo>
                    <a:lnTo>
                      <a:pt x="0" y="84"/>
                    </a:lnTo>
                    <a:lnTo>
                      <a:pt x="92" y="335"/>
                    </a:lnTo>
                    <a:lnTo>
                      <a:pt x="176" y="193"/>
                    </a:lnTo>
                    <a:lnTo>
                      <a:pt x="335" y="243"/>
                    </a:lnTo>
                    <a:lnTo>
                      <a:pt x="251" y="0"/>
                    </a:lnTo>
                    <a:close/>
                    <a:moveTo>
                      <a:pt x="251" y="0"/>
                    </a:moveTo>
                    <a:lnTo>
                      <a:pt x="251"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2" name="Freeform 254"/>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251" y="0"/>
                    </a:moveTo>
                    <a:lnTo>
                      <a:pt x="84" y="9"/>
                    </a:lnTo>
                    <a:lnTo>
                      <a:pt x="0" y="84"/>
                    </a:lnTo>
                    <a:lnTo>
                      <a:pt x="92" y="335"/>
                    </a:lnTo>
                    <a:lnTo>
                      <a:pt x="176" y="193"/>
                    </a:lnTo>
                    <a:lnTo>
                      <a:pt x="335" y="243"/>
                    </a:lnTo>
                    <a:lnTo>
                      <a:pt x="251"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3" name="Freeform 255"/>
              <p:cNvSpPr>
                <a:spLocks noChangeArrowheads="1"/>
              </p:cNvSpPr>
              <p:nvPr/>
            </p:nvSpPr>
            <p:spPr bwMode="auto">
              <a:xfrm>
                <a:off x="4822825"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4" name="Freeform 256"/>
              <p:cNvSpPr>
                <a:spLocks noChangeArrowheads="1"/>
              </p:cNvSpPr>
              <p:nvPr/>
            </p:nvSpPr>
            <p:spPr bwMode="auto">
              <a:xfrm>
                <a:off x="4586288" y="2300287"/>
                <a:ext cx="261937" cy="258762"/>
              </a:xfrm>
              <a:custGeom>
                <a:avLst/>
                <a:gdLst>
                  <a:gd name="T0" fmla="*/ 618 w 728"/>
                  <a:gd name="T1" fmla="*/ 619 h 720"/>
                  <a:gd name="T2" fmla="*/ 627 w 728"/>
                  <a:gd name="T3" fmla="*/ 469 h 720"/>
                  <a:gd name="T4" fmla="*/ 727 w 728"/>
                  <a:gd name="T5" fmla="*/ 360 h 720"/>
                  <a:gd name="T6" fmla="*/ 627 w 728"/>
                  <a:gd name="T7" fmla="*/ 251 h 720"/>
                  <a:gd name="T8" fmla="*/ 618 w 728"/>
                  <a:gd name="T9" fmla="*/ 101 h 720"/>
                  <a:gd name="T10" fmla="*/ 468 w 728"/>
                  <a:gd name="T11" fmla="*/ 92 h 720"/>
                  <a:gd name="T12" fmla="*/ 359 w 728"/>
                  <a:gd name="T13" fmla="*/ 0 h 720"/>
                  <a:gd name="T14" fmla="*/ 250 w 728"/>
                  <a:gd name="T15" fmla="*/ 92 h 720"/>
                  <a:gd name="T16" fmla="*/ 100 w 728"/>
                  <a:gd name="T17" fmla="*/ 101 h 720"/>
                  <a:gd name="T18" fmla="*/ 92 w 728"/>
                  <a:gd name="T19" fmla="*/ 251 h 720"/>
                  <a:gd name="T20" fmla="*/ 0 w 728"/>
                  <a:gd name="T21" fmla="*/ 360 h 720"/>
                  <a:gd name="T22" fmla="*/ 92 w 728"/>
                  <a:gd name="T23" fmla="*/ 469 h 720"/>
                  <a:gd name="T24" fmla="*/ 100 w 728"/>
                  <a:gd name="T25" fmla="*/ 619 h 720"/>
                  <a:gd name="T26" fmla="*/ 250 w 728"/>
                  <a:gd name="T27" fmla="*/ 628 h 720"/>
                  <a:gd name="T28" fmla="*/ 359 w 728"/>
                  <a:gd name="T29" fmla="*/ 719 h 720"/>
                  <a:gd name="T30" fmla="*/ 468 w 728"/>
                  <a:gd name="T31" fmla="*/ 628 h 720"/>
                  <a:gd name="T32" fmla="*/ 618 w 728"/>
                  <a:gd name="T33" fmla="*/ 619 h 720"/>
                  <a:gd name="T34" fmla="*/ 359 w 728"/>
                  <a:gd name="T35" fmla="*/ 561 h 720"/>
                  <a:gd name="T36" fmla="*/ 159 w 728"/>
                  <a:gd name="T37" fmla="*/ 360 h 720"/>
                  <a:gd name="T38" fmla="*/ 359 w 728"/>
                  <a:gd name="T39" fmla="*/ 159 h 720"/>
                  <a:gd name="T40" fmla="*/ 560 w 728"/>
                  <a:gd name="T41" fmla="*/ 360 h 720"/>
                  <a:gd name="T42" fmla="*/ 359 w 728"/>
                  <a:gd name="T43" fmla="*/ 561 h 720"/>
                  <a:gd name="T44" fmla="*/ 359 w 728"/>
                  <a:gd name="T45" fmla="*/ 561 h 720"/>
                  <a:gd name="T46" fmla="*/ 359 w 728"/>
                  <a:gd name="T47" fmla="*/ 56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720">
                    <a:moveTo>
                      <a:pt x="618" y="619"/>
                    </a:moveTo>
                    <a:cubicBezTo>
                      <a:pt x="627" y="469"/>
                      <a:pt x="627" y="469"/>
                      <a:pt x="627" y="469"/>
                    </a:cubicBezTo>
                    <a:cubicBezTo>
                      <a:pt x="727" y="360"/>
                      <a:pt x="727" y="360"/>
                      <a:pt x="727" y="360"/>
                    </a:cubicBezTo>
                    <a:cubicBezTo>
                      <a:pt x="627" y="251"/>
                      <a:pt x="627" y="251"/>
                      <a:pt x="627" y="251"/>
                    </a:cubicBezTo>
                    <a:cubicBezTo>
                      <a:pt x="618" y="101"/>
                      <a:pt x="618" y="101"/>
                      <a:pt x="618" y="101"/>
                    </a:cubicBezTo>
                    <a:cubicBezTo>
                      <a:pt x="468" y="92"/>
                      <a:pt x="468" y="92"/>
                      <a:pt x="468" y="92"/>
                    </a:cubicBezTo>
                    <a:cubicBezTo>
                      <a:pt x="359" y="0"/>
                      <a:pt x="359" y="0"/>
                      <a:pt x="359" y="0"/>
                    </a:cubicBezTo>
                    <a:cubicBezTo>
                      <a:pt x="250" y="92"/>
                      <a:pt x="250" y="92"/>
                      <a:pt x="250" y="92"/>
                    </a:cubicBezTo>
                    <a:cubicBezTo>
                      <a:pt x="100" y="101"/>
                      <a:pt x="100" y="101"/>
                      <a:pt x="100" y="101"/>
                    </a:cubicBezTo>
                    <a:cubicBezTo>
                      <a:pt x="92" y="251"/>
                      <a:pt x="92" y="251"/>
                      <a:pt x="92" y="251"/>
                    </a:cubicBezTo>
                    <a:cubicBezTo>
                      <a:pt x="0" y="360"/>
                      <a:pt x="0" y="360"/>
                      <a:pt x="0" y="360"/>
                    </a:cubicBezTo>
                    <a:cubicBezTo>
                      <a:pt x="92" y="469"/>
                      <a:pt x="92" y="469"/>
                      <a:pt x="92" y="469"/>
                    </a:cubicBezTo>
                    <a:cubicBezTo>
                      <a:pt x="100" y="619"/>
                      <a:pt x="100" y="619"/>
                      <a:pt x="100" y="619"/>
                    </a:cubicBezTo>
                    <a:cubicBezTo>
                      <a:pt x="250" y="628"/>
                      <a:pt x="250" y="628"/>
                      <a:pt x="250" y="628"/>
                    </a:cubicBezTo>
                    <a:cubicBezTo>
                      <a:pt x="359" y="719"/>
                      <a:pt x="359" y="719"/>
                      <a:pt x="359" y="719"/>
                    </a:cubicBezTo>
                    <a:cubicBezTo>
                      <a:pt x="468" y="628"/>
                      <a:pt x="468" y="628"/>
                      <a:pt x="468" y="628"/>
                    </a:cubicBezTo>
                    <a:lnTo>
                      <a:pt x="618" y="619"/>
                    </a:lnTo>
                    <a:close/>
                    <a:moveTo>
                      <a:pt x="359" y="561"/>
                    </a:moveTo>
                    <a:cubicBezTo>
                      <a:pt x="250" y="561"/>
                      <a:pt x="159" y="469"/>
                      <a:pt x="159" y="360"/>
                    </a:cubicBezTo>
                    <a:cubicBezTo>
                      <a:pt x="159" y="243"/>
                      <a:pt x="250" y="159"/>
                      <a:pt x="359" y="159"/>
                    </a:cubicBezTo>
                    <a:cubicBezTo>
                      <a:pt x="468" y="159"/>
                      <a:pt x="560" y="243"/>
                      <a:pt x="560" y="360"/>
                    </a:cubicBezTo>
                    <a:cubicBezTo>
                      <a:pt x="560" y="469"/>
                      <a:pt x="468" y="561"/>
                      <a:pt x="359" y="561"/>
                    </a:cubicBezTo>
                    <a:close/>
                    <a:moveTo>
                      <a:pt x="359" y="561"/>
                    </a:moveTo>
                    <a:lnTo>
                      <a:pt x="359" y="561"/>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5" name="Freeform 257"/>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226 h 227"/>
                  <a:gd name="T8" fmla="*/ 101 w 102"/>
                  <a:gd name="T9" fmla="*/ 226 h 227"/>
                  <a:gd name="T10" fmla="*/ 101 w 102"/>
                  <a:gd name="T11" fmla="*/ 0 h 227"/>
                  <a:gd name="T12" fmla="*/ 59 w 102"/>
                  <a:gd name="T13" fmla="*/ 0 h 227"/>
                  <a:gd name="T14" fmla="*/ 0 w 102"/>
                  <a:gd name="T15" fmla="*/ 33 h 227"/>
                  <a:gd name="T16" fmla="*/ 0 w 102"/>
                  <a:gd name="T17" fmla="*/ 33 h 227"/>
                  <a:gd name="T18" fmla="*/ 0 w 102"/>
                  <a:gd name="T19"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27">
                    <a:moveTo>
                      <a:pt x="0" y="33"/>
                    </a:moveTo>
                    <a:lnTo>
                      <a:pt x="9" y="67"/>
                    </a:lnTo>
                    <a:lnTo>
                      <a:pt x="50" y="50"/>
                    </a:lnTo>
                    <a:lnTo>
                      <a:pt x="50" y="226"/>
                    </a:lnTo>
                    <a:lnTo>
                      <a:pt x="101" y="226"/>
                    </a:lnTo>
                    <a:lnTo>
                      <a:pt x="101" y="0"/>
                    </a:lnTo>
                    <a:lnTo>
                      <a:pt x="59" y="0"/>
                    </a:lnTo>
                    <a:lnTo>
                      <a:pt x="0" y="33"/>
                    </a:lnTo>
                    <a:close/>
                    <a:moveTo>
                      <a:pt x="0" y="33"/>
                    </a:moveTo>
                    <a:lnTo>
                      <a:pt x="0" y="33"/>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6" name="Freeform 258"/>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50 h 227"/>
                  <a:gd name="T8" fmla="*/ 50 w 102"/>
                  <a:gd name="T9" fmla="*/ 226 h 227"/>
                  <a:gd name="T10" fmla="*/ 101 w 102"/>
                  <a:gd name="T11" fmla="*/ 226 h 227"/>
                  <a:gd name="T12" fmla="*/ 101 w 102"/>
                  <a:gd name="T13" fmla="*/ 0 h 227"/>
                  <a:gd name="T14" fmla="*/ 59 w 102"/>
                  <a:gd name="T15" fmla="*/ 0 h 227"/>
                  <a:gd name="T16" fmla="*/ 0 w 102"/>
                  <a:gd name="T17"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27">
                    <a:moveTo>
                      <a:pt x="0" y="33"/>
                    </a:moveTo>
                    <a:lnTo>
                      <a:pt x="9" y="67"/>
                    </a:lnTo>
                    <a:lnTo>
                      <a:pt x="50" y="50"/>
                    </a:lnTo>
                    <a:lnTo>
                      <a:pt x="50" y="50"/>
                    </a:lnTo>
                    <a:lnTo>
                      <a:pt x="50" y="226"/>
                    </a:lnTo>
                    <a:lnTo>
                      <a:pt x="101" y="226"/>
                    </a:lnTo>
                    <a:lnTo>
                      <a:pt x="101" y="0"/>
                    </a:lnTo>
                    <a:lnTo>
                      <a:pt x="59" y="0"/>
                    </a:lnTo>
                    <a:lnTo>
                      <a:pt x="0" y="33"/>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47" name="Freeform 259"/>
              <p:cNvSpPr>
                <a:spLocks noChangeArrowheads="1"/>
              </p:cNvSpPr>
              <p:nvPr/>
            </p:nvSpPr>
            <p:spPr bwMode="auto">
              <a:xfrm>
                <a:off x="4691063" y="2400299"/>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grpSp>
      </p:grpSp>
      <p:grpSp>
        <p:nvGrpSpPr>
          <p:cNvPr id="48" name="Group 47"/>
          <p:cNvGrpSpPr/>
          <p:nvPr/>
        </p:nvGrpSpPr>
        <p:grpSpPr>
          <a:xfrm>
            <a:off x="3283230" y="4884077"/>
            <a:ext cx="835163" cy="835163"/>
            <a:chOff x="3283230" y="4884077"/>
            <a:chExt cx="835163" cy="835163"/>
          </a:xfrm>
        </p:grpSpPr>
        <p:sp>
          <p:nvSpPr>
            <p:cNvPr id="49" name="Oval 48"/>
            <p:cNvSpPr/>
            <p:nvPr/>
          </p:nvSpPr>
          <p:spPr>
            <a:xfrm>
              <a:off x="3283230" y="4884077"/>
              <a:ext cx="835163" cy="83516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16"/>
            <p:cNvSpPr>
              <a:spLocks noChangeAspect="1" noChangeArrowheads="1"/>
            </p:cNvSpPr>
            <p:nvPr/>
          </p:nvSpPr>
          <p:spPr bwMode="auto">
            <a:xfrm>
              <a:off x="3556075" y="5070598"/>
              <a:ext cx="303525" cy="476802"/>
            </a:xfrm>
            <a:custGeom>
              <a:avLst/>
              <a:gdLst>
                <a:gd name="T0" fmla="*/ 406 w 657"/>
                <a:gd name="T1" fmla="*/ 947 h 1032"/>
                <a:gd name="T2" fmla="*/ 333 w 657"/>
                <a:gd name="T3" fmla="*/ 1031 h 1032"/>
                <a:gd name="T4" fmla="*/ 250 w 657"/>
                <a:gd name="T5" fmla="*/ 947 h 1032"/>
                <a:gd name="T6" fmla="*/ 448 w 657"/>
                <a:gd name="T7" fmla="*/ 916 h 1032"/>
                <a:gd name="T8" fmla="*/ 198 w 657"/>
                <a:gd name="T9" fmla="*/ 833 h 1032"/>
                <a:gd name="T10" fmla="*/ 656 w 657"/>
                <a:gd name="T11" fmla="*/ 333 h 1032"/>
                <a:gd name="T12" fmla="*/ 562 w 657"/>
                <a:gd name="T13" fmla="*/ 562 h 1032"/>
                <a:gd name="T14" fmla="*/ 531 w 657"/>
                <a:gd name="T15" fmla="*/ 635 h 1032"/>
                <a:gd name="T16" fmla="*/ 500 w 657"/>
                <a:gd name="T17" fmla="*/ 708 h 1032"/>
                <a:gd name="T18" fmla="*/ 500 w 657"/>
                <a:gd name="T19" fmla="*/ 729 h 1032"/>
                <a:gd name="T20" fmla="*/ 166 w 657"/>
                <a:gd name="T21" fmla="*/ 791 h 1032"/>
                <a:gd name="T22" fmla="*/ 156 w 657"/>
                <a:gd name="T23" fmla="*/ 708 h 1032"/>
                <a:gd name="T24" fmla="*/ 135 w 657"/>
                <a:gd name="T25" fmla="*/ 635 h 1032"/>
                <a:gd name="T26" fmla="*/ 93 w 657"/>
                <a:gd name="T27" fmla="*/ 552 h 1032"/>
                <a:gd name="T28" fmla="*/ 0 w 657"/>
                <a:gd name="T29" fmla="*/ 333 h 1032"/>
                <a:gd name="T30" fmla="*/ 333 w 657"/>
                <a:gd name="T31" fmla="*/ 0 h 1032"/>
                <a:gd name="T32" fmla="*/ 656 w 657"/>
                <a:gd name="T33" fmla="*/ 333 h 1032"/>
                <a:gd name="T34" fmla="*/ 510 w 657"/>
                <a:gd name="T35" fmla="*/ 156 h 1032"/>
                <a:gd name="T36" fmla="*/ 156 w 657"/>
                <a:gd name="T37" fmla="*/ 156 h 1032"/>
                <a:gd name="T38" fmla="*/ 146 w 657"/>
                <a:gd name="T39" fmla="*/ 499 h 1032"/>
                <a:gd name="T40" fmla="*/ 166 w 657"/>
                <a:gd name="T41" fmla="*/ 541 h 1032"/>
                <a:gd name="T42" fmla="*/ 229 w 657"/>
                <a:gd name="T43" fmla="*/ 666 h 1032"/>
                <a:gd name="T44" fmla="*/ 427 w 657"/>
                <a:gd name="T45" fmla="*/ 718 h 1032"/>
                <a:gd name="T46" fmla="*/ 458 w 657"/>
                <a:gd name="T47" fmla="*/ 604 h 1032"/>
                <a:gd name="T48" fmla="*/ 510 w 657"/>
                <a:gd name="T49" fmla="*/ 520 h 1032"/>
                <a:gd name="T50" fmla="*/ 583 w 657"/>
                <a:gd name="T51" fmla="*/ 333 h 1032"/>
                <a:gd name="T52" fmla="*/ 354 w 657"/>
                <a:gd name="T53" fmla="*/ 354 h 1032"/>
                <a:gd name="T54" fmla="*/ 302 w 657"/>
                <a:gd name="T55" fmla="*/ 354 h 1032"/>
                <a:gd name="T56" fmla="*/ 239 w 657"/>
                <a:gd name="T57" fmla="*/ 354 h 1032"/>
                <a:gd name="T58" fmla="*/ 250 w 657"/>
                <a:gd name="T59" fmla="*/ 499 h 1032"/>
                <a:gd name="T60" fmla="*/ 302 w 657"/>
                <a:gd name="T61" fmla="*/ 499 h 1032"/>
                <a:gd name="T62" fmla="*/ 364 w 657"/>
                <a:gd name="T63" fmla="*/ 499 h 1032"/>
                <a:gd name="T64" fmla="*/ 416 w 657"/>
                <a:gd name="T65" fmla="*/ 499 h 1032"/>
                <a:gd name="T66" fmla="*/ 427 w 657"/>
                <a:gd name="T67" fmla="*/ 354 h 1032"/>
                <a:gd name="T68" fmla="*/ 385 w 657"/>
                <a:gd name="T69" fmla="*/ 416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032">
                  <a:moveTo>
                    <a:pt x="250" y="947"/>
                  </a:moveTo>
                  <a:cubicBezTo>
                    <a:pt x="406" y="947"/>
                    <a:pt x="406" y="947"/>
                    <a:pt x="406" y="947"/>
                  </a:cubicBezTo>
                  <a:cubicBezTo>
                    <a:pt x="406" y="968"/>
                    <a:pt x="396" y="989"/>
                    <a:pt x="385" y="1010"/>
                  </a:cubicBezTo>
                  <a:cubicBezTo>
                    <a:pt x="364" y="1020"/>
                    <a:pt x="354" y="1031"/>
                    <a:pt x="333" y="1031"/>
                  </a:cubicBezTo>
                  <a:cubicBezTo>
                    <a:pt x="312" y="1031"/>
                    <a:pt x="291" y="1020"/>
                    <a:pt x="281" y="1010"/>
                  </a:cubicBezTo>
                  <a:cubicBezTo>
                    <a:pt x="260" y="989"/>
                    <a:pt x="250" y="968"/>
                    <a:pt x="250" y="947"/>
                  </a:cubicBezTo>
                  <a:close/>
                  <a:moveTo>
                    <a:pt x="208" y="916"/>
                  </a:moveTo>
                  <a:cubicBezTo>
                    <a:pt x="448" y="916"/>
                    <a:pt x="448" y="916"/>
                    <a:pt x="448" y="916"/>
                  </a:cubicBezTo>
                  <a:cubicBezTo>
                    <a:pt x="458" y="833"/>
                    <a:pt x="458" y="833"/>
                    <a:pt x="458" y="833"/>
                  </a:cubicBezTo>
                  <a:cubicBezTo>
                    <a:pt x="198" y="833"/>
                    <a:pt x="198" y="833"/>
                    <a:pt x="198" y="833"/>
                  </a:cubicBezTo>
                  <a:lnTo>
                    <a:pt x="208" y="916"/>
                  </a:lnTo>
                  <a:close/>
                  <a:moveTo>
                    <a:pt x="656" y="333"/>
                  </a:moveTo>
                  <a:cubicBezTo>
                    <a:pt x="656" y="416"/>
                    <a:pt x="625" y="489"/>
                    <a:pt x="573" y="552"/>
                  </a:cubicBezTo>
                  <a:lnTo>
                    <a:pt x="562" y="562"/>
                  </a:lnTo>
                  <a:cubicBezTo>
                    <a:pt x="562" y="562"/>
                    <a:pt x="562" y="572"/>
                    <a:pt x="552" y="572"/>
                  </a:cubicBezTo>
                  <a:cubicBezTo>
                    <a:pt x="541" y="593"/>
                    <a:pt x="541" y="614"/>
                    <a:pt x="531" y="635"/>
                  </a:cubicBezTo>
                  <a:cubicBezTo>
                    <a:pt x="521" y="656"/>
                    <a:pt x="510" y="677"/>
                    <a:pt x="510" y="697"/>
                  </a:cubicBezTo>
                  <a:cubicBezTo>
                    <a:pt x="500" y="697"/>
                    <a:pt x="500" y="697"/>
                    <a:pt x="500" y="708"/>
                  </a:cubicBezTo>
                  <a:lnTo>
                    <a:pt x="500" y="718"/>
                  </a:lnTo>
                  <a:cubicBezTo>
                    <a:pt x="500" y="729"/>
                    <a:pt x="500" y="729"/>
                    <a:pt x="500" y="729"/>
                  </a:cubicBezTo>
                  <a:cubicBezTo>
                    <a:pt x="500" y="791"/>
                    <a:pt x="500" y="791"/>
                    <a:pt x="500" y="791"/>
                  </a:cubicBezTo>
                  <a:cubicBezTo>
                    <a:pt x="166" y="791"/>
                    <a:pt x="166" y="791"/>
                    <a:pt x="166" y="791"/>
                  </a:cubicBezTo>
                  <a:cubicBezTo>
                    <a:pt x="166" y="729"/>
                    <a:pt x="166" y="729"/>
                    <a:pt x="166" y="729"/>
                  </a:cubicBezTo>
                  <a:cubicBezTo>
                    <a:pt x="166" y="718"/>
                    <a:pt x="156" y="718"/>
                    <a:pt x="156" y="708"/>
                  </a:cubicBezTo>
                  <a:lnTo>
                    <a:pt x="156" y="697"/>
                  </a:lnTo>
                  <a:cubicBezTo>
                    <a:pt x="146" y="677"/>
                    <a:pt x="146" y="656"/>
                    <a:pt x="135" y="635"/>
                  </a:cubicBezTo>
                  <a:cubicBezTo>
                    <a:pt x="125" y="614"/>
                    <a:pt x="114" y="593"/>
                    <a:pt x="104" y="572"/>
                  </a:cubicBezTo>
                  <a:cubicBezTo>
                    <a:pt x="93" y="562"/>
                    <a:pt x="93" y="562"/>
                    <a:pt x="93" y="552"/>
                  </a:cubicBezTo>
                  <a:lnTo>
                    <a:pt x="83" y="552"/>
                  </a:lnTo>
                  <a:cubicBezTo>
                    <a:pt x="31" y="489"/>
                    <a:pt x="0" y="416"/>
                    <a:pt x="0" y="333"/>
                  </a:cubicBezTo>
                  <a:cubicBezTo>
                    <a:pt x="0" y="239"/>
                    <a:pt x="31" y="166"/>
                    <a:pt x="104" y="104"/>
                  </a:cubicBezTo>
                  <a:cubicBezTo>
                    <a:pt x="166" y="31"/>
                    <a:pt x="239" y="0"/>
                    <a:pt x="333" y="0"/>
                  </a:cubicBezTo>
                  <a:cubicBezTo>
                    <a:pt x="416" y="0"/>
                    <a:pt x="500" y="31"/>
                    <a:pt x="562" y="104"/>
                  </a:cubicBezTo>
                  <a:cubicBezTo>
                    <a:pt x="625" y="166"/>
                    <a:pt x="656" y="239"/>
                    <a:pt x="656" y="333"/>
                  </a:cubicBezTo>
                  <a:close/>
                  <a:moveTo>
                    <a:pt x="583" y="333"/>
                  </a:moveTo>
                  <a:cubicBezTo>
                    <a:pt x="583" y="260"/>
                    <a:pt x="562" y="198"/>
                    <a:pt x="510" y="156"/>
                  </a:cubicBezTo>
                  <a:cubicBezTo>
                    <a:pt x="458" y="104"/>
                    <a:pt x="396" y="83"/>
                    <a:pt x="333" y="83"/>
                  </a:cubicBezTo>
                  <a:cubicBezTo>
                    <a:pt x="260" y="83"/>
                    <a:pt x="198" y="104"/>
                    <a:pt x="156" y="156"/>
                  </a:cubicBezTo>
                  <a:cubicBezTo>
                    <a:pt x="104" y="198"/>
                    <a:pt x="73" y="260"/>
                    <a:pt x="73" y="333"/>
                  </a:cubicBezTo>
                  <a:cubicBezTo>
                    <a:pt x="73" y="396"/>
                    <a:pt x="93" y="448"/>
                    <a:pt x="146" y="499"/>
                  </a:cubicBezTo>
                  <a:cubicBezTo>
                    <a:pt x="146" y="499"/>
                    <a:pt x="146" y="510"/>
                    <a:pt x="156" y="510"/>
                  </a:cubicBezTo>
                  <a:cubicBezTo>
                    <a:pt x="156" y="520"/>
                    <a:pt x="166" y="531"/>
                    <a:pt x="166" y="541"/>
                  </a:cubicBezTo>
                  <a:cubicBezTo>
                    <a:pt x="177" y="562"/>
                    <a:pt x="187" y="583"/>
                    <a:pt x="198" y="604"/>
                  </a:cubicBezTo>
                  <a:cubicBezTo>
                    <a:pt x="208" y="624"/>
                    <a:pt x="218" y="645"/>
                    <a:pt x="229" y="666"/>
                  </a:cubicBezTo>
                  <a:cubicBezTo>
                    <a:pt x="229" y="697"/>
                    <a:pt x="239" y="708"/>
                    <a:pt x="239" y="718"/>
                  </a:cubicBezTo>
                  <a:cubicBezTo>
                    <a:pt x="427" y="718"/>
                    <a:pt x="427" y="718"/>
                    <a:pt x="427" y="718"/>
                  </a:cubicBezTo>
                  <a:cubicBezTo>
                    <a:pt x="427" y="708"/>
                    <a:pt x="427" y="697"/>
                    <a:pt x="437" y="666"/>
                  </a:cubicBezTo>
                  <a:cubicBezTo>
                    <a:pt x="437" y="645"/>
                    <a:pt x="448" y="624"/>
                    <a:pt x="458" y="604"/>
                  </a:cubicBezTo>
                  <a:cubicBezTo>
                    <a:pt x="468" y="583"/>
                    <a:pt x="479" y="562"/>
                    <a:pt x="489" y="541"/>
                  </a:cubicBezTo>
                  <a:cubicBezTo>
                    <a:pt x="489" y="531"/>
                    <a:pt x="500" y="520"/>
                    <a:pt x="510" y="520"/>
                  </a:cubicBezTo>
                  <a:cubicBezTo>
                    <a:pt x="510" y="510"/>
                    <a:pt x="510" y="499"/>
                    <a:pt x="521" y="499"/>
                  </a:cubicBezTo>
                  <a:cubicBezTo>
                    <a:pt x="562" y="448"/>
                    <a:pt x="583" y="396"/>
                    <a:pt x="583" y="333"/>
                  </a:cubicBezTo>
                  <a:close/>
                  <a:moveTo>
                    <a:pt x="385" y="416"/>
                  </a:moveTo>
                  <a:cubicBezTo>
                    <a:pt x="354" y="354"/>
                    <a:pt x="354" y="354"/>
                    <a:pt x="354" y="354"/>
                  </a:cubicBezTo>
                  <a:cubicBezTo>
                    <a:pt x="333" y="302"/>
                    <a:pt x="333" y="302"/>
                    <a:pt x="333" y="302"/>
                  </a:cubicBezTo>
                  <a:cubicBezTo>
                    <a:pt x="302" y="354"/>
                    <a:pt x="302" y="354"/>
                    <a:pt x="302" y="354"/>
                  </a:cubicBezTo>
                  <a:cubicBezTo>
                    <a:pt x="271" y="416"/>
                    <a:pt x="271" y="416"/>
                    <a:pt x="271" y="416"/>
                  </a:cubicBezTo>
                  <a:cubicBezTo>
                    <a:pt x="239" y="354"/>
                    <a:pt x="239" y="354"/>
                    <a:pt x="239" y="354"/>
                  </a:cubicBezTo>
                  <a:cubicBezTo>
                    <a:pt x="187" y="385"/>
                    <a:pt x="187" y="385"/>
                    <a:pt x="187" y="385"/>
                  </a:cubicBezTo>
                  <a:cubicBezTo>
                    <a:pt x="250" y="499"/>
                    <a:pt x="250" y="499"/>
                    <a:pt x="250" y="499"/>
                  </a:cubicBezTo>
                  <a:cubicBezTo>
                    <a:pt x="271" y="552"/>
                    <a:pt x="271" y="552"/>
                    <a:pt x="271" y="552"/>
                  </a:cubicBezTo>
                  <a:cubicBezTo>
                    <a:pt x="302" y="499"/>
                    <a:pt x="302" y="499"/>
                    <a:pt x="302" y="499"/>
                  </a:cubicBezTo>
                  <a:cubicBezTo>
                    <a:pt x="333" y="437"/>
                    <a:pt x="333" y="437"/>
                    <a:pt x="333" y="437"/>
                  </a:cubicBezTo>
                  <a:cubicBezTo>
                    <a:pt x="364" y="499"/>
                    <a:pt x="364" y="499"/>
                    <a:pt x="364" y="499"/>
                  </a:cubicBezTo>
                  <a:cubicBezTo>
                    <a:pt x="385" y="552"/>
                    <a:pt x="385" y="552"/>
                    <a:pt x="385" y="552"/>
                  </a:cubicBezTo>
                  <a:cubicBezTo>
                    <a:pt x="416" y="499"/>
                    <a:pt x="416" y="499"/>
                    <a:pt x="416" y="499"/>
                  </a:cubicBezTo>
                  <a:cubicBezTo>
                    <a:pt x="479" y="385"/>
                    <a:pt x="479" y="385"/>
                    <a:pt x="479" y="385"/>
                  </a:cubicBezTo>
                  <a:cubicBezTo>
                    <a:pt x="427" y="354"/>
                    <a:pt x="427" y="354"/>
                    <a:pt x="427" y="354"/>
                  </a:cubicBezTo>
                  <a:lnTo>
                    <a:pt x="385" y="416"/>
                  </a:lnTo>
                  <a:close/>
                  <a:moveTo>
                    <a:pt x="385" y="416"/>
                  </a:moveTo>
                  <a:lnTo>
                    <a:pt x="385" y="416"/>
                  </a:lnTo>
                  <a:close/>
                </a:path>
              </a:pathLst>
            </a:custGeom>
            <a:solidFill>
              <a:schemeClr val="bg1"/>
            </a:solidFill>
            <a:ln>
              <a:noFill/>
            </a:ln>
            <a:effectLst/>
          </p:spPr>
          <p:txBody>
            <a:bodyPr wrap="none" lIns="182843" tIns="91422" rIns="182843" bIns="91422" anchor="ctr"/>
            <a:lstStyle/>
            <a:p>
              <a:pPr>
                <a:defRPr/>
              </a:pPr>
              <a:endParaRPr lang="en-US" sz="2400" dirty="0">
                <a:ea typeface="SimSun" charset="0"/>
              </a:endParaRPr>
            </a:p>
          </p:txBody>
        </p:sp>
      </p:grpSp>
      <p:sp>
        <p:nvSpPr>
          <p:cNvPr id="2" name="Slide Number Placeholder 1"/>
          <p:cNvSpPr>
            <a:spLocks noGrp="1"/>
          </p:cNvSpPr>
          <p:nvPr>
            <p:ph type="sldNum" sz="quarter" idx="12"/>
          </p:nvPr>
        </p:nvSpPr>
        <p:spPr/>
        <p:txBody>
          <a:bodyPr/>
          <a:lstStyle/>
          <a:p>
            <a:fld id="{DE156FE7-4276-48C2-8D29-2DA35A3BAE26}" type="slidenum">
              <a:rPr lang="en-US" smtClean="0"/>
              <a:t>2</a:t>
            </a:fld>
            <a:endParaRPr lang="en-US"/>
          </a:p>
        </p:txBody>
      </p:sp>
    </p:spTree>
    <p:extLst>
      <p:ext uri="{BB962C8B-B14F-4D97-AF65-F5344CB8AC3E}">
        <p14:creationId xmlns:p14="http://schemas.microsoft.com/office/powerpoint/2010/main" val="2829817280"/>
      </p:ext>
    </p:extLst>
  </p:cSld>
  <p:clrMapOvr>
    <a:masterClrMapping/>
  </p:clrMapOvr>
  <p:transition spd="med">
    <p:pull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7" y="391662"/>
            <a:ext cx="7703980"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OUR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DATA DRIVEN CHART</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aphicFrame>
        <p:nvGraphicFramePr>
          <p:cNvPr id="4" name="Chart 10"/>
          <p:cNvGraphicFramePr>
            <a:graphicFrameLocks/>
          </p:cNvGraphicFramePr>
          <p:nvPr>
            <p:extLst>
              <p:ext uri="{D42A27DB-BD31-4B8C-83A1-F6EECF244321}">
                <p14:modId xmlns:p14="http://schemas.microsoft.com/office/powerpoint/2010/main" val="3145548690"/>
              </p:ext>
            </p:extLst>
          </p:nvPr>
        </p:nvGraphicFramePr>
        <p:xfrm>
          <a:off x="538698" y="1852864"/>
          <a:ext cx="4899575" cy="3904247"/>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p:cNvSpPr/>
          <p:nvPr/>
        </p:nvSpPr>
        <p:spPr>
          <a:xfrm>
            <a:off x="6239294" y="3901465"/>
            <a:ext cx="5025606" cy="954107"/>
          </a:xfrm>
          <a:prstGeom prst="rect">
            <a:avLst/>
          </a:prstGeom>
        </p:spPr>
        <p:txBody>
          <a:bodyPr wrap="square">
            <a:spAutoFit/>
          </a:bodyPr>
          <a:lstStyle/>
          <a:p>
            <a:pPr algn="just">
              <a:buClr>
                <a:srgbClr val="E24848"/>
              </a:buClr>
              <a:defRPr/>
            </a:pPr>
            <a:r>
              <a:rPr lang="en-US" sz="14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Vivamus tincidunt est a lectus pharetra, placerat adipiscing nisi lacinia. Etiam eget ipsum arcu. Sed eget posuere orci.</a:t>
            </a:r>
          </a:p>
        </p:txBody>
      </p:sp>
      <p:sp>
        <p:nvSpPr>
          <p:cNvPr id="7" name="Rectangle 3"/>
          <p:cNvSpPr txBox="1">
            <a:spLocks noChangeArrowheads="1"/>
          </p:cNvSpPr>
          <p:nvPr/>
        </p:nvSpPr>
        <p:spPr>
          <a:xfrm>
            <a:off x="8074008" y="2525695"/>
            <a:ext cx="3133924" cy="1043995"/>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90" indent="0">
              <a:spcBef>
                <a:spcPts val="0"/>
              </a:spcBef>
              <a:buClr>
                <a:srgbClr val="1D5B2D"/>
              </a:buClr>
              <a:buSzPct val="100000"/>
              <a:buNone/>
            </a:pPr>
            <a:r>
              <a:rPr lang="en-US" b="1" spc="-150" dirty="0">
                <a:solidFill>
                  <a:schemeClr val="tx1">
                    <a:lumMod val="65000"/>
                    <a:lumOff val="35000"/>
                  </a:schemeClr>
                </a:solidFill>
                <a:latin typeface="Montserrat" panose="00000500000000000000" pitchFamily="2" charset="0"/>
                <a:ea typeface="Open Sans" panose="020B0606030504020204" pitchFamily="34" charset="0"/>
                <a:cs typeface="Open Sans" panose="020B0606030504020204" pitchFamily="34" charset="0"/>
              </a:rPr>
              <a:t>Describe the accurate data </a:t>
            </a:r>
            <a:r>
              <a:rPr lang="en-US" spc="-150" dirty="0">
                <a:solidFill>
                  <a:schemeClr val="tx1">
                    <a:lumMod val="65000"/>
                    <a:lumOff val="35000"/>
                  </a:schemeClr>
                </a:solidFill>
                <a:latin typeface="Montserrat" panose="00000500000000000000" pitchFamily="2" charset="0"/>
                <a:ea typeface="Open Sans" panose="020B0606030504020204" pitchFamily="34" charset="0"/>
                <a:cs typeface="Open Sans" panose="020B0606030504020204" pitchFamily="34" charset="0"/>
              </a:rPr>
              <a:t>behind your company</a:t>
            </a:r>
          </a:p>
        </p:txBody>
      </p:sp>
      <p:grpSp>
        <p:nvGrpSpPr>
          <p:cNvPr id="8" name="Group 7"/>
          <p:cNvGrpSpPr/>
          <p:nvPr/>
        </p:nvGrpSpPr>
        <p:grpSpPr>
          <a:xfrm>
            <a:off x="6589487" y="2525695"/>
            <a:ext cx="1175884" cy="1013934"/>
            <a:chOff x="8763000" y="873125"/>
            <a:chExt cx="265113" cy="228600"/>
          </a:xfrm>
          <a:gradFill>
            <a:gsLst>
              <a:gs pos="0">
                <a:schemeClr val="accent1"/>
              </a:gs>
              <a:gs pos="100000">
                <a:schemeClr val="accent2"/>
              </a:gs>
            </a:gsLst>
            <a:lin ang="8100000" scaled="1"/>
          </a:gradFill>
        </p:grpSpPr>
        <p:sp>
          <p:nvSpPr>
            <p:cNvPr id="9" name="Freeform 4348"/>
            <p:cNvSpPr>
              <a:spLocks/>
            </p:cNvSpPr>
            <p:nvPr/>
          </p:nvSpPr>
          <p:spPr bwMode="auto">
            <a:xfrm>
              <a:off x="8763000" y="996950"/>
              <a:ext cx="265113" cy="104775"/>
            </a:xfrm>
            <a:custGeom>
              <a:avLst/>
              <a:gdLst>
                <a:gd name="T0" fmla="*/ 479 w 837"/>
                <a:gd name="T1" fmla="*/ 74 h 329"/>
                <a:gd name="T2" fmla="*/ 478 w 837"/>
                <a:gd name="T3" fmla="*/ 78 h 329"/>
                <a:gd name="T4" fmla="*/ 478 w 837"/>
                <a:gd name="T5" fmla="*/ 81 h 329"/>
                <a:gd name="T6" fmla="*/ 475 w 837"/>
                <a:gd name="T7" fmla="*/ 83 h 329"/>
                <a:gd name="T8" fmla="*/ 474 w 837"/>
                <a:gd name="T9" fmla="*/ 85 h 329"/>
                <a:gd name="T10" fmla="*/ 472 w 837"/>
                <a:gd name="T11" fmla="*/ 87 h 329"/>
                <a:gd name="T12" fmla="*/ 469 w 837"/>
                <a:gd name="T13" fmla="*/ 88 h 329"/>
                <a:gd name="T14" fmla="*/ 467 w 837"/>
                <a:gd name="T15" fmla="*/ 89 h 329"/>
                <a:gd name="T16" fmla="*/ 464 w 837"/>
                <a:gd name="T17" fmla="*/ 89 h 329"/>
                <a:gd name="T18" fmla="*/ 344 w 837"/>
                <a:gd name="T19" fmla="*/ 89 h 329"/>
                <a:gd name="T20" fmla="*/ 341 w 837"/>
                <a:gd name="T21" fmla="*/ 89 h 329"/>
                <a:gd name="T22" fmla="*/ 338 w 837"/>
                <a:gd name="T23" fmla="*/ 88 h 329"/>
                <a:gd name="T24" fmla="*/ 335 w 837"/>
                <a:gd name="T25" fmla="*/ 87 h 329"/>
                <a:gd name="T26" fmla="*/ 333 w 837"/>
                <a:gd name="T27" fmla="*/ 85 h 329"/>
                <a:gd name="T28" fmla="*/ 331 w 837"/>
                <a:gd name="T29" fmla="*/ 83 h 329"/>
                <a:gd name="T30" fmla="*/ 330 w 837"/>
                <a:gd name="T31" fmla="*/ 81 h 329"/>
                <a:gd name="T32" fmla="*/ 329 w 837"/>
                <a:gd name="T33" fmla="*/ 78 h 329"/>
                <a:gd name="T34" fmla="*/ 329 w 837"/>
                <a:gd name="T35" fmla="*/ 74 h 329"/>
                <a:gd name="T36" fmla="*/ 329 w 837"/>
                <a:gd name="T37" fmla="*/ 0 h 329"/>
                <a:gd name="T38" fmla="*/ 0 w 837"/>
                <a:gd name="T39" fmla="*/ 0 h 329"/>
                <a:gd name="T40" fmla="*/ 0 w 837"/>
                <a:gd name="T41" fmla="*/ 314 h 329"/>
                <a:gd name="T42" fmla="*/ 0 w 837"/>
                <a:gd name="T43" fmla="*/ 317 h 329"/>
                <a:gd name="T44" fmla="*/ 1 w 837"/>
                <a:gd name="T45" fmla="*/ 319 h 329"/>
                <a:gd name="T46" fmla="*/ 2 w 837"/>
                <a:gd name="T47" fmla="*/ 323 h 329"/>
                <a:gd name="T48" fmla="*/ 5 w 837"/>
                <a:gd name="T49" fmla="*/ 325 h 329"/>
                <a:gd name="T50" fmla="*/ 7 w 837"/>
                <a:gd name="T51" fmla="*/ 326 h 329"/>
                <a:gd name="T52" fmla="*/ 9 w 837"/>
                <a:gd name="T53" fmla="*/ 328 h 329"/>
                <a:gd name="T54" fmla="*/ 12 w 837"/>
                <a:gd name="T55" fmla="*/ 328 h 329"/>
                <a:gd name="T56" fmla="*/ 14 w 837"/>
                <a:gd name="T57" fmla="*/ 329 h 329"/>
                <a:gd name="T58" fmla="*/ 822 w 837"/>
                <a:gd name="T59" fmla="*/ 329 h 329"/>
                <a:gd name="T60" fmla="*/ 825 w 837"/>
                <a:gd name="T61" fmla="*/ 328 h 329"/>
                <a:gd name="T62" fmla="*/ 828 w 837"/>
                <a:gd name="T63" fmla="*/ 328 h 329"/>
                <a:gd name="T64" fmla="*/ 831 w 837"/>
                <a:gd name="T65" fmla="*/ 326 h 329"/>
                <a:gd name="T66" fmla="*/ 833 w 837"/>
                <a:gd name="T67" fmla="*/ 325 h 329"/>
                <a:gd name="T68" fmla="*/ 835 w 837"/>
                <a:gd name="T69" fmla="*/ 323 h 329"/>
                <a:gd name="T70" fmla="*/ 836 w 837"/>
                <a:gd name="T71" fmla="*/ 319 h 329"/>
                <a:gd name="T72" fmla="*/ 837 w 837"/>
                <a:gd name="T73" fmla="*/ 317 h 329"/>
                <a:gd name="T74" fmla="*/ 837 w 837"/>
                <a:gd name="T75" fmla="*/ 314 h 329"/>
                <a:gd name="T76" fmla="*/ 837 w 837"/>
                <a:gd name="T77" fmla="*/ 0 h 329"/>
                <a:gd name="T78" fmla="*/ 479 w 837"/>
                <a:gd name="T79" fmla="*/ 0 h 329"/>
                <a:gd name="T80" fmla="*/ 479 w 837"/>
                <a:gd name="T81" fmla="*/ 7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7" h="329">
                  <a:moveTo>
                    <a:pt x="479" y="74"/>
                  </a:moveTo>
                  <a:lnTo>
                    <a:pt x="478" y="78"/>
                  </a:lnTo>
                  <a:lnTo>
                    <a:pt x="478" y="81"/>
                  </a:lnTo>
                  <a:lnTo>
                    <a:pt x="475" y="83"/>
                  </a:lnTo>
                  <a:lnTo>
                    <a:pt x="474" y="85"/>
                  </a:lnTo>
                  <a:lnTo>
                    <a:pt x="472" y="87"/>
                  </a:lnTo>
                  <a:lnTo>
                    <a:pt x="469" y="88"/>
                  </a:lnTo>
                  <a:lnTo>
                    <a:pt x="467" y="89"/>
                  </a:lnTo>
                  <a:lnTo>
                    <a:pt x="464" y="89"/>
                  </a:lnTo>
                  <a:lnTo>
                    <a:pt x="344" y="89"/>
                  </a:lnTo>
                  <a:lnTo>
                    <a:pt x="341" y="89"/>
                  </a:lnTo>
                  <a:lnTo>
                    <a:pt x="338" y="88"/>
                  </a:lnTo>
                  <a:lnTo>
                    <a:pt x="335" y="87"/>
                  </a:lnTo>
                  <a:lnTo>
                    <a:pt x="333" y="85"/>
                  </a:lnTo>
                  <a:lnTo>
                    <a:pt x="331" y="83"/>
                  </a:lnTo>
                  <a:lnTo>
                    <a:pt x="330" y="81"/>
                  </a:lnTo>
                  <a:lnTo>
                    <a:pt x="329" y="78"/>
                  </a:lnTo>
                  <a:lnTo>
                    <a:pt x="329" y="74"/>
                  </a:lnTo>
                  <a:lnTo>
                    <a:pt x="329" y="0"/>
                  </a:lnTo>
                  <a:lnTo>
                    <a:pt x="0" y="0"/>
                  </a:lnTo>
                  <a:lnTo>
                    <a:pt x="0" y="314"/>
                  </a:lnTo>
                  <a:lnTo>
                    <a:pt x="0" y="317"/>
                  </a:lnTo>
                  <a:lnTo>
                    <a:pt x="1" y="319"/>
                  </a:lnTo>
                  <a:lnTo>
                    <a:pt x="2" y="323"/>
                  </a:lnTo>
                  <a:lnTo>
                    <a:pt x="5" y="325"/>
                  </a:lnTo>
                  <a:lnTo>
                    <a:pt x="7" y="326"/>
                  </a:lnTo>
                  <a:lnTo>
                    <a:pt x="9" y="328"/>
                  </a:lnTo>
                  <a:lnTo>
                    <a:pt x="12" y="328"/>
                  </a:lnTo>
                  <a:lnTo>
                    <a:pt x="14" y="329"/>
                  </a:lnTo>
                  <a:lnTo>
                    <a:pt x="822" y="329"/>
                  </a:lnTo>
                  <a:lnTo>
                    <a:pt x="825" y="328"/>
                  </a:lnTo>
                  <a:lnTo>
                    <a:pt x="828" y="328"/>
                  </a:lnTo>
                  <a:lnTo>
                    <a:pt x="831" y="326"/>
                  </a:lnTo>
                  <a:lnTo>
                    <a:pt x="833" y="325"/>
                  </a:lnTo>
                  <a:lnTo>
                    <a:pt x="835" y="323"/>
                  </a:lnTo>
                  <a:lnTo>
                    <a:pt x="836" y="319"/>
                  </a:lnTo>
                  <a:lnTo>
                    <a:pt x="837" y="317"/>
                  </a:lnTo>
                  <a:lnTo>
                    <a:pt x="837" y="314"/>
                  </a:lnTo>
                  <a:lnTo>
                    <a:pt x="837" y="0"/>
                  </a:lnTo>
                  <a:lnTo>
                    <a:pt x="479" y="0"/>
                  </a:lnTo>
                  <a:lnTo>
                    <a:pt x="479"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4349"/>
            <p:cNvSpPr>
              <a:spLocks noEditPoints="1"/>
            </p:cNvSpPr>
            <p:nvPr/>
          </p:nvSpPr>
          <p:spPr bwMode="auto">
            <a:xfrm>
              <a:off x="8763000" y="873125"/>
              <a:ext cx="265113" cy="114300"/>
            </a:xfrm>
            <a:custGeom>
              <a:avLst/>
              <a:gdLst>
                <a:gd name="T0" fmla="*/ 272 w 837"/>
                <a:gd name="T1" fmla="*/ 137 h 359"/>
                <a:gd name="T2" fmla="*/ 278 w 837"/>
                <a:gd name="T3" fmla="*/ 114 h 359"/>
                <a:gd name="T4" fmla="*/ 290 w 837"/>
                <a:gd name="T5" fmla="*/ 92 h 359"/>
                <a:gd name="T6" fmla="*/ 304 w 837"/>
                <a:gd name="T7" fmla="*/ 73 h 359"/>
                <a:gd name="T8" fmla="*/ 322 w 837"/>
                <a:gd name="T9" fmla="*/ 57 h 359"/>
                <a:gd name="T10" fmla="*/ 343 w 837"/>
                <a:gd name="T11" fmla="*/ 44 h 359"/>
                <a:gd name="T12" fmla="*/ 365 w 837"/>
                <a:gd name="T13" fmla="*/ 36 h 359"/>
                <a:gd name="T14" fmla="*/ 391 w 837"/>
                <a:gd name="T15" fmla="*/ 30 h 359"/>
                <a:gd name="T16" fmla="*/ 417 w 837"/>
                <a:gd name="T17" fmla="*/ 30 h 359"/>
                <a:gd name="T18" fmla="*/ 441 w 837"/>
                <a:gd name="T19" fmla="*/ 36 h 359"/>
                <a:gd name="T20" fmla="*/ 465 w 837"/>
                <a:gd name="T21" fmla="*/ 44 h 359"/>
                <a:gd name="T22" fmla="*/ 485 w 837"/>
                <a:gd name="T23" fmla="*/ 57 h 359"/>
                <a:gd name="T24" fmla="*/ 502 w 837"/>
                <a:gd name="T25" fmla="*/ 73 h 359"/>
                <a:gd name="T26" fmla="*/ 517 w 837"/>
                <a:gd name="T27" fmla="*/ 92 h 359"/>
                <a:gd name="T28" fmla="*/ 528 w 837"/>
                <a:gd name="T29" fmla="*/ 114 h 359"/>
                <a:gd name="T30" fmla="*/ 535 w 837"/>
                <a:gd name="T31" fmla="*/ 137 h 359"/>
                <a:gd name="T32" fmla="*/ 270 w 837"/>
                <a:gd name="T33" fmla="*/ 149 h 359"/>
                <a:gd name="T34" fmla="*/ 567 w 837"/>
                <a:gd name="T35" fmla="*/ 149 h 359"/>
                <a:gd name="T36" fmla="*/ 562 w 837"/>
                <a:gd name="T37" fmla="*/ 119 h 359"/>
                <a:gd name="T38" fmla="*/ 551 w 837"/>
                <a:gd name="T39" fmla="*/ 91 h 359"/>
                <a:gd name="T40" fmla="*/ 535 w 837"/>
                <a:gd name="T41" fmla="*/ 65 h 359"/>
                <a:gd name="T42" fmla="*/ 515 w 837"/>
                <a:gd name="T43" fmla="*/ 43 h 359"/>
                <a:gd name="T44" fmla="*/ 491 w 837"/>
                <a:gd name="T45" fmla="*/ 25 h 359"/>
                <a:gd name="T46" fmla="*/ 465 w 837"/>
                <a:gd name="T47" fmla="*/ 11 h 359"/>
                <a:gd name="T48" fmla="*/ 436 w 837"/>
                <a:gd name="T49" fmla="*/ 2 h 359"/>
                <a:gd name="T50" fmla="*/ 404 w 837"/>
                <a:gd name="T51" fmla="*/ 0 h 359"/>
                <a:gd name="T52" fmla="*/ 372 w 837"/>
                <a:gd name="T53" fmla="*/ 2 h 359"/>
                <a:gd name="T54" fmla="*/ 343 w 837"/>
                <a:gd name="T55" fmla="*/ 11 h 359"/>
                <a:gd name="T56" fmla="*/ 315 w 837"/>
                <a:gd name="T57" fmla="*/ 25 h 359"/>
                <a:gd name="T58" fmla="*/ 291 w 837"/>
                <a:gd name="T59" fmla="*/ 43 h 359"/>
                <a:gd name="T60" fmla="*/ 272 w 837"/>
                <a:gd name="T61" fmla="*/ 65 h 359"/>
                <a:gd name="T62" fmla="*/ 256 w 837"/>
                <a:gd name="T63" fmla="*/ 91 h 359"/>
                <a:gd name="T64" fmla="*/ 245 w 837"/>
                <a:gd name="T65" fmla="*/ 119 h 359"/>
                <a:gd name="T66" fmla="*/ 240 w 837"/>
                <a:gd name="T67" fmla="*/ 149 h 359"/>
                <a:gd name="T68" fmla="*/ 12 w 837"/>
                <a:gd name="T69" fmla="*/ 150 h 359"/>
                <a:gd name="T70" fmla="*/ 7 w 837"/>
                <a:gd name="T71" fmla="*/ 152 h 359"/>
                <a:gd name="T72" fmla="*/ 2 w 837"/>
                <a:gd name="T73" fmla="*/ 156 h 359"/>
                <a:gd name="T74" fmla="*/ 0 w 837"/>
                <a:gd name="T75" fmla="*/ 162 h 359"/>
                <a:gd name="T76" fmla="*/ 0 w 837"/>
                <a:gd name="T77" fmla="*/ 359 h 359"/>
                <a:gd name="T78" fmla="*/ 329 w 837"/>
                <a:gd name="T79" fmla="*/ 314 h 359"/>
                <a:gd name="T80" fmla="*/ 330 w 837"/>
                <a:gd name="T81" fmla="*/ 308 h 359"/>
                <a:gd name="T82" fmla="*/ 333 w 837"/>
                <a:gd name="T83" fmla="*/ 304 h 359"/>
                <a:gd name="T84" fmla="*/ 338 w 837"/>
                <a:gd name="T85" fmla="*/ 300 h 359"/>
                <a:gd name="T86" fmla="*/ 344 w 837"/>
                <a:gd name="T87" fmla="*/ 299 h 359"/>
                <a:gd name="T88" fmla="*/ 467 w 837"/>
                <a:gd name="T89" fmla="*/ 299 h 359"/>
                <a:gd name="T90" fmla="*/ 472 w 837"/>
                <a:gd name="T91" fmla="*/ 302 h 359"/>
                <a:gd name="T92" fmla="*/ 475 w 837"/>
                <a:gd name="T93" fmla="*/ 306 h 359"/>
                <a:gd name="T94" fmla="*/ 478 w 837"/>
                <a:gd name="T95" fmla="*/ 312 h 359"/>
                <a:gd name="T96" fmla="*/ 479 w 837"/>
                <a:gd name="T97" fmla="*/ 359 h 359"/>
                <a:gd name="T98" fmla="*/ 837 w 837"/>
                <a:gd name="T99" fmla="*/ 164 h 359"/>
                <a:gd name="T100" fmla="*/ 836 w 837"/>
                <a:gd name="T101" fmla="*/ 159 h 359"/>
                <a:gd name="T102" fmla="*/ 833 w 837"/>
                <a:gd name="T103" fmla="*/ 154 h 359"/>
                <a:gd name="T104" fmla="*/ 828 w 837"/>
                <a:gd name="T105" fmla="*/ 151 h 359"/>
                <a:gd name="T106" fmla="*/ 822 w 837"/>
                <a:gd name="T107" fmla="*/ 14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7" h="359">
                  <a:moveTo>
                    <a:pt x="270" y="149"/>
                  </a:moveTo>
                  <a:lnTo>
                    <a:pt x="272" y="137"/>
                  </a:lnTo>
                  <a:lnTo>
                    <a:pt x="274" y="125"/>
                  </a:lnTo>
                  <a:lnTo>
                    <a:pt x="278" y="114"/>
                  </a:lnTo>
                  <a:lnTo>
                    <a:pt x="284" y="102"/>
                  </a:lnTo>
                  <a:lnTo>
                    <a:pt x="290" y="92"/>
                  </a:lnTo>
                  <a:lnTo>
                    <a:pt x="297" y="82"/>
                  </a:lnTo>
                  <a:lnTo>
                    <a:pt x="304" y="73"/>
                  </a:lnTo>
                  <a:lnTo>
                    <a:pt x="313" y="64"/>
                  </a:lnTo>
                  <a:lnTo>
                    <a:pt x="322" y="57"/>
                  </a:lnTo>
                  <a:lnTo>
                    <a:pt x="332" y="49"/>
                  </a:lnTo>
                  <a:lnTo>
                    <a:pt x="343" y="44"/>
                  </a:lnTo>
                  <a:lnTo>
                    <a:pt x="354" y="39"/>
                  </a:lnTo>
                  <a:lnTo>
                    <a:pt x="365" y="36"/>
                  </a:lnTo>
                  <a:lnTo>
                    <a:pt x="378" y="32"/>
                  </a:lnTo>
                  <a:lnTo>
                    <a:pt x="391" y="30"/>
                  </a:lnTo>
                  <a:lnTo>
                    <a:pt x="404" y="30"/>
                  </a:lnTo>
                  <a:lnTo>
                    <a:pt x="417" y="30"/>
                  </a:lnTo>
                  <a:lnTo>
                    <a:pt x="429" y="32"/>
                  </a:lnTo>
                  <a:lnTo>
                    <a:pt x="441" y="36"/>
                  </a:lnTo>
                  <a:lnTo>
                    <a:pt x="453" y="39"/>
                  </a:lnTo>
                  <a:lnTo>
                    <a:pt x="465" y="44"/>
                  </a:lnTo>
                  <a:lnTo>
                    <a:pt x="475" y="49"/>
                  </a:lnTo>
                  <a:lnTo>
                    <a:pt x="485" y="57"/>
                  </a:lnTo>
                  <a:lnTo>
                    <a:pt x="495" y="64"/>
                  </a:lnTo>
                  <a:lnTo>
                    <a:pt x="502" y="73"/>
                  </a:lnTo>
                  <a:lnTo>
                    <a:pt x="511" y="82"/>
                  </a:lnTo>
                  <a:lnTo>
                    <a:pt x="517" y="92"/>
                  </a:lnTo>
                  <a:lnTo>
                    <a:pt x="524" y="102"/>
                  </a:lnTo>
                  <a:lnTo>
                    <a:pt x="528" y="114"/>
                  </a:lnTo>
                  <a:lnTo>
                    <a:pt x="532" y="125"/>
                  </a:lnTo>
                  <a:lnTo>
                    <a:pt x="535" y="137"/>
                  </a:lnTo>
                  <a:lnTo>
                    <a:pt x="537" y="149"/>
                  </a:lnTo>
                  <a:lnTo>
                    <a:pt x="270" y="149"/>
                  </a:lnTo>
                  <a:close/>
                  <a:moveTo>
                    <a:pt x="822" y="149"/>
                  </a:moveTo>
                  <a:lnTo>
                    <a:pt x="567" y="149"/>
                  </a:lnTo>
                  <a:lnTo>
                    <a:pt x="565" y="134"/>
                  </a:lnTo>
                  <a:lnTo>
                    <a:pt x="562" y="119"/>
                  </a:lnTo>
                  <a:lnTo>
                    <a:pt x="557" y="104"/>
                  </a:lnTo>
                  <a:lnTo>
                    <a:pt x="551" y="91"/>
                  </a:lnTo>
                  <a:lnTo>
                    <a:pt x="544" y="77"/>
                  </a:lnTo>
                  <a:lnTo>
                    <a:pt x="535" y="65"/>
                  </a:lnTo>
                  <a:lnTo>
                    <a:pt x="526" y="54"/>
                  </a:lnTo>
                  <a:lnTo>
                    <a:pt x="515" y="43"/>
                  </a:lnTo>
                  <a:lnTo>
                    <a:pt x="504" y="33"/>
                  </a:lnTo>
                  <a:lnTo>
                    <a:pt x="491" y="25"/>
                  </a:lnTo>
                  <a:lnTo>
                    <a:pt x="479" y="17"/>
                  </a:lnTo>
                  <a:lnTo>
                    <a:pt x="465" y="11"/>
                  </a:lnTo>
                  <a:lnTo>
                    <a:pt x="451" y="7"/>
                  </a:lnTo>
                  <a:lnTo>
                    <a:pt x="436" y="2"/>
                  </a:lnTo>
                  <a:lnTo>
                    <a:pt x="420" y="0"/>
                  </a:lnTo>
                  <a:lnTo>
                    <a:pt x="404" y="0"/>
                  </a:lnTo>
                  <a:lnTo>
                    <a:pt x="388" y="0"/>
                  </a:lnTo>
                  <a:lnTo>
                    <a:pt x="372" y="2"/>
                  </a:lnTo>
                  <a:lnTo>
                    <a:pt x="357" y="7"/>
                  </a:lnTo>
                  <a:lnTo>
                    <a:pt x="343" y="11"/>
                  </a:lnTo>
                  <a:lnTo>
                    <a:pt x="329" y="17"/>
                  </a:lnTo>
                  <a:lnTo>
                    <a:pt x="315" y="25"/>
                  </a:lnTo>
                  <a:lnTo>
                    <a:pt x="303" y="33"/>
                  </a:lnTo>
                  <a:lnTo>
                    <a:pt x="291" y="43"/>
                  </a:lnTo>
                  <a:lnTo>
                    <a:pt x="282" y="54"/>
                  </a:lnTo>
                  <a:lnTo>
                    <a:pt x="272" y="65"/>
                  </a:lnTo>
                  <a:lnTo>
                    <a:pt x="264" y="77"/>
                  </a:lnTo>
                  <a:lnTo>
                    <a:pt x="256" y="91"/>
                  </a:lnTo>
                  <a:lnTo>
                    <a:pt x="251" y="104"/>
                  </a:lnTo>
                  <a:lnTo>
                    <a:pt x="245" y="119"/>
                  </a:lnTo>
                  <a:lnTo>
                    <a:pt x="242" y="134"/>
                  </a:lnTo>
                  <a:lnTo>
                    <a:pt x="240" y="149"/>
                  </a:lnTo>
                  <a:lnTo>
                    <a:pt x="14" y="149"/>
                  </a:lnTo>
                  <a:lnTo>
                    <a:pt x="12" y="150"/>
                  </a:lnTo>
                  <a:lnTo>
                    <a:pt x="9" y="151"/>
                  </a:lnTo>
                  <a:lnTo>
                    <a:pt x="7" y="152"/>
                  </a:lnTo>
                  <a:lnTo>
                    <a:pt x="5" y="154"/>
                  </a:lnTo>
                  <a:lnTo>
                    <a:pt x="2" y="156"/>
                  </a:lnTo>
                  <a:lnTo>
                    <a:pt x="1" y="159"/>
                  </a:lnTo>
                  <a:lnTo>
                    <a:pt x="0" y="162"/>
                  </a:lnTo>
                  <a:lnTo>
                    <a:pt x="0" y="164"/>
                  </a:lnTo>
                  <a:lnTo>
                    <a:pt x="0" y="359"/>
                  </a:lnTo>
                  <a:lnTo>
                    <a:pt x="329" y="359"/>
                  </a:lnTo>
                  <a:lnTo>
                    <a:pt x="329" y="314"/>
                  </a:lnTo>
                  <a:lnTo>
                    <a:pt x="329" y="312"/>
                  </a:lnTo>
                  <a:lnTo>
                    <a:pt x="330" y="308"/>
                  </a:lnTo>
                  <a:lnTo>
                    <a:pt x="331" y="306"/>
                  </a:lnTo>
                  <a:lnTo>
                    <a:pt x="333" y="304"/>
                  </a:lnTo>
                  <a:lnTo>
                    <a:pt x="335" y="302"/>
                  </a:lnTo>
                  <a:lnTo>
                    <a:pt x="338" y="300"/>
                  </a:lnTo>
                  <a:lnTo>
                    <a:pt x="341" y="299"/>
                  </a:lnTo>
                  <a:lnTo>
                    <a:pt x="344" y="299"/>
                  </a:lnTo>
                  <a:lnTo>
                    <a:pt x="464" y="299"/>
                  </a:lnTo>
                  <a:lnTo>
                    <a:pt x="467" y="299"/>
                  </a:lnTo>
                  <a:lnTo>
                    <a:pt x="469" y="300"/>
                  </a:lnTo>
                  <a:lnTo>
                    <a:pt x="472" y="302"/>
                  </a:lnTo>
                  <a:lnTo>
                    <a:pt x="474" y="304"/>
                  </a:lnTo>
                  <a:lnTo>
                    <a:pt x="475" y="306"/>
                  </a:lnTo>
                  <a:lnTo>
                    <a:pt x="478" y="308"/>
                  </a:lnTo>
                  <a:lnTo>
                    <a:pt x="478" y="312"/>
                  </a:lnTo>
                  <a:lnTo>
                    <a:pt x="479" y="314"/>
                  </a:lnTo>
                  <a:lnTo>
                    <a:pt x="479" y="359"/>
                  </a:lnTo>
                  <a:lnTo>
                    <a:pt x="837" y="359"/>
                  </a:lnTo>
                  <a:lnTo>
                    <a:pt x="837" y="164"/>
                  </a:lnTo>
                  <a:lnTo>
                    <a:pt x="837" y="162"/>
                  </a:lnTo>
                  <a:lnTo>
                    <a:pt x="836" y="159"/>
                  </a:lnTo>
                  <a:lnTo>
                    <a:pt x="835" y="156"/>
                  </a:lnTo>
                  <a:lnTo>
                    <a:pt x="833" y="154"/>
                  </a:lnTo>
                  <a:lnTo>
                    <a:pt x="831" y="152"/>
                  </a:lnTo>
                  <a:lnTo>
                    <a:pt x="828" y="151"/>
                  </a:lnTo>
                  <a:lnTo>
                    <a:pt x="825" y="150"/>
                  </a:lnTo>
                  <a:lnTo>
                    <a:pt x="82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Slide Number Placeholder 1"/>
          <p:cNvSpPr>
            <a:spLocks noGrp="1"/>
          </p:cNvSpPr>
          <p:nvPr>
            <p:ph type="sldNum" sz="quarter" idx="12"/>
          </p:nvPr>
        </p:nvSpPr>
        <p:spPr/>
        <p:txBody>
          <a:bodyPr/>
          <a:lstStyle/>
          <a:p>
            <a:fld id="{DE156FE7-4276-48C2-8D29-2DA35A3BAE26}" type="slidenum">
              <a:rPr lang="en-US" smtClean="0"/>
              <a:t>20</a:t>
            </a:fld>
            <a:endParaRPr lang="en-US"/>
          </a:p>
        </p:txBody>
      </p:sp>
    </p:spTree>
    <p:extLst>
      <p:ext uri="{BB962C8B-B14F-4D97-AF65-F5344CB8AC3E}">
        <p14:creationId xmlns:p14="http://schemas.microsoft.com/office/powerpoint/2010/main" val="1736047343"/>
      </p:ext>
    </p:extLst>
  </p:cSld>
  <p:clrMapOvr>
    <a:masterClrMapping/>
  </p:clrMapOvr>
  <p:transition spd="med">
    <p:pull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955588203"/>
              </p:ext>
            </p:extLst>
          </p:nvPr>
        </p:nvGraphicFramePr>
        <p:xfrm>
          <a:off x="885373" y="2181672"/>
          <a:ext cx="10579559" cy="2566555"/>
        </p:xfrm>
        <a:graphic>
          <a:graphicData uri="http://schemas.openxmlformats.org/drawingml/2006/chart">
            <c:chart xmlns:c="http://schemas.openxmlformats.org/drawingml/2006/chart" xmlns:r="http://schemas.openxmlformats.org/officeDocument/2006/relationships" r:id="rId4"/>
          </a:graphicData>
        </a:graphic>
      </p:graphicFrame>
      <p:sp>
        <p:nvSpPr>
          <p:cNvPr id="5" name="Oval 4"/>
          <p:cNvSpPr/>
          <p:nvPr/>
        </p:nvSpPr>
        <p:spPr>
          <a:xfrm>
            <a:off x="2330618" y="4202830"/>
            <a:ext cx="759525" cy="759525"/>
          </a:xfrm>
          <a:prstGeom prst="ellipse">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
        <p:nvSpPr>
          <p:cNvPr id="6" name="Oval 5"/>
          <p:cNvSpPr/>
          <p:nvPr/>
        </p:nvSpPr>
        <p:spPr>
          <a:xfrm>
            <a:off x="5818632" y="4202830"/>
            <a:ext cx="759525" cy="759525"/>
          </a:xfrm>
          <a:prstGeom prst="ellipse">
            <a:avLst/>
          </a:prstGeom>
          <a:solidFill>
            <a:schemeClr val="accent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
        <p:nvSpPr>
          <p:cNvPr id="7" name="Oval 6"/>
          <p:cNvSpPr/>
          <p:nvPr/>
        </p:nvSpPr>
        <p:spPr>
          <a:xfrm>
            <a:off x="9281650" y="4202830"/>
            <a:ext cx="759525" cy="759525"/>
          </a:xfrm>
          <a:prstGeom prst="ellipse">
            <a:avLst/>
          </a:prstGeom>
          <a:solidFill>
            <a:schemeClr val="accent3">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
        <p:nvSpPr>
          <p:cNvPr id="8" name="Rectangle 7"/>
          <p:cNvSpPr/>
          <p:nvPr/>
        </p:nvSpPr>
        <p:spPr>
          <a:xfrm>
            <a:off x="1486174" y="5350891"/>
            <a:ext cx="2445494" cy="707886"/>
          </a:xfrm>
          <a:prstGeom prst="rect">
            <a:avLst/>
          </a:prstGeom>
        </p:spPr>
        <p:txBody>
          <a:bodyPr wrap="square">
            <a:spAutoFit/>
          </a:bodyPr>
          <a:lstStyle/>
          <a:p>
            <a:pPr algn="ctr">
              <a:buClr>
                <a:srgbClr val="E24848"/>
              </a:buClr>
            </a:pPr>
            <a:r>
              <a:rPr lang="en-US" sz="1000" noProof="1">
                <a:solidFill>
                  <a:schemeClr val="tx1">
                    <a:lumMod val="75000"/>
                    <a:lumOff val="25000"/>
                  </a:schemeClr>
                </a:solidFill>
                <a:latin typeface="Montserrat" panose="00000500000000000000" pitchFamily="2" charset="0"/>
                <a:cs typeface="Arial" charset="0"/>
              </a:rPr>
              <a:t>Consectetuer adipiscing elit, sed diam nonummy nibh euismod tincidunt ut laoreet dolore magna aliquam erat volutpat.</a:t>
            </a:r>
          </a:p>
        </p:txBody>
      </p:sp>
      <p:sp>
        <p:nvSpPr>
          <p:cNvPr id="9" name="Rectangle 8"/>
          <p:cNvSpPr/>
          <p:nvPr/>
        </p:nvSpPr>
        <p:spPr>
          <a:xfrm>
            <a:off x="1958688" y="5009851"/>
            <a:ext cx="1601721" cy="338554"/>
          </a:xfrm>
          <a:prstGeom prst="rect">
            <a:avLst/>
          </a:prstGeom>
        </p:spPr>
        <p:txBody>
          <a:bodyPr wrap="none">
            <a:spAutoFit/>
          </a:bodyPr>
          <a:lstStyle/>
          <a:p>
            <a:pPr>
              <a:buClr>
                <a:srgbClr val="E24848"/>
              </a:buClr>
            </a:pPr>
            <a:r>
              <a:rPr lang="en-US" sz="1600" b="1" noProof="1">
                <a:solidFill>
                  <a:schemeClr val="accent1"/>
                </a:solidFill>
                <a:latin typeface="Montserrat" panose="00000500000000000000" pitchFamily="2" charset="0"/>
                <a:cs typeface="Arial" charset="0"/>
              </a:rPr>
              <a:t>Lorem ipsum</a:t>
            </a:r>
          </a:p>
        </p:txBody>
      </p:sp>
      <p:sp>
        <p:nvSpPr>
          <p:cNvPr id="10" name="Rectangle 9"/>
          <p:cNvSpPr/>
          <p:nvPr/>
        </p:nvSpPr>
        <p:spPr>
          <a:xfrm>
            <a:off x="4939905" y="5350895"/>
            <a:ext cx="2445494" cy="707886"/>
          </a:xfrm>
          <a:prstGeom prst="rect">
            <a:avLst/>
          </a:prstGeom>
        </p:spPr>
        <p:txBody>
          <a:bodyPr wrap="square">
            <a:spAutoFit/>
          </a:bodyPr>
          <a:lstStyle/>
          <a:p>
            <a:pPr algn="ctr">
              <a:buClr>
                <a:srgbClr val="E24848"/>
              </a:buClr>
            </a:pPr>
            <a:r>
              <a:rPr lang="en-US" sz="1000" noProof="1">
                <a:solidFill>
                  <a:schemeClr val="tx1">
                    <a:lumMod val="75000"/>
                    <a:lumOff val="25000"/>
                  </a:schemeClr>
                </a:solidFill>
                <a:latin typeface="Montserrat" panose="00000500000000000000" pitchFamily="2" charset="0"/>
                <a:cs typeface="Arial" charset="0"/>
              </a:rPr>
              <a:t>Consectetuer adipiscing elit, sed diam nonummy nibh euismod tincidunt ut laoreet dolore magna aliquam erat volutpat.</a:t>
            </a:r>
          </a:p>
        </p:txBody>
      </p:sp>
      <p:sp>
        <p:nvSpPr>
          <p:cNvPr id="11" name="Rectangle 10"/>
          <p:cNvSpPr/>
          <p:nvPr/>
        </p:nvSpPr>
        <p:spPr>
          <a:xfrm>
            <a:off x="5412419" y="5009851"/>
            <a:ext cx="1601721" cy="338554"/>
          </a:xfrm>
          <a:prstGeom prst="rect">
            <a:avLst/>
          </a:prstGeom>
        </p:spPr>
        <p:txBody>
          <a:bodyPr wrap="none">
            <a:spAutoFit/>
          </a:bodyPr>
          <a:lstStyle/>
          <a:p>
            <a:pPr>
              <a:buClr>
                <a:srgbClr val="E24848"/>
              </a:buClr>
            </a:pPr>
            <a:r>
              <a:rPr lang="en-US" sz="1600" b="1" noProof="1">
                <a:solidFill>
                  <a:schemeClr val="accent1"/>
                </a:solidFill>
                <a:latin typeface="Montserrat" panose="00000500000000000000" pitchFamily="2" charset="0"/>
                <a:cs typeface="Arial" charset="0"/>
              </a:rPr>
              <a:t>Lorem ipsum</a:t>
            </a:r>
          </a:p>
        </p:txBody>
      </p:sp>
      <p:sp>
        <p:nvSpPr>
          <p:cNvPr id="12" name="Rectangle 11"/>
          <p:cNvSpPr/>
          <p:nvPr/>
        </p:nvSpPr>
        <p:spPr>
          <a:xfrm>
            <a:off x="8418632" y="5350895"/>
            <a:ext cx="2445494" cy="707886"/>
          </a:xfrm>
          <a:prstGeom prst="rect">
            <a:avLst/>
          </a:prstGeom>
        </p:spPr>
        <p:txBody>
          <a:bodyPr wrap="square">
            <a:spAutoFit/>
          </a:bodyPr>
          <a:lstStyle/>
          <a:p>
            <a:pPr algn="ctr">
              <a:buClr>
                <a:srgbClr val="E24848"/>
              </a:buClr>
            </a:pPr>
            <a:r>
              <a:rPr lang="en-US" sz="1000" noProof="1">
                <a:solidFill>
                  <a:schemeClr val="tx1">
                    <a:lumMod val="75000"/>
                    <a:lumOff val="25000"/>
                  </a:schemeClr>
                </a:solidFill>
                <a:latin typeface="Montserrat" panose="00000500000000000000" pitchFamily="2" charset="0"/>
                <a:cs typeface="Arial" charset="0"/>
              </a:rPr>
              <a:t>Consectetuer adipiscing elit, sed diam nonummy nibh euismod tincidunt ut laoreet dolore magna aliquam erat volutpat.</a:t>
            </a:r>
          </a:p>
        </p:txBody>
      </p:sp>
      <p:sp>
        <p:nvSpPr>
          <p:cNvPr id="13" name="Rectangle 12"/>
          <p:cNvSpPr/>
          <p:nvPr/>
        </p:nvSpPr>
        <p:spPr>
          <a:xfrm>
            <a:off x="8891146" y="5009851"/>
            <a:ext cx="1601721" cy="338554"/>
          </a:xfrm>
          <a:prstGeom prst="rect">
            <a:avLst/>
          </a:prstGeom>
        </p:spPr>
        <p:txBody>
          <a:bodyPr wrap="none">
            <a:spAutoFit/>
          </a:bodyPr>
          <a:lstStyle/>
          <a:p>
            <a:pPr>
              <a:buClr>
                <a:srgbClr val="E24848"/>
              </a:buClr>
            </a:pPr>
            <a:r>
              <a:rPr lang="en-US" sz="1600" b="1" noProof="1">
                <a:solidFill>
                  <a:schemeClr val="accent1"/>
                </a:solidFill>
                <a:latin typeface="Montserrat" panose="00000500000000000000" pitchFamily="2" charset="0"/>
                <a:cs typeface="Arial" charset="0"/>
              </a:rPr>
              <a:t>Lorem ipsum</a:t>
            </a:r>
          </a:p>
        </p:txBody>
      </p:sp>
      <p:grpSp>
        <p:nvGrpSpPr>
          <p:cNvPr id="14" name="Group 13"/>
          <p:cNvGrpSpPr/>
          <p:nvPr/>
        </p:nvGrpSpPr>
        <p:grpSpPr>
          <a:xfrm>
            <a:off x="6166024" y="1641220"/>
            <a:ext cx="1014816" cy="999947"/>
            <a:chOff x="6122486" y="1455858"/>
            <a:chExt cx="720277" cy="709723"/>
          </a:xfrm>
          <a:solidFill>
            <a:schemeClr val="tx1">
              <a:lumMod val="75000"/>
              <a:lumOff val="25000"/>
            </a:schemeClr>
          </a:solidFill>
        </p:grpSpPr>
        <p:sp>
          <p:nvSpPr>
            <p:cNvPr id="15" name="Oval Callout 14"/>
            <p:cNvSpPr/>
            <p:nvPr/>
          </p:nvSpPr>
          <p:spPr>
            <a:xfrm>
              <a:off x="6218215" y="1455858"/>
              <a:ext cx="624548" cy="629930"/>
            </a:xfrm>
            <a:prstGeom prst="wedgeEllipseCallout">
              <a:avLst>
                <a:gd name="adj1" fmla="val -43750"/>
                <a:gd name="adj2" fmla="val 4253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latin typeface="Montserrat" panose="00000500000000000000" pitchFamily="2" charset="0"/>
              </a:endParaRPr>
            </a:p>
          </p:txBody>
        </p:sp>
        <p:sp>
          <p:nvSpPr>
            <p:cNvPr id="16" name="Oval 15"/>
            <p:cNvSpPr/>
            <p:nvPr/>
          </p:nvSpPr>
          <p:spPr>
            <a:xfrm>
              <a:off x="6122486" y="2050959"/>
              <a:ext cx="114622" cy="114622"/>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latin typeface="Montserrat" panose="00000500000000000000" pitchFamily="2" charset="0"/>
              </a:endParaRPr>
            </a:p>
          </p:txBody>
        </p:sp>
        <p:sp>
          <p:nvSpPr>
            <p:cNvPr id="17" name="Rectangle 16"/>
            <p:cNvSpPr/>
            <p:nvPr/>
          </p:nvSpPr>
          <p:spPr>
            <a:xfrm>
              <a:off x="6272314" y="1630185"/>
              <a:ext cx="511077" cy="283982"/>
            </a:xfrm>
            <a:prstGeom prst="rect">
              <a:avLst/>
            </a:prstGeom>
            <a:noFill/>
          </p:spPr>
          <p:txBody>
            <a:bodyPr wrap="none">
              <a:spAutoFit/>
            </a:bodyPr>
            <a:lstStyle/>
            <a:p>
              <a:pPr algn="ctr">
                <a:buClr>
                  <a:srgbClr val="E24848"/>
                </a:buClr>
              </a:pPr>
              <a:r>
                <a:rPr lang="en-US" sz="2000" b="1" noProof="1">
                  <a:solidFill>
                    <a:schemeClr val="bg1"/>
                  </a:solidFill>
                  <a:latin typeface="Montserrat" panose="00000500000000000000" pitchFamily="2" charset="0"/>
                  <a:cs typeface="Arial" charset="0"/>
                </a:rPr>
                <a:t>75%</a:t>
              </a:r>
            </a:p>
          </p:txBody>
        </p:sp>
      </p:grpSp>
      <p:sp>
        <p:nvSpPr>
          <p:cNvPr id="18" name="Rectangle 17"/>
          <p:cNvSpPr/>
          <p:nvPr/>
        </p:nvSpPr>
        <p:spPr>
          <a:xfrm>
            <a:off x="5933436" y="4413315"/>
            <a:ext cx="612668" cy="338554"/>
          </a:xfrm>
          <a:prstGeom prst="rect">
            <a:avLst/>
          </a:prstGeom>
        </p:spPr>
        <p:txBody>
          <a:bodyPr wrap="none">
            <a:spAutoFit/>
          </a:bodyPr>
          <a:lstStyle/>
          <a:p>
            <a:pPr algn="ctr">
              <a:buClr>
                <a:srgbClr val="E24848"/>
              </a:buClr>
            </a:pPr>
            <a:r>
              <a:rPr lang="en-US" sz="1600" b="1" noProof="1">
                <a:solidFill>
                  <a:schemeClr val="bg1"/>
                </a:solidFill>
                <a:latin typeface="Montserrat" panose="00000500000000000000" pitchFamily="2" charset="0"/>
                <a:cs typeface="Arial" charset="0"/>
              </a:rPr>
              <a:t>75%</a:t>
            </a:r>
          </a:p>
        </p:txBody>
      </p:sp>
      <p:sp>
        <p:nvSpPr>
          <p:cNvPr id="19" name="Rectangle 18"/>
          <p:cNvSpPr/>
          <p:nvPr/>
        </p:nvSpPr>
        <p:spPr>
          <a:xfrm>
            <a:off x="9357483" y="4413315"/>
            <a:ext cx="607859" cy="338554"/>
          </a:xfrm>
          <a:prstGeom prst="rect">
            <a:avLst/>
          </a:prstGeom>
        </p:spPr>
        <p:txBody>
          <a:bodyPr wrap="none">
            <a:spAutoFit/>
          </a:bodyPr>
          <a:lstStyle/>
          <a:p>
            <a:pPr algn="ctr">
              <a:buClr>
                <a:srgbClr val="E24848"/>
              </a:buClr>
            </a:pPr>
            <a:r>
              <a:rPr lang="en-US" sz="1600" b="1" noProof="1">
                <a:solidFill>
                  <a:schemeClr val="bg1"/>
                </a:solidFill>
                <a:latin typeface="Montserrat" panose="00000500000000000000" pitchFamily="2" charset="0"/>
                <a:cs typeface="Arial" charset="0"/>
              </a:rPr>
              <a:t>55%</a:t>
            </a:r>
          </a:p>
        </p:txBody>
      </p:sp>
      <p:sp>
        <p:nvSpPr>
          <p:cNvPr id="20" name="Rectangle 19"/>
          <p:cNvSpPr/>
          <p:nvPr/>
        </p:nvSpPr>
        <p:spPr>
          <a:xfrm>
            <a:off x="2466001" y="4413315"/>
            <a:ext cx="607859" cy="338554"/>
          </a:xfrm>
          <a:prstGeom prst="rect">
            <a:avLst/>
          </a:prstGeom>
        </p:spPr>
        <p:txBody>
          <a:bodyPr wrap="none">
            <a:spAutoFit/>
          </a:bodyPr>
          <a:lstStyle/>
          <a:p>
            <a:pPr algn="ctr">
              <a:buClr>
                <a:srgbClr val="E24848"/>
              </a:buClr>
            </a:pPr>
            <a:r>
              <a:rPr lang="en-US" sz="1600" b="1" noProof="1">
                <a:solidFill>
                  <a:schemeClr val="bg1"/>
                </a:solidFill>
                <a:latin typeface="Montserrat" panose="00000500000000000000" pitchFamily="2" charset="0"/>
                <a:cs typeface="Arial" charset="0"/>
              </a:rPr>
              <a:t>25%</a:t>
            </a:r>
          </a:p>
        </p:txBody>
      </p:sp>
      <p:sp>
        <p:nvSpPr>
          <p:cNvPr id="21" name="Rectangle 20"/>
          <p:cNvSpPr/>
          <p:nvPr>
            <p:custDataLst>
              <p:tags r:id="rId1"/>
            </p:custDataLst>
          </p:nvPr>
        </p:nvSpPr>
        <p:spPr>
          <a:xfrm>
            <a:off x="370027" y="391662"/>
            <a:ext cx="7703980"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OUR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DATA DRIVEN CHART</a:t>
            </a:r>
          </a:p>
        </p:txBody>
      </p:sp>
      <p:sp>
        <p:nvSpPr>
          <p:cNvPr id="22" name="Rectangle 21">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ontserrat" panose="00000500000000000000" pitchFamily="2" charset="0"/>
                <a:ea typeface="Open Sans" panose="020B0606030504020204" pitchFamily="34" charset="0"/>
                <a:cs typeface="Open Sans" panose="020B0606030504020204" pitchFamily="34" charset="0"/>
              </a:rPr>
              <a:t>Put Your Great Subtitle Here</a:t>
            </a:r>
          </a:p>
        </p:txBody>
      </p:sp>
      <p:sp>
        <p:nvSpPr>
          <p:cNvPr id="2" name="Slide Number Placeholder 1"/>
          <p:cNvSpPr>
            <a:spLocks noGrp="1"/>
          </p:cNvSpPr>
          <p:nvPr>
            <p:ph type="sldNum" sz="quarter" idx="12"/>
          </p:nvPr>
        </p:nvSpPr>
        <p:spPr/>
        <p:txBody>
          <a:bodyPr/>
          <a:lstStyle/>
          <a:p>
            <a:fld id="{DE156FE7-4276-48C2-8D29-2DA35A3BAE26}" type="slidenum">
              <a:rPr lang="en-US" smtClean="0">
                <a:latin typeface="Montserrat" panose="00000500000000000000" pitchFamily="2" charset="0"/>
              </a:rPr>
              <a:t>21</a:t>
            </a:fld>
            <a:endParaRPr lang="en-US">
              <a:latin typeface="Montserrat" panose="00000500000000000000" pitchFamily="2" charset="0"/>
            </a:endParaRPr>
          </a:p>
        </p:txBody>
      </p:sp>
    </p:spTree>
    <p:extLst>
      <p:ext uri="{BB962C8B-B14F-4D97-AF65-F5344CB8AC3E}">
        <p14:creationId xmlns:p14="http://schemas.microsoft.com/office/powerpoint/2010/main" val="2243331497"/>
      </p:ext>
    </p:extLst>
  </p:cSld>
  <p:clrMapOvr>
    <a:masterClrMapping/>
  </p:clrMapOvr>
  <p:transition spd="med">
    <p:pull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ORLD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MAP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pSp>
        <p:nvGrpSpPr>
          <p:cNvPr id="4" name="Group 3"/>
          <p:cNvGrpSpPr/>
          <p:nvPr/>
        </p:nvGrpSpPr>
        <p:grpSpPr>
          <a:xfrm>
            <a:off x="3246908" y="2122817"/>
            <a:ext cx="5557077" cy="2765252"/>
            <a:chOff x="2435445" y="1341125"/>
            <a:chExt cx="4273111" cy="2126339"/>
          </a:xfrm>
        </p:grpSpPr>
        <p:sp>
          <p:nvSpPr>
            <p:cNvPr id="5" name="Freeform 30"/>
            <p:cNvSpPr>
              <a:spLocks/>
            </p:cNvSpPr>
            <p:nvPr/>
          </p:nvSpPr>
          <p:spPr bwMode="auto">
            <a:xfrm>
              <a:off x="3188580" y="2220781"/>
              <a:ext cx="6184" cy="7730"/>
            </a:xfrm>
            <a:custGeom>
              <a:avLst/>
              <a:gdLst/>
              <a:ahLst/>
              <a:cxnLst>
                <a:cxn ang="0">
                  <a:pos x="3" y="0"/>
                </a:cxn>
                <a:cxn ang="0">
                  <a:pos x="0" y="6"/>
                </a:cxn>
                <a:cxn ang="0">
                  <a:pos x="4" y="6"/>
                </a:cxn>
                <a:cxn ang="0">
                  <a:pos x="5" y="0"/>
                </a:cxn>
                <a:cxn ang="0">
                  <a:pos x="3" y="0"/>
                </a:cxn>
              </a:cxnLst>
              <a:rect l="0" t="0" r="r" b="b"/>
              <a:pathLst>
                <a:path w="5" h="6">
                  <a:moveTo>
                    <a:pt x="3" y="0"/>
                  </a:moveTo>
                  <a:cubicBezTo>
                    <a:pt x="0" y="2"/>
                    <a:pt x="0" y="3"/>
                    <a:pt x="0" y="6"/>
                  </a:cubicBezTo>
                  <a:cubicBezTo>
                    <a:pt x="2" y="6"/>
                    <a:pt x="4" y="6"/>
                    <a:pt x="4" y="6"/>
                  </a:cubicBezTo>
                  <a:cubicBezTo>
                    <a:pt x="4" y="3"/>
                    <a:pt x="5" y="2"/>
                    <a:pt x="5" y="0"/>
                  </a:cubicBezTo>
                  <a:cubicBezTo>
                    <a:pt x="4" y="0"/>
                    <a:pt x="3" y="0"/>
                    <a:pt x="3" y="0"/>
                  </a:cubicBezTo>
                  <a:close/>
                </a:path>
              </a:pathLst>
            </a:custGeom>
            <a:solidFill>
              <a:srgbClr val="70C4E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Freeform 163"/>
            <p:cNvSpPr>
              <a:spLocks/>
            </p:cNvSpPr>
            <p:nvPr/>
          </p:nvSpPr>
          <p:spPr bwMode="auto">
            <a:xfrm>
              <a:off x="3426659" y="1528187"/>
              <a:ext cx="27827" cy="24736"/>
            </a:xfrm>
            <a:custGeom>
              <a:avLst/>
              <a:gdLst/>
              <a:ahLst/>
              <a:cxnLst>
                <a:cxn ang="0">
                  <a:pos x="7" y="0"/>
                </a:cxn>
                <a:cxn ang="0">
                  <a:pos x="22" y="19"/>
                </a:cxn>
                <a:cxn ang="0">
                  <a:pos x="8" y="0"/>
                </a:cxn>
                <a:cxn ang="0">
                  <a:pos x="8" y="1"/>
                </a:cxn>
                <a:cxn ang="0">
                  <a:pos x="7" y="0"/>
                </a:cxn>
              </a:cxnLst>
              <a:rect l="0" t="0" r="r" b="b"/>
              <a:pathLst>
                <a:path w="22" h="19">
                  <a:moveTo>
                    <a:pt x="7" y="0"/>
                  </a:moveTo>
                  <a:cubicBezTo>
                    <a:pt x="13" y="7"/>
                    <a:pt x="19" y="9"/>
                    <a:pt x="22" y="19"/>
                  </a:cubicBezTo>
                  <a:cubicBezTo>
                    <a:pt x="13" y="17"/>
                    <a:pt x="0" y="3"/>
                    <a:pt x="8" y="0"/>
                  </a:cubicBezTo>
                  <a:cubicBezTo>
                    <a:pt x="8" y="1"/>
                    <a:pt x="8" y="1"/>
                    <a:pt x="8" y="1"/>
                  </a:cubicBezTo>
                  <a:lnTo>
                    <a:pt x="7" y="0"/>
                  </a:lnTo>
                  <a:close/>
                </a:path>
              </a:pathLst>
            </a:custGeom>
            <a:solidFill>
              <a:srgbClr val="70C4E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 name="Group 341"/>
            <p:cNvGrpSpPr/>
            <p:nvPr/>
          </p:nvGrpSpPr>
          <p:grpSpPr>
            <a:xfrm>
              <a:off x="4231423" y="2240250"/>
              <a:ext cx="815115" cy="911613"/>
              <a:chOff x="4097338" y="2217738"/>
              <a:chExt cx="1139825" cy="1274763"/>
            </a:xfrm>
            <a:solidFill>
              <a:schemeClr val="accent4"/>
            </a:solidFill>
          </p:grpSpPr>
          <p:sp>
            <p:nvSpPr>
              <p:cNvPr id="180" name="Freeform 5"/>
              <p:cNvSpPr>
                <a:spLocks/>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6"/>
              <p:cNvSpPr>
                <a:spLocks/>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274"/>
            <p:cNvGrpSpPr/>
            <p:nvPr/>
          </p:nvGrpSpPr>
          <p:grpSpPr>
            <a:xfrm>
              <a:off x="3468530" y="2567204"/>
              <a:ext cx="557412" cy="900260"/>
              <a:chOff x="3030538" y="2674938"/>
              <a:chExt cx="779463" cy="1258888"/>
            </a:xfrm>
            <a:solidFill>
              <a:schemeClr val="accent2"/>
            </a:solidFill>
          </p:grpSpPr>
          <p:sp>
            <p:nvSpPr>
              <p:cNvPr id="178" name="Freeform 22"/>
              <p:cNvSpPr>
                <a:spLocks/>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23"/>
              <p:cNvSpPr>
                <a:spLocks/>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 name="Group 277"/>
            <p:cNvGrpSpPr/>
            <p:nvPr/>
          </p:nvGrpSpPr>
          <p:grpSpPr>
            <a:xfrm>
              <a:off x="2435445" y="1341125"/>
              <a:ext cx="1852741" cy="1290789"/>
              <a:chOff x="1585913" y="960438"/>
              <a:chExt cx="2590800" cy="1804987"/>
            </a:xfrm>
            <a:solidFill>
              <a:schemeClr val="accent1"/>
            </a:solidFill>
          </p:grpSpPr>
          <p:sp>
            <p:nvSpPr>
              <p:cNvPr id="115" name="Freeform 21"/>
              <p:cNvSpPr>
                <a:spLocks/>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39"/>
              <p:cNvSpPr>
                <a:spLocks/>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40"/>
              <p:cNvSpPr>
                <a:spLocks/>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41"/>
              <p:cNvSpPr>
                <a:spLocks/>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42"/>
              <p:cNvSpPr>
                <a:spLocks/>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3"/>
              <p:cNvSpPr>
                <a:spLocks/>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44"/>
              <p:cNvSpPr>
                <a:spLocks/>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45"/>
              <p:cNvSpPr>
                <a:spLocks/>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46"/>
              <p:cNvSpPr>
                <a:spLocks/>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47"/>
              <p:cNvSpPr>
                <a:spLocks/>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48"/>
              <p:cNvSpPr>
                <a:spLocks/>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49"/>
              <p:cNvSpPr>
                <a:spLocks/>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50"/>
              <p:cNvSpPr>
                <a:spLocks/>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51"/>
              <p:cNvSpPr>
                <a:spLocks/>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52"/>
              <p:cNvSpPr>
                <a:spLocks/>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53"/>
              <p:cNvSpPr>
                <a:spLocks/>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54"/>
              <p:cNvSpPr>
                <a:spLocks/>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55"/>
              <p:cNvSpPr>
                <a:spLocks/>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56"/>
              <p:cNvSpPr>
                <a:spLocks/>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57"/>
              <p:cNvSpPr>
                <a:spLocks/>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58"/>
              <p:cNvSpPr>
                <a:spLocks/>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59"/>
              <p:cNvSpPr>
                <a:spLocks/>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60"/>
              <p:cNvSpPr>
                <a:spLocks/>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61"/>
              <p:cNvSpPr>
                <a:spLocks/>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62"/>
              <p:cNvSpPr>
                <a:spLocks/>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63"/>
              <p:cNvSpPr>
                <a:spLocks/>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64"/>
              <p:cNvSpPr>
                <a:spLocks/>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65"/>
              <p:cNvSpPr>
                <a:spLocks/>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66"/>
              <p:cNvSpPr>
                <a:spLocks/>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67"/>
              <p:cNvSpPr>
                <a:spLocks/>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68"/>
              <p:cNvSpPr>
                <a:spLocks/>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69"/>
              <p:cNvSpPr>
                <a:spLocks/>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70"/>
              <p:cNvSpPr>
                <a:spLocks/>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71"/>
              <p:cNvSpPr>
                <a:spLocks/>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72"/>
              <p:cNvSpPr>
                <a:spLocks/>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73"/>
              <p:cNvSpPr>
                <a:spLocks/>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74"/>
              <p:cNvSpPr>
                <a:spLocks/>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75"/>
              <p:cNvSpPr>
                <a:spLocks/>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76"/>
              <p:cNvSpPr>
                <a:spLocks/>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77"/>
              <p:cNvSpPr>
                <a:spLocks/>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78"/>
              <p:cNvSpPr>
                <a:spLocks/>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79"/>
              <p:cNvSpPr>
                <a:spLocks/>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80"/>
              <p:cNvSpPr>
                <a:spLocks/>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81"/>
              <p:cNvSpPr>
                <a:spLocks/>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82"/>
              <p:cNvSpPr>
                <a:spLocks/>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83"/>
              <p:cNvSpPr>
                <a:spLocks/>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84"/>
              <p:cNvSpPr>
                <a:spLocks/>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85"/>
              <p:cNvSpPr>
                <a:spLocks/>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86"/>
              <p:cNvSpPr>
                <a:spLocks/>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87"/>
              <p:cNvSpPr>
                <a:spLocks/>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88"/>
              <p:cNvSpPr>
                <a:spLocks/>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89"/>
              <p:cNvSpPr>
                <a:spLocks/>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90"/>
              <p:cNvSpPr>
                <a:spLocks/>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91"/>
              <p:cNvSpPr>
                <a:spLocks/>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92"/>
              <p:cNvSpPr>
                <a:spLocks/>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93"/>
              <p:cNvSpPr>
                <a:spLocks/>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94"/>
              <p:cNvSpPr>
                <a:spLocks/>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95"/>
              <p:cNvSpPr>
                <a:spLocks/>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96"/>
              <p:cNvSpPr>
                <a:spLocks/>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97"/>
              <p:cNvSpPr>
                <a:spLocks/>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98"/>
              <p:cNvSpPr>
                <a:spLocks/>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99"/>
              <p:cNvSpPr>
                <a:spLocks/>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100"/>
              <p:cNvSpPr>
                <a:spLocks/>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345"/>
            <p:cNvGrpSpPr/>
            <p:nvPr/>
          </p:nvGrpSpPr>
          <p:grpSpPr>
            <a:xfrm>
              <a:off x="4318837" y="1433081"/>
              <a:ext cx="491567" cy="826469"/>
              <a:chOff x="4219575" y="1089025"/>
              <a:chExt cx="687388" cy="1155701"/>
            </a:xfrm>
            <a:solidFill>
              <a:schemeClr val="accent3"/>
            </a:solidFill>
          </p:grpSpPr>
          <p:sp>
            <p:nvSpPr>
              <p:cNvPr id="100" name="Freeform 36"/>
              <p:cNvSpPr>
                <a:spLocks/>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 name="Group 343"/>
              <p:cNvGrpSpPr/>
              <p:nvPr/>
            </p:nvGrpSpPr>
            <p:grpSpPr>
              <a:xfrm>
                <a:off x="4219575" y="1089025"/>
                <a:ext cx="687388" cy="1155701"/>
                <a:chOff x="4219575" y="1089025"/>
                <a:chExt cx="687388" cy="1155701"/>
              </a:xfrm>
              <a:grpFill/>
            </p:grpSpPr>
            <p:sp>
              <p:nvSpPr>
                <p:cNvPr id="102" name="Freeform 24"/>
                <p:cNvSpPr>
                  <a:spLocks/>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5"/>
                <p:cNvSpPr>
                  <a:spLocks/>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
                <p:cNvSpPr>
                  <a:spLocks/>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
                <p:cNvSpPr>
                  <a:spLocks/>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8"/>
                <p:cNvSpPr>
                  <a:spLocks/>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9"/>
                <p:cNvSpPr>
                  <a:spLocks/>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31"/>
                <p:cNvSpPr>
                  <a:spLocks/>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32"/>
                <p:cNvSpPr>
                  <a:spLocks/>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33"/>
                <p:cNvSpPr>
                  <a:spLocks/>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34"/>
                <p:cNvSpPr>
                  <a:spLocks/>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35"/>
                <p:cNvSpPr>
                  <a:spLocks/>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37"/>
                <p:cNvSpPr>
                  <a:spLocks/>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38"/>
                <p:cNvSpPr>
                  <a:spLocks/>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1" name="Group 363"/>
            <p:cNvGrpSpPr/>
            <p:nvPr/>
          </p:nvGrpSpPr>
          <p:grpSpPr>
            <a:xfrm>
              <a:off x="5788997" y="2713652"/>
              <a:ext cx="691373" cy="603958"/>
              <a:chOff x="6275388" y="2879725"/>
              <a:chExt cx="966788" cy="844551"/>
            </a:xfrm>
            <a:solidFill>
              <a:schemeClr val="accent6"/>
            </a:solidFill>
          </p:grpSpPr>
          <p:sp>
            <p:nvSpPr>
              <p:cNvPr id="82" name="Freeform 9"/>
              <p:cNvSpPr>
                <a:spLocks/>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3" name="Group 361"/>
              <p:cNvGrpSpPr/>
              <p:nvPr/>
            </p:nvGrpSpPr>
            <p:grpSpPr>
              <a:xfrm>
                <a:off x="6275388" y="2917825"/>
                <a:ext cx="966788" cy="806451"/>
                <a:chOff x="6275388" y="2917825"/>
                <a:chExt cx="966788" cy="806451"/>
              </a:xfrm>
              <a:grpFill/>
            </p:grpSpPr>
            <p:sp>
              <p:nvSpPr>
                <p:cNvPr id="84" name="Freeform 7"/>
                <p:cNvSpPr>
                  <a:spLocks/>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8"/>
                <p:cNvSpPr>
                  <a:spLocks/>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10"/>
                <p:cNvSpPr>
                  <a:spLocks/>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1"/>
                <p:cNvSpPr>
                  <a:spLocks/>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2"/>
                <p:cNvSpPr>
                  <a:spLocks/>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3"/>
                <p:cNvSpPr>
                  <a:spLocks/>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14"/>
                <p:cNvSpPr>
                  <a:spLocks/>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5"/>
                <p:cNvSpPr>
                  <a:spLocks/>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16"/>
                <p:cNvSpPr>
                  <a:spLocks/>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7"/>
                <p:cNvSpPr>
                  <a:spLocks/>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8"/>
                <p:cNvSpPr>
                  <a:spLocks/>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9"/>
                <p:cNvSpPr>
                  <a:spLocks/>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0"/>
                <p:cNvSpPr>
                  <a:spLocks/>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16"/>
                <p:cNvSpPr>
                  <a:spLocks/>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117"/>
                <p:cNvSpPr>
                  <a:spLocks/>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118"/>
                <p:cNvSpPr>
                  <a:spLocks/>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 name="Group 383"/>
            <p:cNvGrpSpPr/>
            <p:nvPr/>
          </p:nvGrpSpPr>
          <p:grpSpPr>
            <a:xfrm>
              <a:off x="4671903" y="1396752"/>
              <a:ext cx="2036653" cy="1439507"/>
              <a:chOff x="4713288" y="1038225"/>
              <a:chExt cx="2847975" cy="2012950"/>
            </a:xfrm>
            <a:solidFill>
              <a:schemeClr val="accent5"/>
            </a:solidFill>
          </p:grpSpPr>
          <p:sp>
            <p:nvSpPr>
              <p:cNvPr id="13" name="Freeform 101"/>
              <p:cNvSpPr>
                <a:spLocks/>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02"/>
              <p:cNvSpPr>
                <a:spLocks/>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03"/>
              <p:cNvSpPr>
                <a:spLocks/>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04"/>
              <p:cNvSpPr>
                <a:spLocks/>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05"/>
              <p:cNvSpPr>
                <a:spLocks/>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6"/>
              <p:cNvSpPr>
                <a:spLocks/>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07"/>
              <p:cNvSpPr>
                <a:spLocks/>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08"/>
              <p:cNvSpPr>
                <a:spLocks/>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09"/>
              <p:cNvSpPr>
                <a:spLocks/>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0"/>
              <p:cNvSpPr>
                <a:spLocks/>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11"/>
              <p:cNvSpPr>
                <a:spLocks/>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12"/>
              <p:cNvSpPr>
                <a:spLocks/>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13"/>
              <p:cNvSpPr>
                <a:spLocks/>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14"/>
              <p:cNvSpPr>
                <a:spLocks/>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15"/>
              <p:cNvSpPr>
                <a:spLocks/>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19"/>
              <p:cNvSpPr>
                <a:spLocks/>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120"/>
              <p:cNvSpPr>
                <a:spLocks/>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21"/>
              <p:cNvSpPr>
                <a:spLocks/>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22"/>
              <p:cNvSpPr>
                <a:spLocks/>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23"/>
              <p:cNvSpPr>
                <a:spLocks/>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24"/>
              <p:cNvSpPr>
                <a:spLocks/>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25"/>
              <p:cNvSpPr>
                <a:spLocks/>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26"/>
              <p:cNvSpPr>
                <a:spLocks/>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27"/>
              <p:cNvSpPr>
                <a:spLocks/>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28"/>
              <p:cNvSpPr>
                <a:spLocks/>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29"/>
              <p:cNvSpPr>
                <a:spLocks/>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30"/>
              <p:cNvSpPr>
                <a:spLocks/>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131"/>
              <p:cNvSpPr>
                <a:spLocks/>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32"/>
              <p:cNvSpPr>
                <a:spLocks/>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33"/>
              <p:cNvSpPr>
                <a:spLocks/>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4"/>
              <p:cNvSpPr>
                <a:spLocks/>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35"/>
              <p:cNvSpPr>
                <a:spLocks/>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36"/>
              <p:cNvSpPr>
                <a:spLocks/>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37"/>
              <p:cNvSpPr>
                <a:spLocks/>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38"/>
              <p:cNvSpPr>
                <a:spLocks/>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39"/>
              <p:cNvSpPr>
                <a:spLocks/>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40"/>
              <p:cNvSpPr>
                <a:spLocks/>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41"/>
              <p:cNvSpPr>
                <a:spLocks/>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42"/>
              <p:cNvSpPr>
                <a:spLocks/>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43"/>
              <p:cNvSpPr>
                <a:spLocks/>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44"/>
              <p:cNvSpPr>
                <a:spLocks/>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45"/>
              <p:cNvSpPr>
                <a:spLocks/>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46"/>
              <p:cNvSpPr>
                <a:spLocks/>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47"/>
              <p:cNvSpPr>
                <a:spLocks/>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48"/>
              <p:cNvSpPr>
                <a:spLocks/>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49"/>
              <p:cNvSpPr>
                <a:spLocks/>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50"/>
              <p:cNvSpPr>
                <a:spLocks/>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51"/>
              <p:cNvSpPr>
                <a:spLocks/>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52"/>
              <p:cNvSpPr>
                <a:spLocks/>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53"/>
              <p:cNvSpPr>
                <a:spLocks/>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54"/>
              <p:cNvSpPr>
                <a:spLocks/>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55"/>
              <p:cNvSpPr>
                <a:spLocks/>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56"/>
              <p:cNvSpPr>
                <a:spLocks/>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57"/>
              <p:cNvSpPr>
                <a:spLocks/>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58"/>
              <p:cNvSpPr>
                <a:spLocks/>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159"/>
              <p:cNvSpPr>
                <a:spLocks/>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160"/>
              <p:cNvSpPr>
                <a:spLocks/>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161"/>
              <p:cNvSpPr>
                <a:spLocks/>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162"/>
              <p:cNvSpPr>
                <a:spLocks/>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164"/>
              <p:cNvSpPr>
                <a:spLocks/>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165"/>
              <p:cNvSpPr>
                <a:spLocks/>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166"/>
              <p:cNvSpPr>
                <a:spLocks/>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167"/>
              <p:cNvSpPr>
                <a:spLocks/>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168"/>
              <p:cNvSpPr>
                <a:spLocks/>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69"/>
              <p:cNvSpPr>
                <a:spLocks/>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70"/>
              <p:cNvSpPr>
                <a:spLocks/>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171"/>
              <p:cNvSpPr>
                <a:spLocks/>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82" name="Group 181"/>
          <p:cNvGrpSpPr/>
          <p:nvPr/>
        </p:nvGrpSpPr>
        <p:grpSpPr>
          <a:xfrm>
            <a:off x="769381" y="5562830"/>
            <a:ext cx="1692117" cy="405724"/>
            <a:chOff x="991211" y="4381500"/>
            <a:chExt cx="1718674" cy="228619"/>
          </a:xfrm>
        </p:grpSpPr>
        <p:sp>
          <p:nvSpPr>
            <p:cNvPr id="183" name="Rounded Rectangle 182"/>
            <p:cNvSpPr/>
            <p:nvPr/>
          </p:nvSpPr>
          <p:spPr>
            <a:xfrm>
              <a:off x="991211" y="4381500"/>
              <a:ext cx="1718674" cy="228600"/>
            </a:xfrm>
            <a:prstGeom prst="round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84" name="Rectangle 129"/>
            <p:cNvSpPr>
              <a:spLocks/>
            </p:cNvSpPr>
            <p:nvPr/>
          </p:nvSpPr>
          <p:spPr bwMode="auto">
            <a:xfrm>
              <a:off x="1040523" y="4415136"/>
              <a:ext cx="1631350" cy="1949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NORTH AMERICA</a:t>
              </a:r>
            </a:p>
          </p:txBody>
        </p:sp>
      </p:grpSp>
      <p:grpSp>
        <p:nvGrpSpPr>
          <p:cNvPr id="185" name="Group 184"/>
          <p:cNvGrpSpPr/>
          <p:nvPr/>
        </p:nvGrpSpPr>
        <p:grpSpPr>
          <a:xfrm>
            <a:off x="2551355" y="5562830"/>
            <a:ext cx="1692117" cy="405724"/>
            <a:chOff x="2801152" y="4381500"/>
            <a:chExt cx="1718674" cy="228619"/>
          </a:xfrm>
        </p:grpSpPr>
        <p:sp>
          <p:nvSpPr>
            <p:cNvPr id="186" name="Rounded Rectangle 185"/>
            <p:cNvSpPr/>
            <p:nvPr/>
          </p:nvSpPr>
          <p:spPr>
            <a:xfrm>
              <a:off x="2801152" y="4381500"/>
              <a:ext cx="1718674" cy="228600"/>
            </a:xfrm>
            <a:prstGeom prst="round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87" name="Rectangle 129"/>
            <p:cNvSpPr>
              <a:spLocks/>
            </p:cNvSpPr>
            <p:nvPr/>
          </p:nvSpPr>
          <p:spPr bwMode="auto">
            <a:xfrm>
              <a:off x="2850025" y="4415136"/>
              <a:ext cx="1631350" cy="1949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SOUTH AMERICA</a:t>
              </a:r>
            </a:p>
          </p:txBody>
        </p:sp>
      </p:grpSp>
      <p:grpSp>
        <p:nvGrpSpPr>
          <p:cNvPr id="188" name="Group 187"/>
          <p:cNvGrpSpPr/>
          <p:nvPr/>
        </p:nvGrpSpPr>
        <p:grpSpPr>
          <a:xfrm>
            <a:off x="4333330" y="5562830"/>
            <a:ext cx="1692117" cy="405724"/>
            <a:chOff x="4611093" y="4381500"/>
            <a:chExt cx="1718674" cy="228619"/>
          </a:xfrm>
          <a:solidFill>
            <a:schemeClr val="accent3"/>
          </a:solidFill>
        </p:grpSpPr>
        <p:sp>
          <p:nvSpPr>
            <p:cNvPr id="189" name="Rounded Rectangle 188"/>
            <p:cNvSpPr/>
            <p:nvPr/>
          </p:nvSpPr>
          <p:spPr>
            <a:xfrm>
              <a:off x="4611093" y="4381500"/>
              <a:ext cx="1718674" cy="228600"/>
            </a:xfrm>
            <a:prstGeom prst="roundRect">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90" name="Rectangle 129"/>
            <p:cNvSpPr>
              <a:spLocks/>
            </p:cNvSpPr>
            <p:nvPr/>
          </p:nvSpPr>
          <p:spPr bwMode="auto">
            <a:xfrm>
              <a:off x="4661479" y="4415136"/>
              <a:ext cx="1631350" cy="194983"/>
            </a:xfrm>
            <a:prstGeom prst="rect">
              <a:avLst/>
            </a:prstGeom>
            <a:grpFill/>
            <a:ln>
              <a:noFill/>
            </a:ln>
            <a:extLs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EUROPE</a:t>
              </a:r>
            </a:p>
          </p:txBody>
        </p:sp>
      </p:grpSp>
      <p:grpSp>
        <p:nvGrpSpPr>
          <p:cNvPr id="191" name="Group 190"/>
          <p:cNvGrpSpPr/>
          <p:nvPr/>
        </p:nvGrpSpPr>
        <p:grpSpPr>
          <a:xfrm>
            <a:off x="6115304" y="5562830"/>
            <a:ext cx="1692117" cy="405724"/>
            <a:chOff x="6421034" y="4381500"/>
            <a:chExt cx="1718674" cy="228619"/>
          </a:xfrm>
          <a:solidFill>
            <a:schemeClr val="accent4"/>
          </a:solidFill>
        </p:grpSpPr>
        <p:sp>
          <p:nvSpPr>
            <p:cNvPr id="192" name="Rounded Rectangle 191"/>
            <p:cNvSpPr/>
            <p:nvPr/>
          </p:nvSpPr>
          <p:spPr>
            <a:xfrm>
              <a:off x="6421034" y="4381500"/>
              <a:ext cx="1718674" cy="228600"/>
            </a:xfrm>
            <a:prstGeom prst="roundRect">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93" name="Rectangle 129"/>
            <p:cNvSpPr>
              <a:spLocks/>
            </p:cNvSpPr>
            <p:nvPr/>
          </p:nvSpPr>
          <p:spPr bwMode="auto">
            <a:xfrm>
              <a:off x="6463908" y="4415136"/>
              <a:ext cx="1631350" cy="194983"/>
            </a:xfrm>
            <a:prstGeom prst="rect">
              <a:avLst/>
            </a:prstGeom>
            <a:grpFill/>
            <a:ln>
              <a:noFill/>
            </a:ln>
            <a:extLs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AFRICA</a:t>
              </a:r>
            </a:p>
          </p:txBody>
        </p:sp>
      </p:grpSp>
      <p:grpSp>
        <p:nvGrpSpPr>
          <p:cNvPr id="194" name="Group 193"/>
          <p:cNvGrpSpPr/>
          <p:nvPr/>
        </p:nvGrpSpPr>
        <p:grpSpPr>
          <a:xfrm>
            <a:off x="7879709" y="5562830"/>
            <a:ext cx="1692117" cy="405724"/>
            <a:chOff x="4611093" y="4381500"/>
            <a:chExt cx="1718674" cy="228619"/>
          </a:xfrm>
          <a:solidFill>
            <a:schemeClr val="accent5"/>
          </a:solidFill>
        </p:grpSpPr>
        <p:sp>
          <p:nvSpPr>
            <p:cNvPr id="195" name="Rounded Rectangle 194"/>
            <p:cNvSpPr/>
            <p:nvPr/>
          </p:nvSpPr>
          <p:spPr>
            <a:xfrm>
              <a:off x="4611093" y="4381500"/>
              <a:ext cx="1718674" cy="228600"/>
            </a:xfrm>
            <a:prstGeom prst="roundRect">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96" name="Rectangle 129"/>
            <p:cNvSpPr>
              <a:spLocks/>
            </p:cNvSpPr>
            <p:nvPr/>
          </p:nvSpPr>
          <p:spPr bwMode="auto">
            <a:xfrm>
              <a:off x="4661479" y="4415136"/>
              <a:ext cx="1631350" cy="194983"/>
            </a:xfrm>
            <a:prstGeom prst="rect">
              <a:avLst/>
            </a:prstGeom>
            <a:grpFill/>
            <a:ln>
              <a:noFill/>
            </a:ln>
            <a:extLs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ASIA</a:t>
              </a:r>
            </a:p>
          </p:txBody>
        </p:sp>
      </p:grpSp>
      <p:grpSp>
        <p:nvGrpSpPr>
          <p:cNvPr id="197" name="Group 196"/>
          <p:cNvGrpSpPr/>
          <p:nvPr/>
        </p:nvGrpSpPr>
        <p:grpSpPr>
          <a:xfrm>
            <a:off x="9661683" y="5562830"/>
            <a:ext cx="1692117" cy="405724"/>
            <a:chOff x="6421034" y="4381500"/>
            <a:chExt cx="1718674" cy="228619"/>
          </a:xfrm>
          <a:solidFill>
            <a:schemeClr val="accent6"/>
          </a:solidFill>
        </p:grpSpPr>
        <p:sp>
          <p:nvSpPr>
            <p:cNvPr id="198" name="Rounded Rectangle 197"/>
            <p:cNvSpPr/>
            <p:nvPr/>
          </p:nvSpPr>
          <p:spPr>
            <a:xfrm>
              <a:off x="6421034" y="4381500"/>
              <a:ext cx="1718674" cy="228600"/>
            </a:xfrm>
            <a:prstGeom prst="roundRect">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dirty="0">
                <a:latin typeface="Montserrat" panose="00000500000000000000" pitchFamily="2" charset="0"/>
                <a:cs typeface="Lato Light"/>
              </a:endParaRPr>
            </a:p>
          </p:txBody>
        </p:sp>
        <p:sp>
          <p:nvSpPr>
            <p:cNvPr id="199" name="Rectangle 129"/>
            <p:cNvSpPr>
              <a:spLocks/>
            </p:cNvSpPr>
            <p:nvPr/>
          </p:nvSpPr>
          <p:spPr bwMode="auto">
            <a:xfrm>
              <a:off x="6463908" y="4415136"/>
              <a:ext cx="1631350" cy="194983"/>
            </a:xfrm>
            <a:prstGeom prst="rect">
              <a:avLst/>
            </a:prstGeom>
            <a:grpFill/>
            <a:ln>
              <a:noFill/>
            </a:ln>
            <a:extLst>
              <a:ext uri="{91240B29-F687-4f45-9708-019B960494DF}">
                <a14:hiddenLine xmlns="" xmlns:a14="http://schemas.microsoft.com/office/drawing/2010/main" w="12700">
                  <a:solidFill>
                    <a:schemeClr val="tx1"/>
                  </a:solidFill>
                  <a:miter lim="800000"/>
                  <a:headEnd/>
                  <a:tailEnd/>
                </a14:hiddenLine>
              </a:ext>
            </a:extLst>
          </p:spPr>
          <p:txBody>
            <a:bodyPr lIns="0" tIns="0" rIns="0" bIns="0" anchor="ctr"/>
            <a:lstStyle/>
            <a:p>
              <a:pPr algn="ctr">
                <a:tabLst>
                  <a:tab pos="474051" algn="l"/>
                  <a:tab pos="948101" algn="l"/>
                  <a:tab pos="1422151" algn="l"/>
                  <a:tab pos="1896202" algn="l"/>
                  <a:tab pos="2370252" algn="l"/>
                  <a:tab pos="2844302" algn="l"/>
                  <a:tab pos="3318353" algn="l"/>
                  <a:tab pos="3792403" algn="l"/>
                  <a:tab pos="4266453" algn="l"/>
                  <a:tab pos="4740504" algn="l"/>
                  <a:tab pos="5214554" algn="l"/>
                  <a:tab pos="5688605" algn="l"/>
                </a:tabLst>
              </a:pPr>
              <a:r>
                <a:rPr lang="en-US" sz="1200" dirty="0">
                  <a:solidFill>
                    <a:srgbClr val="FFFFFF"/>
                  </a:solidFill>
                  <a:latin typeface="Montserrat" panose="00000500000000000000" pitchFamily="2" charset="0"/>
                  <a:ea typeface="ＭＳ Ｐゴシック" charset="0"/>
                  <a:cs typeface="Lato Regular"/>
                  <a:sym typeface="Helvetica" charset="0"/>
                </a:rPr>
                <a:t>AUSTRALIA</a:t>
              </a:r>
            </a:p>
          </p:txBody>
        </p:sp>
      </p:grpSp>
      <p:sp>
        <p:nvSpPr>
          <p:cNvPr id="200" name="TextBox 199"/>
          <p:cNvSpPr txBox="1"/>
          <p:nvPr/>
        </p:nvSpPr>
        <p:spPr>
          <a:xfrm>
            <a:off x="1810664" y="1981639"/>
            <a:ext cx="838691" cy="307777"/>
          </a:xfrm>
          <a:prstGeom prst="rect">
            <a:avLst/>
          </a:prstGeom>
          <a:noFill/>
        </p:spPr>
        <p:txBody>
          <a:bodyPr wrap="none" rtlCol="0">
            <a:spAutoFit/>
          </a:bodyPr>
          <a:lstStyle/>
          <a:p>
            <a:pPr algn="r"/>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1</a:t>
            </a:r>
            <a:r>
              <a:rPr lang="id-ID" sz="1400" dirty="0">
                <a:solidFill>
                  <a:schemeClr val="tx1">
                    <a:lumMod val="75000"/>
                    <a:lumOff val="25000"/>
                  </a:schemeClr>
                </a:solidFill>
                <a:latin typeface="Montserrat" panose="00000500000000000000" pitchFamily="2" charset="0"/>
                <a:cs typeface="Lato Regular"/>
              </a:rPr>
              <a:t> </a:t>
            </a:r>
          </a:p>
        </p:txBody>
      </p:sp>
      <p:sp>
        <p:nvSpPr>
          <p:cNvPr id="201" name="TextBox 200"/>
          <p:cNvSpPr txBox="1"/>
          <p:nvPr/>
        </p:nvSpPr>
        <p:spPr>
          <a:xfrm>
            <a:off x="407517" y="2250827"/>
            <a:ext cx="2239686" cy="461665"/>
          </a:xfrm>
          <a:prstGeom prst="rect">
            <a:avLst/>
          </a:prstGeom>
          <a:noFill/>
        </p:spPr>
        <p:txBody>
          <a:bodyPr wrap="square" rtlCol="0">
            <a:spAutoFit/>
          </a:bodyPr>
          <a:lstStyle/>
          <a:p>
            <a:pPr algn="r"/>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02" name="TextBox 201"/>
          <p:cNvSpPr txBox="1"/>
          <p:nvPr/>
        </p:nvSpPr>
        <p:spPr>
          <a:xfrm>
            <a:off x="9378540" y="2023280"/>
            <a:ext cx="875561" cy="307777"/>
          </a:xfrm>
          <a:prstGeom prst="rect">
            <a:avLst/>
          </a:prstGeom>
          <a:noFill/>
        </p:spPr>
        <p:txBody>
          <a:bodyPr wrap="none" rtlCol="0">
            <a:spAutoFit/>
          </a:bodyPr>
          <a:lstStyle/>
          <a:p>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2</a:t>
            </a:r>
            <a:r>
              <a:rPr lang="id-ID" sz="1400" dirty="0">
                <a:solidFill>
                  <a:schemeClr val="tx1">
                    <a:lumMod val="75000"/>
                    <a:lumOff val="25000"/>
                  </a:schemeClr>
                </a:solidFill>
                <a:latin typeface="Montserrat" panose="00000500000000000000" pitchFamily="2" charset="0"/>
                <a:cs typeface="Lato Regular"/>
              </a:rPr>
              <a:t> </a:t>
            </a:r>
          </a:p>
        </p:txBody>
      </p:sp>
      <p:sp>
        <p:nvSpPr>
          <p:cNvPr id="203" name="TextBox 202"/>
          <p:cNvSpPr txBox="1"/>
          <p:nvPr/>
        </p:nvSpPr>
        <p:spPr>
          <a:xfrm>
            <a:off x="9378540" y="2292468"/>
            <a:ext cx="2239686" cy="461665"/>
          </a:xfrm>
          <a:prstGeom prst="rect">
            <a:avLst/>
          </a:prstGeom>
          <a:noFill/>
        </p:spPr>
        <p:txBody>
          <a:bodyPr wrap="square" rtlCol="0">
            <a:spAutoFit/>
          </a:bodyPr>
          <a:lstStyle/>
          <a:p>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04" name="TextBox 203"/>
          <p:cNvSpPr txBox="1"/>
          <p:nvPr/>
        </p:nvSpPr>
        <p:spPr>
          <a:xfrm>
            <a:off x="1773793" y="2952722"/>
            <a:ext cx="875561" cy="307777"/>
          </a:xfrm>
          <a:prstGeom prst="rect">
            <a:avLst/>
          </a:prstGeom>
          <a:noFill/>
        </p:spPr>
        <p:txBody>
          <a:bodyPr wrap="none" rtlCol="0">
            <a:spAutoFit/>
          </a:bodyPr>
          <a:lstStyle/>
          <a:p>
            <a:pPr algn="r"/>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3</a:t>
            </a:r>
            <a:r>
              <a:rPr lang="id-ID" sz="1400" dirty="0">
                <a:solidFill>
                  <a:schemeClr val="tx1">
                    <a:lumMod val="75000"/>
                    <a:lumOff val="25000"/>
                  </a:schemeClr>
                </a:solidFill>
                <a:latin typeface="Montserrat" panose="00000500000000000000" pitchFamily="2" charset="0"/>
                <a:cs typeface="Lato Regular"/>
              </a:rPr>
              <a:t> </a:t>
            </a:r>
          </a:p>
        </p:txBody>
      </p:sp>
      <p:sp>
        <p:nvSpPr>
          <p:cNvPr id="205" name="TextBox 204"/>
          <p:cNvSpPr txBox="1"/>
          <p:nvPr/>
        </p:nvSpPr>
        <p:spPr>
          <a:xfrm>
            <a:off x="407516" y="3221910"/>
            <a:ext cx="2239686" cy="461665"/>
          </a:xfrm>
          <a:prstGeom prst="rect">
            <a:avLst/>
          </a:prstGeom>
          <a:noFill/>
        </p:spPr>
        <p:txBody>
          <a:bodyPr wrap="square" rtlCol="0">
            <a:spAutoFit/>
          </a:bodyPr>
          <a:lstStyle/>
          <a:p>
            <a:pPr algn="r"/>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06" name="TextBox 205"/>
          <p:cNvSpPr txBox="1"/>
          <p:nvPr/>
        </p:nvSpPr>
        <p:spPr>
          <a:xfrm>
            <a:off x="9387089" y="2956459"/>
            <a:ext cx="875561" cy="307777"/>
          </a:xfrm>
          <a:prstGeom prst="rect">
            <a:avLst/>
          </a:prstGeom>
          <a:noFill/>
        </p:spPr>
        <p:txBody>
          <a:bodyPr wrap="none" rtlCol="0">
            <a:spAutoFit/>
          </a:bodyPr>
          <a:lstStyle/>
          <a:p>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4</a:t>
            </a:r>
            <a:r>
              <a:rPr lang="id-ID" sz="1400" dirty="0">
                <a:solidFill>
                  <a:schemeClr val="tx1">
                    <a:lumMod val="75000"/>
                    <a:lumOff val="25000"/>
                  </a:schemeClr>
                </a:solidFill>
                <a:latin typeface="Montserrat" panose="00000500000000000000" pitchFamily="2" charset="0"/>
                <a:cs typeface="Lato Regular"/>
              </a:rPr>
              <a:t> </a:t>
            </a:r>
          </a:p>
        </p:txBody>
      </p:sp>
      <p:sp>
        <p:nvSpPr>
          <p:cNvPr id="207" name="TextBox 206"/>
          <p:cNvSpPr txBox="1"/>
          <p:nvPr/>
        </p:nvSpPr>
        <p:spPr>
          <a:xfrm>
            <a:off x="9387089" y="3225647"/>
            <a:ext cx="2239686" cy="461665"/>
          </a:xfrm>
          <a:prstGeom prst="rect">
            <a:avLst/>
          </a:prstGeom>
          <a:noFill/>
        </p:spPr>
        <p:txBody>
          <a:bodyPr wrap="square" rtlCol="0">
            <a:spAutoFit/>
          </a:bodyPr>
          <a:lstStyle/>
          <a:p>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08" name="TextBox 207"/>
          <p:cNvSpPr txBox="1"/>
          <p:nvPr/>
        </p:nvSpPr>
        <p:spPr>
          <a:xfrm>
            <a:off x="1770588" y="3913847"/>
            <a:ext cx="878766" cy="307777"/>
          </a:xfrm>
          <a:prstGeom prst="rect">
            <a:avLst/>
          </a:prstGeom>
          <a:noFill/>
        </p:spPr>
        <p:txBody>
          <a:bodyPr wrap="none" rtlCol="0">
            <a:spAutoFit/>
          </a:bodyPr>
          <a:lstStyle/>
          <a:p>
            <a:pPr algn="r"/>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5</a:t>
            </a:r>
            <a:r>
              <a:rPr lang="id-ID" sz="1400" dirty="0">
                <a:solidFill>
                  <a:schemeClr val="tx1">
                    <a:lumMod val="75000"/>
                    <a:lumOff val="25000"/>
                  </a:schemeClr>
                </a:solidFill>
                <a:latin typeface="Montserrat" panose="00000500000000000000" pitchFamily="2" charset="0"/>
                <a:cs typeface="Lato Regular"/>
              </a:rPr>
              <a:t> </a:t>
            </a:r>
          </a:p>
        </p:txBody>
      </p:sp>
      <p:sp>
        <p:nvSpPr>
          <p:cNvPr id="209" name="TextBox 208"/>
          <p:cNvSpPr txBox="1"/>
          <p:nvPr/>
        </p:nvSpPr>
        <p:spPr>
          <a:xfrm>
            <a:off x="407516" y="4183035"/>
            <a:ext cx="2239686" cy="461665"/>
          </a:xfrm>
          <a:prstGeom prst="rect">
            <a:avLst/>
          </a:prstGeom>
          <a:noFill/>
        </p:spPr>
        <p:txBody>
          <a:bodyPr wrap="square" rtlCol="0">
            <a:spAutoFit/>
          </a:bodyPr>
          <a:lstStyle/>
          <a:p>
            <a:pPr algn="r"/>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10" name="TextBox 209"/>
          <p:cNvSpPr txBox="1"/>
          <p:nvPr/>
        </p:nvSpPr>
        <p:spPr>
          <a:xfrm>
            <a:off x="9387089" y="3910154"/>
            <a:ext cx="880369" cy="307777"/>
          </a:xfrm>
          <a:prstGeom prst="rect">
            <a:avLst/>
          </a:prstGeom>
          <a:noFill/>
        </p:spPr>
        <p:txBody>
          <a:bodyPr wrap="none" rtlCol="0">
            <a:spAutoFit/>
          </a:bodyPr>
          <a:lstStyle/>
          <a:p>
            <a:r>
              <a:rPr lang="id-ID" sz="1400" dirty="0">
                <a:solidFill>
                  <a:schemeClr val="tx1">
                    <a:lumMod val="75000"/>
                    <a:lumOff val="25000"/>
                  </a:schemeClr>
                </a:solidFill>
                <a:latin typeface="Montserrat" panose="00000500000000000000" pitchFamily="2" charset="0"/>
                <a:cs typeface="Lato Regular"/>
              </a:rPr>
              <a:t>TITLE</a:t>
            </a:r>
            <a:r>
              <a:rPr lang="en-US" sz="1400" dirty="0">
                <a:solidFill>
                  <a:schemeClr val="tx1">
                    <a:lumMod val="75000"/>
                    <a:lumOff val="25000"/>
                  </a:schemeClr>
                </a:solidFill>
                <a:latin typeface="Montserrat" panose="00000500000000000000" pitchFamily="2" charset="0"/>
                <a:cs typeface="Lato Regular"/>
              </a:rPr>
              <a:t> 6</a:t>
            </a:r>
            <a:r>
              <a:rPr lang="id-ID" sz="1400" dirty="0">
                <a:solidFill>
                  <a:schemeClr val="tx1">
                    <a:lumMod val="75000"/>
                    <a:lumOff val="25000"/>
                  </a:schemeClr>
                </a:solidFill>
                <a:latin typeface="Montserrat" panose="00000500000000000000" pitchFamily="2" charset="0"/>
                <a:cs typeface="Lato Regular"/>
              </a:rPr>
              <a:t> </a:t>
            </a:r>
          </a:p>
        </p:txBody>
      </p:sp>
      <p:sp>
        <p:nvSpPr>
          <p:cNvPr id="211" name="TextBox 210"/>
          <p:cNvSpPr txBox="1"/>
          <p:nvPr/>
        </p:nvSpPr>
        <p:spPr>
          <a:xfrm>
            <a:off x="9387089" y="4179342"/>
            <a:ext cx="2239686" cy="461665"/>
          </a:xfrm>
          <a:prstGeom prst="rect">
            <a:avLst/>
          </a:prstGeom>
          <a:noFill/>
        </p:spPr>
        <p:txBody>
          <a:bodyPr wrap="square" rtlCol="0">
            <a:spAutoFit/>
          </a:bodyPr>
          <a:lstStyle/>
          <a:p>
            <a:r>
              <a:rPr lang="pt-BR" sz="1200" dirty="0">
                <a:solidFill>
                  <a:schemeClr val="tx1">
                    <a:lumMod val="75000"/>
                    <a:lumOff val="25000"/>
                  </a:schemeClr>
                </a:solidFill>
                <a:cs typeface="Lato Light"/>
              </a:rPr>
              <a:t>Lorem ipsum dolor sit amet, consectetur adipiscing elit.</a:t>
            </a:r>
            <a:endParaRPr lang="en-US" sz="1200" b="1" dirty="0">
              <a:solidFill>
                <a:schemeClr val="tx1">
                  <a:lumMod val="75000"/>
                  <a:lumOff val="25000"/>
                </a:schemeClr>
              </a:solidFill>
              <a:cs typeface="Lato Light"/>
            </a:endParaRPr>
          </a:p>
        </p:txBody>
      </p:sp>
      <p:sp>
        <p:nvSpPr>
          <p:cNvPr id="212" name="Oval 211"/>
          <p:cNvSpPr/>
          <p:nvPr/>
        </p:nvSpPr>
        <p:spPr>
          <a:xfrm>
            <a:off x="2769253" y="2135448"/>
            <a:ext cx="228600" cy="228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p:cNvSpPr/>
          <p:nvPr/>
        </p:nvSpPr>
        <p:spPr>
          <a:xfrm>
            <a:off x="2769253" y="3103522"/>
            <a:ext cx="228600"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p:cNvSpPr/>
          <p:nvPr/>
        </p:nvSpPr>
        <p:spPr>
          <a:xfrm>
            <a:off x="2769253" y="4096512"/>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8998727" y="2135448"/>
            <a:ext cx="228600" cy="228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p:cNvSpPr/>
          <p:nvPr/>
        </p:nvSpPr>
        <p:spPr>
          <a:xfrm>
            <a:off x="8998727" y="3103522"/>
            <a:ext cx="228600" cy="228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8998727" y="4096512"/>
            <a:ext cx="228600" cy="228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DE156FE7-4276-48C2-8D29-2DA35A3BAE26}" type="slidenum">
              <a:rPr lang="en-US" smtClean="0"/>
              <a:t>22</a:t>
            </a:fld>
            <a:endParaRPr lang="en-US"/>
          </a:p>
        </p:txBody>
      </p:sp>
    </p:spTree>
    <p:extLst>
      <p:ext uri="{BB962C8B-B14F-4D97-AF65-F5344CB8AC3E}">
        <p14:creationId xmlns:p14="http://schemas.microsoft.com/office/powerpoint/2010/main" val="3314009628"/>
      </p:ext>
    </p:extLst>
  </p:cSld>
  <p:clrMapOvr>
    <a:masterClrMapping/>
  </p:clrMapOvr>
  <p:transition spd="med">
    <p:pull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ORLD </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MAP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pSp>
        <p:nvGrpSpPr>
          <p:cNvPr id="4" name="Group 3"/>
          <p:cNvGrpSpPr/>
          <p:nvPr/>
        </p:nvGrpSpPr>
        <p:grpSpPr>
          <a:xfrm>
            <a:off x="4074510" y="1906267"/>
            <a:ext cx="4307843" cy="2646136"/>
            <a:chOff x="7094999" y="3116146"/>
            <a:chExt cx="10311633" cy="6334025"/>
          </a:xfrm>
          <a:solidFill>
            <a:schemeClr val="tx2"/>
          </a:solidFill>
        </p:grpSpPr>
        <p:sp>
          <p:nvSpPr>
            <p:cNvPr id="5" name="Freeform 1"/>
            <p:cNvSpPr>
              <a:spLocks noChangeArrowheads="1"/>
            </p:cNvSpPr>
            <p:nvPr/>
          </p:nvSpPr>
          <p:spPr bwMode="auto">
            <a:xfrm>
              <a:off x="15481608" y="9202005"/>
              <a:ext cx="16234" cy="25513"/>
            </a:xfrm>
            <a:custGeom>
              <a:avLst/>
              <a:gdLst>
                <a:gd name="T0" fmla="*/ 15 w 32"/>
                <a:gd name="T1" fmla="*/ 0 h 49"/>
                <a:gd name="T2" fmla="*/ 15 w 32"/>
                <a:gd name="T3" fmla="*/ 0 h 49"/>
                <a:gd name="T4" fmla="*/ 0 w 32"/>
                <a:gd name="T5" fmla="*/ 16 h 49"/>
                <a:gd name="T6" fmla="*/ 15 w 32"/>
                <a:gd name="T7" fmla="*/ 32 h 49"/>
                <a:gd name="T8" fmla="*/ 15 w 32"/>
                <a:gd name="T9" fmla="*/ 0 h 49"/>
              </a:gdLst>
              <a:ahLst/>
              <a:cxnLst>
                <a:cxn ang="0">
                  <a:pos x="T0" y="T1"/>
                </a:cxn>
                <a:cxn ang="0">
                  <a:pos x="T2" y="T3"/>
                </a:cxn>
                <a:cxn ang="0">
                  <a:pos x="T4" y="T5"/>
                </a:cxn>
                <a:cxn ang="0">
                  <a:pos x="T6" y="T7"/>
                </a:cxn>
                <a:cxn ang="0">
                  <a:pos x="T8" y="T9"/>
                </a:cxn>
              </a:cxnLst>
              <a:rect l="0" t="0" r="r" b="b"/>
              <a:pathLst>
                <a:path w="32" h="49">
                  <a:moveTo>
                    <a:pt x="15" y="0"/>
                  </a:moveTo>
                  <a:lnTo>
                    <a:pt x="15" y="0"/>
                  </a:lnTo>
                  <a:cubicBezTo>
                    <a:pt x="15" y="0"/>
                    <a:pt x="0" y="8"/>
                    <a:pt x="0" y="16"/>
                  </a:cubicBezTo>
                  <a:cubicBezTo>
                    <a:pt x="0" y="32"/>
                    <a:pt x="7" y="48"/>
                    <a:pt x="15" y="32"/>
                  </a:cubicBezTo>
                  <a:cubicBezTo>
                    <a:pt x="23" y="24"/>
                    <a:pt x="31" y="0"/>
                    <a:pt x="15" y="0"/>
                  </a:cubicBezTo>
                </a:path>
              </a:pathLst>
            </a:custGeom>
            <a:grpFill/>
            <a:ln>
              <a:solidFill>
                <a:schemeClr val="bg1">
                  <a:lumMod val="95000"/>
                </a:schemeClr>
              </a:solidFill>
            </a:ln>
            <a:effectLst/>
          </p:spPr>
          <p:txBody>
            <a:bodyPr wrap="none" anchor="ctr"/>
            <a:lstStyle/>
            <a:p>
              <a:endParaRPr lang="en-US" sz="900"/>
            </a:p>
          </p:txBody>
        </p:sp>
        <p:sp>
          <p:nvSpPr>
            <p:cNvPr id="6" name="Freeform 2"/>
            <p:cNvSpPr>
              <a:spLocks noChangeArrowheads="1"/>
            </p:cNvSpPr>
            <p:nvPr/>
          </p:nvSpPr>
          <p:spPr bwMode="auto">
            <a:xfrm>
              <a:off x="15481608" y="9202005"/>
              <a:ext cx="16234" cy="20874"/>
            </a:xfrm>
            <a:custGeom>
              <a:avLst/>
              <a:gdLst>
                <a:gd name="T0" fmla="*/ 7 w 32"/>
                <a:gd name="T1" fmla="*/ 40 h 41"/>
                <a:gd name="T2" fmla="*/ 7 w 32"/>
                <a:gd name="T3" fmla="*/ 40 h 41"/>
                <a:gd name="T4" fmla="*/ 7 w 32"/>
                <a:gd name="T5" fmla="*/ 40 h 41"/>
                <a:gd name="T6" fmla="*/ 0 w 32"/>
                <a:gd name="T7" fmla="*/ 16 h 41"/>
                <a:gd name="T8" fmla="*/ 15 w 32"/>
                <a:gd name="T9" fmla="*/ 0 h 41"/>
                <a:gd name="T10" fmla="*/ 15 w 32"/>
                <a:gd name="T11" fmla="*/ 0 h 41"/>
                <a:gd name="T12" fmla="*/ 23 w 32"/>
                <a:gd name="T13" fmla="*/ 0 h 41"/>
                <a:gd name="T14" fmla="*/ 15 w 32"/>
                <a:gd name="T15" fmla="*/ 32 h 41"/>
                <a:gd name="T16" fmla="*/ 7 w 32"/>
                <a:gd name="T17" fmla="*/ 40 h 41"/>
                <a:gd name="T18" fmla="*/ 15 w 32"/>
                <a:gd name="T19" fmla="*/ 8 h 41"/>
                <a:gd name="T20" fmla="*/ 15 w 32"/>
                <a:gd name="T21" fmla="*/ 8 h 41"/>
                <a:gd name="T22" fmla="*/ 7 w 32"/>
                <a:gd name="T23" fmla="*/ 16 h 41"/>
                <a:gd name="T24" fmla="*/ 7 w 32"/>
                <a:gd name="T25" fmla="*/ 32 h 41"/>
                <a:gd name="T26" fmla="*/ 15 w 32"/>
                <a:gd name="T27" fmla="*/ 32 h 41"/>
                <a:gd name="T28" fmla="*/ 15 w 32"/>
                <a:gd name="T29"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41">
                  <a:moveTo>
                    <a:pt x="7" y="40"/>
                  </a:moveTo>
                  <a:lnTo>
                    <a:pt x="7" y="40"/>
                  </a:lnTo>
                  <a:lnTo>
                    <a:pt x="7" y="40"/>
                  </a:lnTo>
                  <a:cubicBezTo>
                    <a:pt x="0" y="40"/>
                    <a:pt x="0" y="24"/>
                    <a:pt x="0" y="16"/>
                  </a:cubicBezTo>
                  <a:cubicBezTo>
                    <a:pt x="0" y="0"/>
                    <a:pt x="15" y="0"/>
                    <a:pt x="15" y="0"/>
                  </a:cubicBezTo>
                  <a:lnTo>
                    <a:pt x="15" y="0"/>
                  </a:lnTo>
                  <a:cubicBezTo>
                    <a:pt x="23" y="0"/>
                    <a:pt x="23" y="0"/>
                    <a:pt x="23" y="0"/>
                  </a:cubicBezTo>
                  <a:cubicBezTo>
                    <a:pt x="31" y="8"/>
                    <a:pt x="23" y="24"/>
                    <a:pt x="15" y="32"/>
                  </a:cubicBezTo>
                  <a:cubicBezTo>
                    <a:pt x="15" y="40"/>
                    <a:pt x="15" y="40"/>
                    <a:pt x="7" y="40"/>
                  </a:cubicBezTo>
                  <a:close/>
                  <a:moveTo>
                    <a:pt x="15" y="8"/>
                  </a:moveTo>
                  <a:lnTo>
                    <a:pt x="15" y="8"/>
                  </a:lnTo>
                  <a:cubicBezTo>
                    <a:pt x="15" y="8"/>
                    <a:pt x="7" y="8"/>
                    <a:pt x="7" y="16"/>
                  </a:cubicBezTo>
                  <a:cubicBezTo>
                    <a:pt x="7" y="24"/>
                    <a:pt x="7" y="32"/>
                    <a:pt x="7" y="32"/>
                  </a:cubicBezTo>
                  <a:lnTo>
                    <a:pt x="15" y="32"/>
                  </a:lnTo>
                  <a:cubicBezTo>
                    <a:pt x="15" y="16"/>
                    <a:pt x="15" y="8"/>
                    <a:pt x="15" y="8"/>
                  </a:cubicBezTo>
                  <a:close/>
                </a:path>
              </a:pathLst>
            </a:custGeom>
            <a:grpFill/>
            <a:ln>
              <a:solidFill>
                <a:schemeClr val="bg1">
                  <a:lumMod val="95000"/>
                </a:schemeClr>
              </a:solidFill>
            </a:ln>
            <a:effectLst/>
          </p:spPr>
          <p:txBody>
            <a:bodyPr wrap="none" anchor="ctr"/>
            <a:lstStyle/>
            <a:p>
              <a:endParaRPr lang="en-US" sz="900"/>
            </a:p>
          </p:txBody>
        </p:sp>
        <p:sp>
          <p:nvSpPr>
            <p:cNvPr id="7" name="Freeform 3"/>
            <p:cNvSpPr>
              <a:spLocks noChangeArrowheads="1"/>
            </p:cNvSpPr>
            <p:nvPr/>
          </p:nvSpPr>
          <p:spPr bwMode="auto">
            <a:xfrm>
              <a:off x="15460734" y="9215920"/>
              <a:ext cx="16236" cy="13916"/>
            </a:xfrm>
            <a:custGeom>
              <a:avLst/>
              <a:gdLst>
                <a:gd name="T0" fmla="*/ 8 w 33"/>
                <a:gd name="T1" fmla="*/ 0 h 25"/>
                <a:gd name="T2" fmla="*/ 8 w 33"/>
                <a:gd name="T3" fmla="*/ 0 h 25"/>
                <a:gd name="T4" fmla="*/ 8 w 33"/>
                <a:gd name="T5" fmla="*/ 16 h 25"/>
                <a:gd name="T6" fmla="*/ 24 w 33"/>
                <a:gd name="T7" fmla="*/ 8 h 25"/>
                <a:gd name="T8" fmla="*/ 8 w 33"/>
                <a:gd name="T9" fmla="*/ 0 h 25"/>
              </a:gdLst>
              <a:ahLst/>
              <a:cxnLst>
                <a:cxn ang="0">
                  <a:pos x="T0" y="T1"/>
                </a:cxn>
                <a:cxn ang="0">
                  <a:pos x="T2" y="T3"/>
                </a:cxn>
                <a:cxn ang="0">
                  <a:pos x="T4" y="T5"/>
                </a:cxn>
                <a:cxn ang="0">
                  <a:pos x="T6" y="T7"/>
                </a:cxn>
                <a:cxn ang="0">
                  <a:pos x="T8" y="T9"/>
                </a:cxn>
              </a:cxnLst>
              <a:rect l="0" t="0" r="r" b="b"/>
              <a:pathLst>
                <a:path w="33" h="25">
                  <a:moveTo>
                    <a:pt x="8" y="0"/>
                  </a:moveTo>
                  <a:lnTo>
                    <a:pt x="8" y="0"/>
                  </a:lnTo>
                  <a:cubicBezTo>
                    <a:pt x="8" y="0"/>
                    <a:pt x="0" y="16"/>
                    <a:pt x="8" y="16"/>
                  </a:cubicBezTo>
                  <a:cubicBezTo>
                    <a:pt x="24" y="16"/>
                    <a:pt x="32" y="24"/>
                    <a:pt x="24" y="8"/>
                  </a:cubicBezTo>
                  <a:cubicBezTo>
                    <a:pt x="16" y="0"/>
                    <a:pt x="16" y="0"/>
                    <a:pt x="8" y="0"/>
                  </a:cubicBezTo>
                </a:path>
              </a:pathLst>
            </a:custGeom>
            <a:grpFill/>
            <a:ln>
              <a:solidFill>
                <a:schemeClr val="bg1">
                  <a:lumMod val="95000"/>
                </a:schemeClr>
              </a:solidFill>
            </a:ln>
            <a:effectLst/>
          </p:spPr>
          <p:txBody>
            <a:bodyPr wrap="none" anchor="ctr"/>
            <a:lstStyle/>
            <a:p>
              <a:endParaRPr lang="en-US" sz="900"/>
            </a:p>
          </p:txBody>
        </p:sp>
        <p:sp>
          <p:nvSpPr>
            <p:cNvPr id="8" name="Freeform 4"/>
            <p:cNvSpPr>
              <a:spLocks noChangeArrowheads="1"/>
            </p:cNvSpPr>
            <p:nvPr/>
          </p:nvSpPr>
          <p:spPr bwMode="auto">
            <a:xfrm>
              <a:off x="15460734" y="9211282"/>
              <a:ext cx="16236" cy="16236"/>
            </a:xfrm>
            <a:custGeom>
              <a:avLst/>
              <a:gdLst>
                <a:gd name="T0" fmla="*/ 24 w 33"/>
                <a:gd name="T1" fmla="*/ 32 h 33"/>
                <a:gd name="T2" fmla="*/ 24 w 33"/>
                <a:gd name="T3" fmla="*/ 32 h 33"/>
                <a:gd name="T4" fmla="*/ 24 w 33"/>
                <a:gd name="T5" fmla="*/ 32 h 33"/>
                <a:gd name="T6" fmla="*/ 8 w 33"/>
                <a:gd name="T7" fmla="*/ 24 h 33"/>
                <a:gd name="T8" fmla="*/ 0 w 33"/>
                <a:gd name="T9" fmla="*/ 24 h 33"/>
                <a:gd name="T10" fmla="*/ 0 w 33"/>
                <a:gd name="T11" fmla="*/ 8 h 33"/>
                <a:gd name="T12" fmla="*/ 0 w 33"/>
                <a:gd name="T13" fmla="*/ 0 h 33"/>
                <a:gd name="T14" fmla="*/ 8 w 33"/>
                <a:gd name="T15" fmla="*/ 0 h 33"/>
                <a:gd name="T16" fmla="*/ 32 w 33"/>
                <a:gd name="T17" fmla="*/ 16 h 33"/>
                <a:gd name="T18" fmla="*/ 32 w 33"/>
                <a:gd name="T19" fmla="*/ 16 h 33"/>
                <a:gd name="T20" fmla="*/ 32 w 33"/>
                <a:gd name="T21" fmla="*/ 24 h 33"/>
                <a:gd name="T22" fmla="*/ 24 w 33"/>
                <a:gd name="T23" fmla="*/ 32 h 33"/>
                <a:gd name="T24" fmla="*/ 8 w 33"/>
                <a:gd name="T25" fmla="*/ 8 h 33"/>
                <a:gd name="T26" fmla="*/ 8 w 33"/>
                <a:gd name="T27" fmla="*/ 8 h 33"/>
                <a:gd name="T28" fmla="*/ 8 w 33"/>
                <a:gd name="T29" fmla="*/ 16 h 33"/>
                <a:gd name="T30" fmla="*/ 8 w 33"/>
                <a:gd name="T31" fmla="*/ 24 h 33"/>
                <a:gd name="T32" fmla="*/ 24 w 33"/>
                <a:gd name="T33" fmla="*/ 24 h 33"/>
                <a:gd name="T34" fmla="*/ 24 w 33"/>
                <a:gd name="T35" fmla="*/ 24 h 33"/>
                <a:gd name="T36" fmla="*/ 24 w 33"/>
                <a:gd name="T37" fmla="*/ 24 h 33"/>
                <a:gd name="T38" fmla="*/ 8 w 33"/>
                <a:gd name="T3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3">
                  <a:moveTo>
                    <a:pt x="24" y="32"/>
                  </a:moveTo>
                  <a:lnTo>
                    <a:pt x="24" y="32"/>
                  </a:lnTo>
                  <a:lnTo>
                    <a:pt x="24" y="32"/>
                  </a:lnTo>
                  <a:cubicBezTo>
                    <a:pt x="24" y="32"/>
                    <a:pt x="16" y="32"/>
                    <a:pt x="8" y="24"/>
                  </a:cubicBezTo>
                  <a:cubicBezTo>
                    <a:pt x="0" y="24"/>
                    <a:pt x="0" y="24"/>
                    <a:pt x="0" y="24"/>
                  </a:cubicBezTo>
                  <a:cubicBezTo>
                    <a:pt x="0" y="16"/>
                    <a:pt x="0" y="8"/>
                    <a:pt x="0" y="8"/>
                  </a:cubicBezTo>
                  <a:cubicBezTo>
                    <a:pt x="0" y="0"/>
                    <a:pt x="0" y="0"/>
                    <a:pt x="0" y="0"/>
                  </a:cubicBezTo>
                  <a:cubicBezTo>
                    <a:pt x="8" y="0"/>
                    <a:pt x="8" y="0"/>
                    <a:pt x="8" y="0"/>
                  </a:cubicBezTo>
                  <a:cubicBezTo>
                    <a:pt x="16" y="0"/>
                    <a:pt x="24" y="8"/>
                    <a:pt x="32" y="16"/>
                  </a:cubicBezTo>
                  <a:lnTo>
                    <a:pt x="32" y="16"/>
                  </a:lnTo>
                  <a:lnTo>
                    <a:pt x="32" y="24"/>
                  </a:lnTo>
                  <a:cubicBezTo>
                    <a:pt x="32" y="32"/>
                    <a:pt x="24" y="32"/>
                    <a:pt x="24" y="32"/>
                  </a:cubicBezTo>
                  <a:close/>
                  <a:moveTo>
                    <a:pt x="8" y="8"/>
                  </a:moveTo>
                  <a:lnTo>
                    <a:pt x="8" y="8"/>
                  </a:lnTo>
                  <a:cubicBezTo>
                    <a:pt x="8" y="16"/>
                    <a:pt x="8" y="16"/>
                    <a:pt x="8" y="16"/>
                  </a:cubicBezTo>
                  <a:cubicBezTo>
                    <a:pt x="8" y="16"/>
                    <a:pt x="8" y="16"/>
                    <a:pt x="8" y="24"/>
                  </a:cubicBezTo>
                  <a:cubicBezTo>
                    <a:pt x="16" y="24"/>
                    <a:pt x="24" y="24"/>
                    <a:pt x="24" y="24"/>
                  </a:cubicBezTo>
                  <a:lnTo>
                    <a:pt x="24" y="24"/>
                  </a:lnTo>
                  <a:lnTo>
                    <a:pt x="24" y="24"/>
                  </a:lnTo>
                  <a:cubicBezTo>
                    <a:pt x="16" y="16"/>
                    <a:pt x="16" y="8"/>
                    <a:pt x="8" y="8"/>
                  </a:cubicBezTo>
                  <a:close/>
                </a:path>
              </a:pathLst>
            </a:custGeom>
            <a:grpFill/>
            <a:ln>
              <a:solidFill>
                <a:schemeClr val="bg1">
                  <a:lumMod val="95000"/>
                </a:schemeClr>
              </a:solidFill>
            </a:ln>
            <a:effectLst/>
          </p:spPr>
          <p:txBody>
            <a:bodyPr wrap="none" anchor="ctr"/>
            <a:lstStyle/>
            <a:p>
              <a:endParaRPr lang="en-US" sz="900"/>
            </a:p>
          </p:txBody>
        </p:sp>
        <p:sp>
          <p:nvSpPr>
            <p:cNvPr id="9" name="Freeform 5"/>
            <p:cNvSpPr>
              <a:spLocks noChangeArrowheads="1"/>
            </p:cNvSpPr>
            <p:nvPr/>
          </p:nvSpPr>
          <p:spPr bwMode="auto">
            <a:xfrm>
              <a:off x="15402752" y="9241433"/>
              <a:ext cx="46386" cy="16234"/>
            </a:xfrm>
            <a:custGeom>
              <a:avLst/>
              <a:gdLst>
                <a:gd name="T0" fmla="*/ 71 w 88"/>
                <a:gd name="T1" fmla="*/ 0 h 32"/>
                <a:gd name="T2" fmla="*/ 71 w 88"/>
                <a:gd name="T3" fmla="*/ 0 h 32"/>
                <a:gd name="T4" fmla="*/ 56 w 88"/>
                <a:gd name="T5" fmla="*/ 7 h 32"/>
                <a:gd name="T6" fmla="*/ 24 w 88"/>
                <a:gd name="T7" fmla="*/ 31 h 32"/>
                <a:gd name="T8" fmla="*/ 71 w 88"/>
                <a:gd name="T9" fmla="*/ 15 h 32"/>
                <a:gd name="T10" fmla="*/ 71 w 88"/>
                <a:gd name="T11" fmla="*/ 0 h 32"/>
              </a:gdLst>
              <a:ahLst/>
              <a:cxnLst>
                <a:cxn ang="0">
                  <a:pos x="T0" y="T1"/>
                </a:cxn>
                <a:cxn ang="0">
                  <a:pos x="T2" y="T3"/>
                </a:cxn>
                <a:cxn ang="0">
                  <a:pos x="T4" y="T5"/>
                </a:cxn>
                <a:cxn ang="0">
                  <a:pos x="T6" y="T7"/>
                </a:cxn>
                <a:cxn ang="0">
                  <a:pos x="T8" y="T9"/>
                </a:cxn>
                <a:cxn ang="0">
                  <a:pos x="T10" y="T11"/>
                </a:cxn>
              </a:cxnLst>
              <a:rect l="0" t="0" r="r" b="b"/>
              <a:pathLst>
                <a:path w="88" h="32">
                  <a:moveTo>
                    <a:pt x="71" y="0"/>
                  </a:moveTo>
                  <a:lnTo>
                    <a:pt x="71" y="0"/>
                  </a:lnTo>
                  <a:cubicBezTo>
                    <a:pt x="71" y="0"/>
                    <a:pt x="64" y="15"/>
                    <a:pt x="56" y="7"/>
                  </a:cubicBezTo>
                  <a:cubicBezTo>
                    <a:pt x="40" y="0"/>
                    <a:pt x="0" y="23"/>
                    <a:pt x="24" y="31"/>
                  </a:cubicBezTo>
                  <a:cubicBezTo>
                    <a:pt x="56" y="31"/>
                    <a:pt x="71" y="15"/>
                    <a:pt x="71" y="15"/>
                  </a:cubicBezTo>
                  <a:cubicBezTo>
                    <a:pt x="71" y="15"/>
                    <a:pt x="87" y="7"/>
                    <a:pt x="71" y="0"/>
                  </a:cubicBezTo>
                </a:path>
              </a:pathLst>
            </a:custGeom>
            <a:grpFill/>
            <a:ln>
              <a:solidFill>
                <a:schemeClr val="bg1">
                  <a:lumMod val="95000"/>
                </a:schemeClr>
              </a:solidFill>
            </a:ln>
            <a:effectLst/>
          </p:spPr>
          <p:txBody>
            <a:bodyPr wrap="none" anchor="ctr"/>
            <a:lstStyle/>
            <a:p>
              <a:endParaRPr lang="en-US" sz="900"/>
            </a:p>
          </p:txBody>
        </p:sp>
        <p:sp>
          <p:nvSpPr>
            <p:cNvPr id="10" name="Freeform 6"/>
            <p:cNvSpPr>
              <a:spLocks noChangeArrowheads="1"/>
            </p:cNvSpPr>
            <p:nvPr/>
          </p:nvSpPr>
          <p:spPr bwMode="auto">
            <a:xfrm>
              <a:off x="15412029" y="9236795"/>
              <a:ext cx="37109" cy="20873"/>
            </a:xfrm>
            <a:custGeom>
              <a:avLst/>
              <a:gdLst>
                <a:gd name="T0" fmla="*/ 24 w 72"/>
                <a:gd name="T1" fmla="*/ 39 h 40"/>
                <a:gd name="T2" fmla="*/ 24 w 72"/>
                <a:gd name="T3" fmla="*/ 39 h 40"/>
                <a:gd name="T4" fmla="*/ 24 w 72"/>
                <a:gd name="T5" fmla="*/ 39 h 40"/>
                <a:gd name="T6" fmla="*/ 8 w 72"/>
                <a:gd name="T7" fmla="*/ 39 h 40"/>
                <a:gd name="T8" fmla="*/ 0 w 72"/>
                <a:gd name="T9" fmla="*/ 31 h 40"/>
                <a:gd name="T10" fmla="*/ 32 w 72"/>
                <a:gd name="T11" fmla="*/ 8 h 40"/>
                <a:gd name="T12" fmla="*/ 40 w 72"/>
                <a:gd name="T13" fmla="*/ 15 h 40"/>
                <a:gd name="T14" fmla="*/ 55 w 72"/>
                <a:gd name="T15" fmla="*/ 8 h 40"/>
                <a:gd name="T16" fmla="*/ 55 w 72"/>
                <a:gd name="T17" fmla="*/ 0 h 40"/>
                <a:gd name="T18" fmla="*/ 55 w 72"/>
                <a:gd name="T19" fmla="*/ 0 h 40"/>
                <a:gd name="T20" fmla="*/ 71 w 72"/>
                <a:gd name="T21" fmla="*/ 15 h 40"/>
                <a:gd name="T22" fmla="*/ 55 w 72"/>
                <a:gd name="T23" fmla="*/ 23 h 40"/>
                <a:gd name="T24" fmla="*/ 24 w 72"/>
                <a:gd name="T25" fmla="*/ 39 h 40"/>
                <a:gd name="T26" fmla="*/ 8 w 72"/>
                <a:gd name="T27" fmla="*/ 31 h 40"/>
                <a:gd name="T28" fmla="*/ 8 w 72"/>
                <a:gd name="T29" fmla="*/ 31 h 40"/>
                <a:gd name="T30" fmla="*/ 8 w 72"/>
                <a:gd name="T31" fmla="*/ 31 h 40"/>
                <a:gd name="T32" fmla="*/ 24 w 72"/>
                <a:gd name="T33" fmla="*/ 31 h 40"/>
                <a:gd name="T34" fmla="*/ 55 w 72"/>
                <a:gd name="T35" fmla="*/ 23 h 40"/>
                <a:gd name="T36" fmla="*/ 55 w 72"/>
                <a:gd name="T37" fmla="*/ 15 h 40"/>
                <a:gd name="T38" fmla="*/ 63 w 72"/>
                <a:gd name="T39" fmla="*/ 15 h 40"/>
                <a:gd name="T40" fmla="*/ 55 w 72"/>
                <a:gd name="T41" fmla="*/ 8 h 40"/>
                <a:gd name="T42" fmla="*/ 40 w 72"/>
                <a:gd name="T43" fmla="*/ 23 h 40"/>
                <a:gd name="T44" fmla="*/ 32 w 72"/>
                <a:gd name="T45" fmla="*/ 23 h 40"/>
                <a:gd name="T46" fmla="*/ 32 w 72"/>
                <a:gd name="T47" fmla="*/ 15 h 40"/>
                <a:gd name="T48" fmla="*/ 8 w 72"/>
                <a:gd name="T49"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40">
                  <a:moveTo>
                    <a:pt x="24" y="39"/>
                  </a:moveTo>
                  <a:lnTo>
                    <a:pt x="24" y="39"/>
                  </a:lnTo>
                  <a:lnTo>
                    <a:pt x="24" y="39"/>
                  </a:lnTo>
                  <a:cubicBezTo>
                    <a:pt x="16" y="39"/>
                    <a:pt x="16" y="39"/>
                    <a:pt x="8" y="39"/>
                  </a:cubicBezTo>
                  <a:cubicBezTo>
                    <a:pt x="0" y="39"/>
                    <a:pt x="0" y="31"/>
                    <a:pt x="0" y="31"/>
                  </a:cubicBezTo>
                  <a:cubicBezTo>
                    <a:pt x="0" y="23"/>
                    <a:pt x="24" y="8"/>
                    <a:pt x="32" y="8"/>
                  </a:cubicBezTo>
                  <a:lnTo>
                    <a:pt x="40" y="15"/>
                  </a:lnTo>
                  <a:cubicBezTo>
                    <a:pt x="48" y="15"/>
                    <a:pt x="48" y="8"/>
                    <a:pt x="55" y="8"/>
                  </a:cubicBezTo>
                  <a:cubicBezTo>
                    <a:pt x="55" y="0"/>
                    <a:pt x="55" y="0"/>
                    <a:pt x="55" y="0"/>
                  </a:cubicBezTo>
                  <a:lnTo>
                    <a:pt x="55" y="0"/>
                  </a:lnTo>
                  <a:cubicBezTo>
                    <a:pt x="63" y="8"/>
                    <a:pt x="63" y="8"/>
                    <a:pt x="71" y="15"/>
                  </a:cubicBezTo>
                  <a:cubicBezTo>
                    <a:pt x="71" y="15"/>
                    <a:pt x="63" y="23"/>
                    <a:pt x="55" y="23"/>
                  </a:cubicBezTo>
                  <a:cubicBezTo>
                    <a:pt x="55" y="31"/>
                    <a:pt x="40" y="39"/>
                    <a:pt x="24" y="39"/>
                  </a:cubicBezTo>
                  <a:close/>
                  <a:moveTo>
                    <a:pt x="8" y="31"/>
                  </a:moveTo>
                  <a:lnTo>
                    <a:pt x="8" y="31"/>
                  </a:lnTo>
                  <a:lnTo>
                    <a:pt x="8" y="31"/>
                  </a:lnTo>
                  <a:cubicBezTo>
                    <a:pt x="16" y="31"/>
                    <a:pt x="16" y="31"/>
                    <a:pt x="24" y="31"/>
                  </a:cubicBezTo>
                  <a:cubicBezTo>
                    <a:pt x="40" y="31"/>
                    <a:pt x="55" y="23"/>
                    <a:pt x="55" y="23"/>
                  </a:cubicBezTo>
                  <a:cubicBezTo>
                    <a:pt x="55" y="15"/>
                    <a:pt x="55" y="15"/>
                    <a:pt x="55" y="15"/>
                  </a:cubicBezTo>
                  <a:lnTo>
                    <a:pt x="63" y="15"/>
                  </a:lnTo>
                  <a:lnTo>
                    <a:pt x="55" y="8"/>
                  </a:lnTo>
                  <a:cubicBezTo>
                    <a:pt x="55" y="15"/>
                    <a:pt x="48" y="23"/>
                    <a:pt x="40" y="23"/>
                  </a:cubicBezTo>
                  <a:cubicBezTo>
                    <a:pt x="40" y="23"/>
                    <a:pt x="40" y="23"/>
                    <a:pt x="32" y="23"/>
                  </a:cubicBezTo>
                  <a:lnTo>
                    <a:pt x="32" y="15"/>
                  </a:lnTo>
                  <a:cubicBezTo>
                    <a:pt x="24" y="15"/>
                    <a:pt x="8" y="23"/>
                    <a:pt x="8" y="31"/>
                  </a:cubicBezTo>
                  <a:close/>
                </a:path>
              </a:pathLst>
            </a:custGeom>
            <a:grpFill/>
            <a:ln>
              <a:solidFill>
                <a:schemeClr val="bg1">
                  <a:lumMod val="95000"/>
                </a:schemeClr>
              </a:solidFill>
            </a:ln>
            <a:effectLst/>
          </p:spPr>
          <p:txBody>
            <a:bodyPr wrap="none" anchor="ctr"/>
            <a:lstStyle/>
            <a:p>
              <a:endParaRPr lang="en-US" sz="900"/>
            </a:p>
          </p:txBody>
        </p:sp>
        <p:sp>
          <p:nvSpPr>
            <p:cNvPr id="11" name="Freeform 7"/>
            <p:cNvSpPr>
              <a:spLocks noChangeArrowheads="1"/>
            </p:cNvSpPr>
            <p:nvPr/>
          </p:nvSpPr>
          <p:spPr bwMode="auto">
            <a:xfrm>
              <a:off x="15323896" y="9262306"/>
              <a:ext cx="25512" cy="37109"/>
            </a:xfrm>
            <a:custGeom>
              <a:avLst/>
              <a:gdLst>
                <a:gd name="T0" fmla="*/ 16 w 49"/>
                <a:gd name="T1" fmla="*/ 8 h 72"/>
                <a:gd name="T2" fmla="*/ 16 w 49"/>
                <a:gd name="T3" fmla="*/ 8 h 72"/>
                <a:gd name="T4" fmla="*/ 8 w 49"/>
                <a:gd name="T5" fmla="*/ 16 h 72"/>
                <a:gd name="T6" fmla="*/ 32 w 49"/>
                <a:gd name="T7" fmla="*/ 47 h 72"/>
                <a:gd name="T8" fmla="*/ 48 w 49"/>
                <a:gd name="T9" fmla="*/ 55 h 72"/>
                <a:gd name="T10" fmla="*/ 32 w 49"/>
                <a:gd name="T11" fmla="*/ 24 h 72"/>
                <a:gd name="T12" fmla="*/ 16 w 49"/>
                <a:gd name="T13" fmla="*/ 8 h 72"/>
              </a:gdLst>
              <a:ahLst/>
              <a:cxnLst>
                <a:cxn ang="0">
                  <a:pos x="T0" y="T1"/>
                </a:cxn>
                <a:cxn ang="0">
                  <a:pos x="T2" y="T3"/>
                </a:cxn>
                <a:cxn ang="0">
                  <a:pos x="T4" y="T5"/>
                </a:cxn>
                <a:cxn ang="0">
                  <a:pos x="T6" y="T7"/>
                </a:cxn>
                <a:cxn ang="0">
                  <a:pos x="T8" y="T9"/>
                </a:cxn>
                <a:cxn ang="0">
                  <a:pos x="T10" y="T11"/>
                </a:cxn>
                <a:cxn ang="0">
                  <a:pos x="T12" y="T13"/>
                </a:cxn>
              </a:cxnLst>
              <a:rect l="0" t="0" r="r" b="b"/>
              <a:pathLst>
                <a:path w="49" h="72">
                  <a:moveTo>
                    <a:pt x="16" y="8"/>
                  </a:moveTo>
                  <a:lnTo>
                    <a:pt x="16" y="8"/>
                  </a:lnTo>
                  <a:cubicBezTo>
                    <a:pt x="16" y="8"/>
                    <a:pt x="0" y="8"/>
                    <a:pt x="8" y="16"/>
                  </a:cubicBezTo>
                  <a:cubicBezTo>
                    <a:pt x="8" y="24"/>
                    <a:pt x="24" y="32"/>
                    <a:pt x="32" y="47"/>
                  </a:cubicBezTo>
                  <a:cubicBezTo>
                    <a:pt x="32" y="63"/>
                    <a:pt x="48" y="71"/>
                    <a:pt x="48" y="55"/>
                  </a:cubicBezTo>
                  <a:cubicBezTo>
                    <a:pt x="48" y="40"/>
                    <a:pt x="40" y="32"/>
                    <a:pt x="32" y="24"/>
                  </a:cubicBezTo>
                  <a:cubicBezTo>
                    <a:pt x="32" y="8"/>
                    <a:pt x="32" y="0"/>
                    <a:pt x="16" y="8"/>
                  </a:cubicBezTo>
                </a:path>
              </a:pathLst>
            </a:custGeom>
            <a:grpFill/>
            <a:ln>
              <a:solidFill>
                <a:schemeClr val="bg1">
                  <a:lumMod val="95000"/>
                </a:schemeClr>
              </a:solidFill>
            </a:ln>
            <a:effectLst/>
          </p:spPr>
          <p:txBody>
            <a:bodyPr wrap="none" anchor="ctr"/>
            <a:lstStyle/>
            <a:p>
              <a:endParaRPr lang="en-US" sz="900"/>
            </a:p>
          </p:txBody>
        </p:sp>
        <p:sp>
          <p:nvSpPr>
            <p:cNvPr id="12" name="Freeform 8"/>
            <p:cNvSpPr>
              <a:spLocks noChangeArrowheads="1"/>
            </p:cNvSpPr>
            <p:nvPr/>
          </p:nvSpPr>
          <p:spPr bwMode="auto">
            <a:xfrm>
              <a:off x="15323896" y="9262306"/>
              <a:ext cx="30150" cy="37109"/>
            </a:xfrm>
            <a:custGeom>
              <a:avLst/>
              <a:gdLst>
                <a:gd name="T0" fmla="*/ 48 w 56"/>
                <a:gd name="T1" fmla="*/ 71 h 72"/>
                <a:gd name="T2" fmla="*/ 48 w 56"/>
                <a:gd name="T3" fmla="*/ 71 h 72"/>
                <a:gd name="T4" fmla="*/ 48 w 56"/>
                <a:gd name="T5" fmla="*/ 71 h 72"/>
                <a:gd name="T6" fmla="*/ 24 w 56"/>
                <a:gd name="T7" fmla="*/ 47 h 72"/>
                <a:gd name="T8" fmla="*/ 8 w 56"/>
                <a:gd name="T9" fmla="*/ 32 h 72"/>
                <a:gd name="T10" fmla="*/ 0 w 56"/>
                <a:gd name="T11" fmla="*/ 16 h 72"/>
                <a:gd name="T12" fmla="*/ 0 w 56"/>
                <a:gd name="T13" fmla="*/ 8 h 72"/>
                <a:gd name="T14" fmla="*/ 16 w 56"/>
                <a:gd name="T15" fmla="*/ 0 h 72"/>
                <a:gd name="T16" fmla="*/ 32 w 56"/>
                <a:gd name="T17" fmla="*/ 16 h 72"/>
                <a:gd name="T18" fmla="*/ 40 w 56"/>
                <a:gd name="T19" fmla="*/ 24 h 72"/>
                <a:gd name="T20" fmla="*/ 48 w 56"/>
                <a:gd name="T21" fmla="*/ 32 h 72"/>
                <a:gd name="T22" fmla="*/ 55 w 56"/>
                <a:gd name="T23" fmla="*/ 55 h 72"/>
                <a:gd name="T24" fmla="*/ 55 w 56"/>
                <a:gd name="T25" fmla="*/ 63 h 72"/>
                <a:gd name="T26" fmla="*/ 48 w 56"/>
                <a:gd name="T27" fmla="*/ 71 h 72"/>
                <a:gd name="T28" fmla="*/ 24 w 56"/>
                <a:gd name="T29" fmla="*/ 8 h 72"/>
                <a:gd name="T30" fmla="*/ 24 w 56"/>
                <a:gd name="T31" fmla="*/ 8 h 72"/>
                <a:gd name="T32" fmla="*/ 16 w 56"/>
                <a:gd name="T33" fmla="*/ 8 h 72"/>
                <a:gd name="T34" fmla="*/ 16 w 56"/>
                <a:gd name="T35" fmla="*/ 8 h 72"/>
                <a:gd name="T36" fmla="*/ 8 w 56"/>
                <a:gd name="T37" fmla="*/ 16 h 72"/>
                <a:gd name="T38" fmla="*/ 8 w 56"/>
                <a:gd name="T39" fmla="*/ 16 h 72"/>
                <a:gd name="T40" fmla="*/ 16 w 56"/>
                <a:gd name="T41" fmla="*/ 24 h 72"/>
                <a:gd name="T42" fmla="*/ 32 w 56"/>
                <a:gd name="T43" fmla="*/ 47 h 72"/>
                <a:gd name="T44" fmla="*/ 48 w 56"/>
                <a:gd name="T45" fmla="*/ 63 h 72"/>
                <a:gd name="T46" fmla="*/ 48 w 56"/>
                <a:gd name="T47" fmla="*/ 63 h 72"/>
                <a:gd name="T48" fmla="*/ 48 w 56"/>
                <a:gd name="T49" fmla="*/ 55 h 72"/>
                <a:gd name="T50" fmla="*/ 40 w 56"/>
                <a:gd name="T51" fmla="*/ 40 h 72"/>
                <a:gd name="T52" fmla="*/ 32 w 56"/>
                <a:gd name="T53" fmla="*/ 24 h 72"/>
                <a:gd name="T54" fmla="*/ 24 w 56"/>
                <a:gd name="T55" fmla="*/ 16 h 72"/>
                <a:gd name="T56" fmla="*/ 24 w 56"/>
                <a:gd name="T5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72">
                  <a:moveTo>
                    <a:pt x="48" y="71"/>
                  </a:moveTo>
                  <a:lnTo>
                    <a:pt x="48" y="71"/>
                  </a:lnTo>
                  <a:lnTo>
                    <a:pt x="48" y="71"/>
                  </a:lnTo>
                  <a:cubicBezTo>
                    <a:pt x="40" y="71"/>
                    <a:pt x="32" y="63"/>
                    <a:pt x="24" y="47"/>
                  </a:cubicBezTo>
                  <a:cubicBezTo>
                    <a:pt x="24" y="40"/>
                    <a:pt x="16" y="32"/>
                    <a:pt x="8" y="32"/>
                  </a:cubicBezTo>
                  <a:cubicBezTo>
                    <a:pt x="8" y="24"/>
                    <a:pt x="0" y="24"/>
                    <a:pt x="0" y="16"/>
                  </a:cubicBezTo>
                  <a:lnTo>
                    <a:pt x="0" y="8"/>
                  </a:lnTo>
                  <a:cubicBezTo>
                    <a:pt x="0" y="0"/>
                    <a:pt x="16" y="0"/>
                    <a:pt x="16" y="0"/>
                  </a:cubicBezTo>
                  <a:cubicBezTo>
                    <a:pt x="32" y="0"/>
                    <a:pt x="32" y="8"/>
                    <a:pt x="32" y="16"/>
                  </a:cubicBezTo>
                  <a:cubicBezTo>
                    <a:pt x="32" y="16"/>
                    <a:pt x="40" y="16"/>
                    <a:pt x="40" y="24"/>
                  </a:cubicBezTo>
                  <a:cubicBezTo>
                    <a:pt x="40" y="24"/>
                    <a:pt x="40" y="24"/>
                    <a:pt x="48" y="32"/>
                  </a:cubicBezTo>
                  <a:cubicBezTo>
                    <a:pt x="48" y="32"/>
                    <a:pt x="55" y="40"/>
                    <a:pt x="55" y="55"/>
                  </a:cubicBezTo>
                  <a:lnTo>
                    <a:pt x="55" y="63"/>
                  </a:lnTo>
                  <a:cubicBezTo>
                    <a:pt x="48" y="63"/>
                    <a:pt x="48" y="71"/>
                    <a:pt x="48" y="71"/>
                  </a:cubicBezTo>
                  <a:close/>
                  <a:moveTo>
                    <a:pt x="24" y="8"/>
                  </a:moveTo>
                  <a:lnTo>
                    <a:pt x="24" y="8"/>
                  </a:lnTo>
                  <a:cubicBezTo>
                    <a:pt x="24" y="8"/>
                    <a:pt x="24" y="8"/>
                    <a:pt x="16" y="8"/>
                  </a:cubicBezTo>
                  <a:lnTo>
                    <a:pt x="16" y="8"/>
                  </a:lnTo>
                  <a:cubicBezTo>
                    <a:pt x="16" y="8"/>
                    <a:pt x="8" y="8"/>
                    <a:pt x="8" y="16"/>
                  </a:cubicBezTo>
                  <a:lnTo>
                    <a:pt x="8" y="16"/>
                  </a:lnTo>
                  <a:lnTo>
                    <a:pt x="16" y="24"/>
                  </a:lnTo>
                  <a:cubicBezTo>
                    <a:pt x="24" y="32"/>
                    <a:pt x="32" y="40"/>
                    <a:pt x="32" y="47"/>
                  </a:cubicBezTo>
                  <a:cubicBezTo>
                    <a:pt x="32" y="55"/>
                    <a:pt x="40" y="63"/>
                    <a:pt x="48" y="63"/>
                  </a:cubicBezTo>
                  <a:lnTo>
                    <a:pt x="48" y="63"/>
                  </a:lnTo>
                  <a:cubicBezTo>
                    <a:pt x="48" y="55"/>
                    <a:pt x="48" y="55"/>
                    <a:pt x="48" y="55"/>
                  </a:cubicBezTo>
                  <a:cubicBezTo>
                    <a:pt x="48" y="47"/>
                    <a:pt x="40" y="40"/>
                    <a:pt x="40" y="40"/>
                  </a:cubicBezTo>
                  <a:cubicBezTo>
                    <a:pt x="32" y="32"/>
                    <a:pt x="32" y="32"/>
                    <a:pt x="32" y="24"/>
                  </a:cubicBezTo>
                  <a:cubicBezTo>
                    <a:pt x="32" y="24"/>
                    <a:pt x="32" y="16"/>
                    <a:pt x="24" y="16"/>
                  </a:cubicBezTo>
                  <a:cubicBezTo>
                    <a:pt x="24" y="8"/>
                    <a:pt x="24" y="8"/>
                    <a:pt x="24" y="8"/>
                  </a:cubicBezTo>
                  <a:close/>
                </a:path>
              </a:pathLst>
            </a:custGeom>
            <a:grpFill/>
            <a:ln>
              <a:solidFill>
                <a:schemeClr val="bg1">
                  <a:lumMod val="95000"/>
                </a:schemeClr>
              </a:solidFill>
            </a:ln>
            <a:effectLst/>
          </p:spPr>
          <p:txBody>
            <a:bodyPr wrap="none" anchor="ctr"/>
            <a:lstStyle/>
            <a:p>
              <a:endParaRPr lang="en-US" sz="900"/>
            </a:p>
          </p:txBody>
        </p:sp>
        <p:sp>
          <p:nvSpPr>
            <p:cNvPr id="13" name="Freeform 9"/>
            <p:cNvSpPr>
              <a:spLocks noChangeArrowheads="1"/>
            </p:cNvSpPr>
            <p:nvPr/>
          </p:nvSpPr>
          <p:spPr bwMode="auto">
            <a:xfrm>
              <a:off x="15231123" y="9285500"/>
              <a:ext cx="78856" cy="55663"/>
            </a:xfrm>
            <a:custGeom>
              <a:avLst/>
              <a:gdLst>
                <a:gd name="T0" fmla="*/ 135 w 151"/>
                <a:gd name="T1" fmla="*/ 16 h 104"/>
                <a:gd name="T2" fmla="*/ 135 w 151"/>
                <a:gd name="T3" fmla="*/ 16 h 104"/>
                <a:gd name="T4" fmla="*/ 135 w 151"/>
                <a:gd name="T5" fmla="*/ 32 h 104"/>
                <a:gd name="T6" fmla="*/ 111 w 151"/>
                <a:gd name="T7" fmla="*/ 40 h 104"/>
                <a:gd name="T8" fmla="*/ 63 w 151"/>
                <a:gd name="T9" fmla="*/ 56 h 104"/>
                <a:gd name="T10" fmla="*/ 8 w 151"/>
                <a:gd name="T11" fmla="*/ 80 h 104"/>
                <a:gd name="T12" fmla="*/ 32 w 151"/>
                <a:gd name="T13" fmla="*/ 95 h 104"/>
                <a:gd name="T14" fmla="*/ 79 w 151"/>
                <a:gd name="T15" fmla="*/ 72 h 104"/>
                <a:gd name="T16" fmla="*/ 119 w 151"/>
                <a:gd name="T17" fmla="*/ 56 h 104"/>
                <a:gd name="T18" fmla="*/ 127 w 151"/>
                <a:gd name="T19" fmla="*/ 48 h 104"/>
                <a:gd name="T20" fmla="*/ 142 w 151"/>
                <a:gd name="T21" fmla="*/ 32 h 104"/>
                <a:gd name="T22" fmla="*/ 150 w 151"/>
                <a:gd name="T23" fmla="*/ 24 h 104"/>
                <a:gd name="T24" fmla="*/ 135 w 151"/>
                <a:gd name="T25"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04">
                  <a:moveTo>
                    <a:pt x="135" y="16"/>
                  </a:moveTo>
                  <a:lnTo>
                    <a:pt x="135" y="16"/>
                  </a:lnTo>
                  <a:cubicBezTo>
                    <a:pt x="135" y="16"/>
                    <a:pt x="135" y="24"/>
                    <a:pt x="135" y="32"/>
                  </a:cubicBezTo>
                  <a:cubicBezTo>
                    <a:pt x="135" y="40"/>
                    <a:pt x="127" y="40"/>
                    <a:pt x="111" y="40"/>
                  </a:cubicBezTo>
                  <a:cubicBezTo>
                    <a:pt x="95" y="40"/>
                    <a:pt x="71" y="48"/>
                    <a:pt x="63" y="56"/>
                  </a:cubicBezTo>
                  <a:cubicBezTo>
                    <a:pt x="47" y="72"/>
                    <a:pt x="8" y="72"/>
                    <a:pt x="8" y="80"/>
                  </a:cubicBezTo>
                  <a:cubicBezTo>
                    <a:pt x="16" y="87"/>
                    <a:pt x="0" y="95"/>
                    <a:pt x="32" y="95"/>
                  </a:cubicBezTo>
                  <a:cubicBezTo>
                    <a:pt x="63" y="103"/>
                    <a:pt x="63" y="72"/>
                    <a:pt x="79" y="72"/>
                  </a:cubicBezTo>
                  <a:cubicBezTo>
                    <a:pt x="103" y="72"/>
                    <a:pt x="119" y="64"/>
                    <a:pt x="119" y="56"/>
                  </a:cubicBezTo>
                  <a:cubicBezTo>
                    <a:pt x="119" y="48"/>
                    <a:pt x="119" y="48"/>
                    <a:pt x="127" y="48"/>
                  </a:cubicBezTo>
                  <a:cubicBezTo>
                    <a:pt x="135" y="48"/>
                    <a:pt x="142" y="32"/>
                    <a:pt x="142" y="32"/>
                  </a:cubicBezTo>
                  <a:cubicBezTo>
                    <a:pt x="150" y="32"/>
                    <a:pt x="150" y="32"/>
                    <a:pt x="150" y="24"/>
                  </a:cubicBezTo>
                  <a:cubicBezTo>
                    <a:pt x="150" y="16"/>
                    <a:pt x="142" y="0"/>
                    <a:pt x="135" y="16"/>
                  </a:cubicBezTo>
                </a:path>
              </a:pathLst>
            </a:custGeom>
            <a:grpFill/>
            <a:ln>
              <a:solidFill>
                <a:schemeClr val="bg1">
                  <a:lumMod val="95000"/>
                </a:schemeClr>
              </a:solidFill>
            </a:ln>
            <a:effectLst/>
          </p:spPr>
          <p:txBody>
            <a:bodyPr wrap="none" anchor="ctr"/>
            <a:lstStyle/>
            <a:p>
              <a:endParaRPr lang="en-US" sz="900"/>
            </a:p>
          </p:txBody>
        </p:sp>
        <p:sp>
          <p:nvSpPr>
            <p:cNvPr id="14" name="Freeform 10"/>
            <p:cNvSpPr>
              <a:spLocks noChangeArrowheads="1"/>
            </p:cNvSpPr>
            <p:nvPr/>
          </p:nvSpPr>
          <p:spPr bwMode="auto">
            <a:xfrm>
              <a:off x="15235762" y="9290138"/>
              <a:ext cx="78856" cy="51025"/>
            </a:xfrm>
            <a:custGeom>
              <a:avLst/>
              <a:gdLst>
                <a:gd name="T0" fmla="*/ 24 w 151"/>
                <a:gd name="T1" fmla="*/ 95 h 96"/>
                <a:gd name="T2" fmla="*/ 24 w 151"/>
                <a:gd name="T3" fmla="*/ 95 h 96"/>
                <a:gd name="T4" fmla="*/ 24 w 151"/>
                <a:gd name="T5" fmla="*/ 95 h 96"/>
                <a:gd name="T6" fmla="*/ 24 w 151"/>
                <a:gd name="T7" fmla="*/ 95 h 96"/>
                <a:gd name="T8" fmla="*/ 0 w 151"/>
                <a:gd name="T9" fmla="*/ 87 h 96"/>
                <a:gd name="T10" fmla="*/ 0 w 151"/>
                <a:gd name="T11" fmla="*/ 79 h 96"/>
                <a:gd name="T12" fmla="*/ 0 w 151"/>
                <a:gd name="T13" fmla="*/ 72 h 96"/>
                <a:gd name="T14" fmla="*/ 24 w 151"/>
                <a:gd name="T15" fmla="*/ 56 h 96"/>
                <a:gd name="T16" fmla="*/ 48 w 151"/>
                <a:gd name="T17" fmla="*/ 48 h 96"/>
                <a:gd name="T18" fmla="*/ 103 w 151"/>
                <a:gd name="T19" fmla="*/ 32 h 96"/>
                <a:gd name="T20" fmla="*/ 127 w 151"/>
                <a:gd name="T21" fmla="*/ 24 h 96"/>
                <a:gd name="T22" fmla="*/ 127 w 151"/>
                <a:gd name="T23" fmla="*/ 8 h 96"/>
                <a:gd name="T24" fmla="*/ 127 w 151"/>
                <a:gd name="T25" fmla="*/ 0 h 96"/>
                <a:gd name="T26" fmla="*/ 134 w 151"/>
                <a:gd name="T27" fmla="*/ 0 h 96"/>
                <a:gd name="T28" fmla="*/ 142 w 151"/>
                <a:gd name="T29" fmla="*/ 16 h 96"/>
                <a:gd name="T30" fmla="*/ 142 w 151"/>
                <a:gd name="T31" fmla="*/ 24 h 96"/>
                <a:gd name="T32" fmla="*/ 134 w 151"/>
                <a:gd name="T33" fmla="*/ 32 h 96"/>
                <a:gd name="T34" fmla="*/ 134 w 151"/>
                <a:gd name="T35" fmla="*/ 32 h 96"/>
                <a:gd name="T36" fmla="*/ 119 w 151"/>
                <a:gd name="T37" fmla="*/ 40 h 96"/>
                <a:gd name="T38" fmla="*/ 111 w 151"/>
                <a:gd name="T39" fmla="*/ 40 h 96"/>
                <a:gd name="T40" fmla="*/ 111 w 151"/>
                <a:gd name="T41" fmla="*/ 48 h 96"/>
                <a:gd name="T42" fmla="*/ 71 w 151"/>
                <a:gd name="T43" fmla="*/ 72 h 96"/>
                <a:gd name="T44" fmla="*/ 55 w 151"/>
                <a:gd name="T45" fmla="*/ 79 h 96"/>
                <a:gd name="T46" fmla="*/ 24 w 151"/>
                <a:gd name="T47" fmla="*/ 95 h 96"/>
                <a:gd name="T48" fmla="*/ 8 w 151"/>
                <a:gd name="T49" fmla="*/ 72 h 96"/>
                <a:gd name="T50" fmla="*/ 8 w 151"/>
                <a:gd name="T51" fmla="*/ 72 h 96"/>
                <a:gd name="T52" fmla="*/ 8 w 151"/>
                <a:gd name="T53" fmla="*/ 79 h 96"/>
                <a:gd name="T54" fmla="*/ 8 w 151"/>
                <a:gd name="T55" fmla="*/ 87 h 96"/>
                <a:gd name="T56" fmla="*/ 24 w 151"/>
                <a:gd name="T57" fmla="*/ 87 h 96"/>
                <a:gd name="T58" fmla="*/ 24 w 151"/>
                <a:gd name="T59" fmla="*/ 87 h 96"/>
                <a:gd name="T60" fmla="*/ 48 w 151"/>
                <a:gd name="T61" fmla="*/ 72 h 96"/>
                <a:gd name="T62" fmla="*/ 71 w 151"/>
                <a:gd name="T63" fmla="*/ 64 h 96"/>
                <a:gd name="T64" fmla="*/ 103 w 151"/>
                <a:gd name="T65" fmla="*/ 48 h 96"/>
                <a:gd name="T66" fmla="*/ 111 w 151"/>
                <a:gd name="T67" fmla="*/ 32 h 96"/>
                <a:gd name="T68" fmla="*/ 103 w 151"/>
                <a:gd name="T69" fmla="*/ 32 h 96"/>
                <a:gd name="T70" fmla="*/ 55 w 151"/>
                <a:gd name="T71" fmla="*/ 48 h 96"/>
                <a:gd name="T72" fmla="*/ 24 w 151"/>
                <a:gd name="T73" fmla="*/ 64 h 96"/>
                <a:gd name="T74" fmla="*/ 8 w 151"/>
                <a:gd name="T75" fmla="*/ 72 h 96"/>
                <a:gd name="T76" fmla="*/ 134 w 151"/>
                <a:gd name="T77" fmla="*/ 8 h 96"/>
                <a:gd name="T78" fmla="*/ 134 w 151"/>
                <a:gd name="T79" fmla="*/ 8 h 96"/>
                <a:gd name="T80" fmla="*/ 134 w 151"/>
                <a:gd name="T81" fmla="*/ 24 h 96"/>
                <a:gd name="T82" fmla="*/ 134 w 151"/>
                <a:gd name="T83" fmla="*/ 24 h 96"/>
                <a:gd name="T84" fmla="*/ 134 w 151"/>
                <a:gd name="T85" fmla="*/ 24 h 96"/>
                <a:gd name="T86" fmla="*/ 134 w 151"/>
                <a:gd name="T87" fmla="*/ 16 h 96"/>
                <a:gd name="T88" fmla="*/ 134 w 151"/>
                <a:gd name="T8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96">
                  <a:moveTo>
                    <a:pt x="24" y="95"/>
                  </a:moveTo>
                  <a:lnTo>
                    <a:pt x="24" y="95"/>
                  </a:lnTo>
                  <a:lnTo>
                    <a:pt x="24" y="95"/>
                  </a:lnTo>
                  <a:lnTo>
                    <a:pt x="24" y="95"/>
                  </a:lnTo>
                  <a:cubicBezTo>
                    <a:pt x="8" y="95"/>
                    <a:pt x="8" y="95"/>
                    <a:pt x="0" y="87"/>
                  </a:cubicBezTo>
                  <a:lnTo>
                    <a:pt x="0" y="79"/>
                  </a:lnTo>
                  <a:cubicBezTo>
                    <a:pt x="0" y="79"/>
                    <a:pt x="0" y="79"/>
                    <a:pt x="0" y="72"/>
                  </a:cubicBezTo>
                  <a:cubicBezTo>
                    <a:pt x="0" y="72"/>
                    <a:pt x="8" y="64"/>
                    <a:pt x="24" y="56"/>
                  </a:cubicBezTo>
                  <a:cubicBezTo>
                    <a:pt x="32" y="56"/>
                    <a:pt x="48" y="48"/>
                    <a:pt x="48" y="48"/>
                  </a:cubicBezTo>
                  <a:cubicBezTo>
                    <a:pt x="63" y="32"/>
                    <a:pt x="79" y="32"/>
                    <a:pt x="103" y="32"/>
                  </a:cubicBezTo>
                  <a:cubicBezTo>
                    <a:pt x="111" y="24"/>
                    <a:pt x="127" y="24"/>
                    <a:pt x="127" y="24"/>
                  </a:cubicBezTo>
                  <a:lnTo>
                    <a:pt x="127" y="8"/>
                  </a:lnTo>
                  <a:cubicBezTo>
                    <a:pt x="127" y="0"/>
                    <a:pt x="127" y="0"/>
                    <a:pt x="127" y="0"/>
                  </a:cubicBezTo>
                  <a:cubicBezTo>
                    <a:pt x="127" y="0"/>
                    <a:pt x="127" y="0"/>
                    <a:pt x="134" y="0"/>
                  </a:cubicBezTo>
                  <a:cubicBezTo>
                    <a:pt x="142" y="0"/>
                    <a:pt x="142" y="8"/>
                    <a:pt x="142" y="16"/>
                  </a:cubicBezTo>
                  <a:cubicBezTo>
                    <a:pt x="150" y="24"/>
                    <a:pt x="142" y="24"/>
                    <a:pt x="142" y="24"/>
                  </a:cubicBezTo>
                  <a:cubicBezTo>
                    <a:pt x="142" y="32"/>
                    <a:pt x="134" y="32"/>
                    <a:pt x="134" y="32"/>
                  </a:cubicBezTo>
                  <a:lnTo>
                    <a:pt x="134" y="32"/>
                  </a:lnTo>
                  <a:cubicBezTo>
                    <a:pt x="127" y="40"/>
                    <a:pt x="119" y="40"/>
                    <a:pt x="119" y="40"/>
                  </a:cubicBezTo>
                  <a:lnTo>
                    <a:pt x="111" y="40"/>
                  </a:lnTo>
                  <a:lnTo>
                    <a:pt x="111" y="48"/>
                  </a:lnTo>
                  <a:cubicBezTo>
                    <a:pt x="111" y="56"/>
                    <a:pt x="95" y="72"/>
                    <a:pt x="71" y="72"/>
                  </a:cubicBezTo>
                  <a:cubicBezTo>
                    <a:pt x="63" y="72"/>
                    <a:pt x="63" y="72"/>
                    <a:pt x="55" y="79"/>
                  </a:cubicBezTo>
                  <a:cubicBezTo>
                    <a:pt x="48" y="87"/>
                    <a:pt x="39" y="95"/>
                    <a:pt x="24" y="95"/>
                  </a:cubicBezTo>
                  <a:close/>
                  <a:moveTo>
                    <a:pt x="8" y="72"/>
                  </a:moveTo>
                  <a:lnTo>
                    <a:pt x="8" y="72"/>
                  </a:lnTo>
                  <a:cubicBezTo>
                    <a:pt x="8" y="79"/>
                    <a:pt x="8" y="79"/>
                    <a:pt x="8" y="79"/>
                  </a:cubicBezTo>
                  <a:cubicBezTo>
                    <a:pt x="8" y="79"/>
                    <a:pt x="8" y="79"/>
                    <a:pt x="8" y="87"/>
                  </a:cubicBezTo>
                  <a:cubicBezTo>
                    <a:pt x="8" y="87"/>
                    <a:pt x="8" y="87"/>
                    <a:pt x="24" y="87"/>
                  </a:cubicBezTo>
                  <a:lnTo>
                    <a:pt x="24" y="87"/>
                  </a:lnTo>
                  <a:cubicBezTo>
                    <a:pt x="39" y="87"/>
                    <a:pt x="48" y="79"/>
                    <a:pt x="48" y="72"/>
                  </a:cubicBezTo>
                  <a:cubicBezTo>
                    <a:pt x="55" y="64"/>
                    <a:pt x="63" y="64"/>
                    <a:pt x="71" y="64"/>
                  </a:cubicBezTo>
                  <a:cubicBezTo>
                    <a:pt x="95" y="64"/>
                    <a:pt x="103" y="48"/>
                    <a:pt x="103" y="48"/>
                  </a:cubicBezTo>
                  <a:cubicBezTo>
                    <a:pt x="103" y="40"/>
                    <a:pt x="103" y="40"/>
                    <a:pt x="111" y="32"/>
                  </a:cubicBezTo>
                  <a:cubicBezTo>
                    <a:pt x="103" y="32"/>
                    <a:pt x="103" y="32"/>
                    <a:pt x="103" y="32"/>
                  </a:cubicBezTo>
                  <a:cubicBezTo>
                    <a:pt x="87" y="40"/>
                    <a:pt x="63" y="40"/>
                    <a:pt x="55" y="48"/>
                  </a:cubicBezTo>
                  <a:cubicBezTo>
                    <a:pt x="48" y="56"/>
                    <a:pt x="39" y="64"/>
                    <a:pt x="24" y="64"/>
                  </a:cubicBezTo>
                  <a:cubicBezTo>
                    <a:pt x="16" y="72"/>
                    <a:pt x="8" y="72"/>
                    <a:pt x="8" y="72"/>
                  </a:cubicBezTo>
                  <a:close/>
                  <a:moveTo>
                    <a:pt x="134" y="8"/>
                  </a:moveTo>
                  <a:lnTo>
                    <a:pt x="134" y="8"/>
                  </a:lnTo>
                  <a:cubicBezTo>
                    <a:pt x="134" y="8"/>
                    <a:pt x="134" y="16"/>
                    <a:pt x="134" y="24"/>
                  </a:cubicBezTo>
                  <a:lnTo>
                    <a:pt x="134" y="24"/>
                  </a:lnTo>
                  <a:lnTo>
                    <a:pt x="134" y="24"/>
                  </a:lnTo>
                  <a:cubicBezTo>
                    <a:pt x="134" y="24"/>
                    <a:pt x="142" y="16"/>
                    <a:pt x="134" y="16"/>
                  </a:cubicBezTo>
                  <a:cubicBezTo>
                    <a:pt x="134" y="8"/>
                    <a:pt x="134" y="8"/>
                    <a:pt x="134" y="8"/>
                  </a:cubicBezTo>
                  <a:close/>
                </a:path>
              </a:pathLst>
            </a:custGeom>
            <a:grpFill/>
            <a:ln>
              <a:solidFill>
                <a:schemeClr val="bg1">
                  <a:lumMod val="95000"/>
                </a:schemeClr>
              </a:solidFill>
            </a:ln>
            <a:effectLst/>
          </p:spPr>
          <p:txBody>
            <a:bodyPr wrap="none" anchor="ctr"/>
            <a:lstStyle/>
            <a:p>
              <a:endParaRPr lang="en-US" sz="900"/>
            </a:p>
          </p:txBody>
        </p:sp>
        <p:sp>
          <p:nvSpPr>
            <p:cNvPr id="15" name="Freeform 11"/>
            <p:cNvSpPr>
              <a:spLocks noChangeArrowheads="1"/>
            </p:cNvSpPr>
            <p:nvPr/>
          </p:nvSpPr>
          <p:spPr bwMode="auto">
            <a:xfrm>
              <a:off x="10140247" y="6757456"/>
              <a:ext cx="2785487" cy="2690395"/>
            </a:xfrm>
            <a:custGeom>
              <a:avLst/>
              <a:gdLst>
                <a:gd name="T0" fmla="*/ 5193 w 5297"/>
                <a:gd name="T1" fmla="*/ 3170 h 5116"/>
                <a:gd name="T2" fmla="*/ 5217 w 5297"/>
                <a:gd name="T3" fmla="*/ 2965 h 5116"/>
                <a:gd name="T4" fmla="*/ 5272 w 5297"/>
                <a:gd name="T5" fmla="*/ 2799 h 5116"/>
                <a:gd name="T6" fmla="*/ 5232 w 5297"/>
                <a:gd name="T7" fmla="*/ 2498 h 5116"/>
                <a:gd name="T8" fmla="*/ 5114 w 5297"/>
                <a:gd name="T9" fmla="*/ 2237 h 5116"/>
                <a:gd name="T10" fmla="*/ 4956 w 5297"/>
                <a:gd name="T11" fmla="*/ 1431 h 5116"/>
                <a:gd name="T12" fmla="*/ 4766 w 5297"/>
                <a:gd name="T13" fmla="*/ 1376 h 5116"/>
                <a:gd name="T14" fmla="*/ 4497 w 5297"/>
                <a:gd name="T15" fmla="*/ 1320 h 5116"/>
                <a:gd name="T16" fmla="*/ 4292 w 5297"/>
                <a:gd name="T17" fmla="*/ 1312 h 5116"/>
                <a:gd name="T18" fmla="*/ 4008 w 5297"/>
                <a:gd name="T19" fmla="*/ 1305 h 5116"/>
                <a:gd name="T20" fmla="*/ 3881 w 5297"/>
                <a:gd name="T21" fmla="*/ 1336 h 5116"/>
                <a:gd name="T22" fmla="*/ 3739 w 5297"/>
                <a:gd name="T23" fmla="*/ 1312 h 5116"/>
                <a:gd name="T24" fmla="*/ 3518 w 5297"/>
                <a:gd name="T25" fmla="*/ 1320 h 5116"/>
                <a:gd name="T26" fmla="*/ 3399 w 5297"/>
                <a:gd name="T27" fmla="*/ 1194 h 5116"/>
                <a:gd name="T28" fmla="*/ 3202 w 5297"/>
                <a:gd name="T29" fmla="*/ 1194 h 5116"/>
                <a:gd name="T30" fmla="*/ 2980 w 5297"/>
                <a:gd name="T31" fmla="*/ 1028 h 5116"/>
                <a:gd name="T32" fmla="*/ 2759 w 5297"/>
                <a:gd name="T33" fmla="*/ 55 h 5116"/>
                <a:gd name="T34" fmla="*/ 39 w 5297"/>
                <a:gd name="T35" fmla="*/ 2024 h 5116"/>
                <a:gd name="T36" fmla="*/ 253 w 5297"/>
                <a:gd name="T37" fmla="*/ 2316 h 5116"/>
                <a:gd name="T38" fmla="*/ 672 w 5297"/>
                <a:gd name="T39" fmla="*/ 2719 h 5116"/>
                <a:gd name="T40" fmla="*/ 798 w 5297"/>
                <a:gd name="T41" fmla="*/ 3178 h 5116"/>
                <a:gd name="T42" fmla="*/ 1154 w 5297"/>
                <a:gd name="T43" fmla="*/ 3431 h 5116"/>
                <a:gd name="T44" fmla="*/ 1541 w 5297"/>
                <a:gd name="T45" fmla="*/ 3265 h 5116"/>
                <a:gd name="T46" fmla="*/ 1889 w 5297"/>
                <a:gd name="T47" fmla="*/ 3178 h 5116"/>
                <a:gd name="T48" fmla="*/ 2324 w 5297"/>
                <a:gd name="T49" fmla="*/ 3463 h 5116"/>
                <a:gd name="T50" fmla="*/ 2704 w 5297"/>
                <a:gd name="T51" fmla="*/ 4134 h 5116"/>
                <a:gd name="T52" fmla="*/ 2870 w 5297"/>
                <a:gd name="T53" fmla="*/ 4411 h 5116"/>
                <a:gd name="T54" fmla="*/ 3012 w 5297"/>
                <a:gd name="T55" fmla="*/ 4806 h 5116"/>
                <a:gd name="T56" fmla="*/ 3423 w 5297"/>
                <a:gd name="T57" fmla="*/ 4988 h 5116"/>
                <a:gd name="T58" fmla="*/ 3747 w 5297"/>
                <a:gd name="T59" fmla="*/ 5107 h 5116"/>
                <a:gd name="T60" fmla="*/ 3826 w 5297"/>
                <a:gd name="T61" fmla="*/ 5036 h 5116"/>
                <a:gd name="T62" fmla="*/ 3747 w 5297"/>
                <a:gd name="T63" fmla="*/ 4901 h 5116"/>
                <a:gd name="T64" fmla="*/ 3660 w 5297"/>
                <a:gd name="T65" fmla="*/ 4593 h 5116"/>
                <a:gd name="T66" fmla="*/ 3755 w 5297"/>
                <a:gd name="T67" fmla="*/ 4743 h 5116"/>
                <a:gd name="T68" fmla="*/ 3779 w 5297"/>
                <a:gd name="T69" fmla="*/ 4712 h 5116"/>
                <a:gd name="T70" fmla="*/ 3668 w 5297"/>
                <a:gd name="T71" fmla="*/ 4435 h 5116"/>
                <a:gd name="T72" fmla="*/ 3715 w 5297"/>
                <a:gd name="T73" fmla="*/ 4403 h 5116"/>
                <a:gd name="T74" fmla="*/ 3834 w 5297"/>
                <a:gd name="T75" fmla="*/ 4222 h 5116"/>
                <a:gd name="T76" fmla="*/ 3771 w 5297"/>
                <a:gd name="T77" fmla="*/ 4253 h 5116"/>
                <a:gd name="T78" fmla="*/ 3771 w 5297"/>
                <a:gd name="T79" fmla="*/ 4142 h 5116"/>
                <a:gd name="T80" fmla="*/ 3826 w 5297"/>
                <a:gd name="T81" fmla="*/ 4056 h 5116"/>
                <a:gd name="T82" fmla="*/ 3992 w 5297"/>
                <a:gd name="T83" fmla="*/ 3937 h 5116"/>
                <a:gd name="T84" fmla="*/ 4094 w 5297"/>
                <a:gd name="T85" fmla="*/ 3921 h 5116"/>
                <a:gd name="T86" fmla="*/ 4110 w 5297"/>
                <a:gd name="T87" fmla="*/ 3858 h 5116"/>
                <a:gd name="T88" fmla="*/ 4157 w 5297"/>
                <a:gd name="T89" fmla="*/ 3803 h 5116"/>
                <a:gd name="T90" fmla="*/ 4220 w 5297"/>
                <a:gd name="T91" fmla="*/ 3874 h 5116"/>
                <a:gd name="T92" fmla="*/ 4473 w 5297"/>
                <a:gd name="T93" fmla="*/ 3723 h 5116"/>
                <a:gd name="T94" fmla="*/ 4750 w 5297"/>
                <a:gd name="T95" fmla="*/ 3407 h 5116"/>
                <a:gd name="T96" fmla="*/ 4766 w 5297"/>
                <a:gd name="T97" fmla="*/ 3305 h 5116"/>
                <a:gd name="T98" fmla="*/ 4813 w 5297"/>
                <a:gd name="T99" fmla="*/ 3328 h 5116"/>
                <a:gd name="T100" fmla="*/ 4790 w 5297"/>
                <a:gd name="T101" fmla="*/ 3447 h 5116"/>
                <a:gd name="T102" fmla="*/ 4797 w 5297"/>
                <a:gd name="T103" fmla="*/ 3478 h 5116"/>
                <a:gd name="T104" fmla="*/ 5185 w 5297"/>
                <a:gd name="T105" fmla="*/ 3265 h 5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7" h="5116">
                  <a:moveTo>
                    <a:pt x="5169" y="3249"/>
                  </a:moveTo>
                  <a:lnTo>
                    <a:pt x="5169" y="3249"/>
                  </a:lnTo>
                  <a:cubicBezTo>
                    <a:pt x="5161" y="3241"/>
                    <a:pt x="5145" y="3233"/>
                    <a:pt x="5153" y="3217"/>
                  </a:cubicBezTo>
                  <a:cubicBezTo>
                    <a:pt x="5161" y="3202"/>
                    <a:pt x="5177" y="3186"/>
                    <a:pt x="5193" y="3170"/>
                  </a:cubicBezTo>
                  <a:cubicBezTo>
                    <a:pt x="5217" y="3146"/>
                    <a:pt x="5209" y="3123"/>
                    <a:pt x="5217" y="3107"/>
                  </a:cubicBezTo>
                  <a:cubicBezTo>
                    <a:pt x="5232" y="3091"/>
                    <a:pt x="5240" y="3099"/>
                    <a:pt x="5240" y="3083"/>
                  </a:cubicBezTo>
                  <a:cubicBezTo>
                    <a:pt x="5240" y="3059"/>
                    <a:pt x="5248" y="3043"/>
                    <a:pt x="5232" y="3020"/>
                  </a:cubicBezTo>
                  <a:cubicBezTo>
                    <a:pt x="5224" y="2996"/>
                    <a:pt x="5209" y="2980"/>
                    <a:pt x="5217" y="2965"/>
                  </a:cubicBezTo>
                  <a:cubicBezTo>
                    <a:pt x="5217" y="2957"/>
                    <a:pt x="5224" y="2925"/>
                    <a:pt x="5232" y="2925"/>
                  </a:cubicBezTo>
                  <a:cubicBezTo>
                    <a:pt x="5248" y="2925"/>
                    <a:pt x="5248" y="2901"/>
                    <a:pt x="5240" y="2886"/>
                  </a:cubicBezTo>
                  <a:cubicBezTo>
                    <a:pt x="5232" y="2870"/>
                    <a:pt x="5193" y="2878"/>
                    <a:pt x="5217" y="2854"/>
                  </a:cubicBezTo>
                  <a:cubicBezTo>
                    <a:pt x="5248" y="2822"/>
                    <a:pt x="5248" y="2838"/>
                    <a:pt x="5272" y="2799"/>
                  </a:cubicBezTo>
                  <a:cubicBezTo>
                    <a:pt x="5288" y="2759"/>
                    <a:pt x="5288" y="2727"/>
                    <a:pt x="5288" y="2712"/>
                  </a:cubicBezTo>
                  <a:cubicBezTo>
                    <a:pt x="5288" y="2688"/>
                    <a:pt x="5280" y="2672"/>
                    <a:pt x="5288" y="2648"/>
                  </a:cubicBezTo>
                  <a:cubicBezTo>
                    <a:pt x="5296" y="2617"/>
                    <a:pt x="5288" y="2585"/>
                    <a:pt x="5272" y="2553"/>
                  </a:cubicBezTo>
                  <a:cubicBezTo>
                    <a:pt x="5256" y="2522"/>
                    <a:pt x="5232" y="2546"/>
                    <a:pt x="5232" y="2498"/>
                  </a:cubicBezTo>
                  <a:cubicBezTo>
                    <a:pt x="5232" y="2459"/>
                    <a:pt x="5217" y="2435"/>
                    <a:pt x="5201" y="2419"/>
                  </a:cubicBezTo>
                  <a:cubicBezTo>
                    <a:pt x="5185" y="2403"/>
                    <a:pt x="5161" y="2403"/>
                    <a:pt x="5169" y="2380"/>
                  </a:cubicBezTo>
                  <a:cubicBezTo>
                    <a:pt x="5177" y="2356"/>
                    <a:pt x="5185" y="2348"/>
                    <a:pt x="5177" y="2316"/>
                  </a:cubicBezTo>
                  <a:cubicBezTo>
                    <a:pt x="5161" y="2277"/>
                    <a:pt x="5130" y="2261"/>
                    <a:pt x="5114" y="2237"/>
                  </a:cubicBezTo>
                  <a:cubicBezTo>
                    <a:pt x="5098" y="2213"/>
                    <a:pt x="5066" y="2198"/>
                    <a:pt x="5066" y="2198"/>
                  </a:cubicBezTo>
                  <a:cubicBezTo>
                    <a:pt x="5059" y="1455"/>
                    <a:pt x="5059" y="1455"/>
                    <a:pt x="5059" y="1455"/>
                  </a:cubicBezTo>
                  <a:cubicBezTo>
                    <a:pt x="5059" y="1455"/>
                    <a:pt x="5043" y="1431"/>
                    <a:pt x="5019" y="1431"/>
                  </a:cubicBezTo>
                  <a:cubicBezTo>
                    <a:pt x="4987" y="1431"/>
                    <a:pt x="4964" y="1423"/>
                    <a:pt x="4956" y="1431"/>
                  </a:cubicBezTo>
                  <a:cubicBezTo>
                    <a:pt x="4940" y="1431"/>
                    <a:pt x="4948" y="1478"/>
                    <a:pt x="4924" y="1463"/>
                  </a:cubicBezTo>
                  <a:cubicBezTo>
                    <a:pt x="4900" y="1439"/>
                    <a:pt x="4916" y="1399"/>
                    <a:pt x="4884" y="1399"/>
                  </a:cubicBezTo>
                  <a:cubicBezTo>
                    <a:pt x="4853" y="1391"/>
                    <a:pt x="4869" y="1407"/>
                    <a:pt x="4829" y="1407"/>
                  </a:cubicBezTo>
                  <a:cubicBezTo>
                    <a:pt x="4797" y="1407"/>
                    <a:pt x="4774" y="1391"/>
                    <a:pt x="4766" y="1376"/>
                  </a:cubicBezTo>
                  <a:cubicBezTo>
                    <a:pt x="4758" y="1368"/>
                    <a:pt x="4726" y="1376"/>
                    <a:pt x="4687" y="1328"/>
                  </a:cubicBezTo>
                  <a:cubicBezTo>
                    <a:pt x="4647" y="1281"/>
                    <a:pt x="4624" y="1265"/>
                    <a:pt x="4600" y="1265"/>
                  </a:cubicBezTo>
                  <a:cubicBezTo>
                    <a:pt x="4576" y="1265"/>
                    <a:pt x="4568" y="1289"/>
                    <a:pt x="4553" y="1305"/>
                  </a:cubicBezTo>
                  <a:cubicBezTo>
                    <a:pt x="4544" y="1320"/>
                    <a:pt x="4529" y="1344"/>
                    <a:pt x="4497" y="1320"/>
                  </a:cubicBezTo>
                  <a:cubicBezTo>
                    <a:pt x="4466" y="1296"/>
                    <a:pt x="4473" y="1281"/>
                    <a:pt x="4450" y="1281"/>
                  </a:cubicBezTo>
                  <a:cubicBezTo>
                    <a:pt x="4434" y="1281"/>
                    <a:pt x="4386" y="1281"/>
                    <a:pt x="4386" y="1305"/>
                  </a:cubicBezTo>
                  <a:cubicBezTo>
                    <a:pt x="4379" y="1336"/>
                    <a:pt x="4363" y="1360"/>
                    <a:pt x="4331" y="1344"/>
                  </a:cubicBezTo>
                  <a:cubicBezTo>
                    <a:pt x="4307" y="1320"/>
                    <a:pt x="4323" y="1305"/>
                    <a:pt x="4292" y="1312"/>
                  </a:cubicBezTo>
                  <a:cubicBezTo>
                    <a:pt x="4252" y="1320"/>
                    <a:pt x="4220" y="1344"/>
                    <a:pt x="4204" y="1368"/>
                  </a:cubicBezTo>
                  <a:cubicBezTo>
                    <a:pt x="4181" y="1391"/>
                    <a:pt x="4165" y="1423"/>
                    <a:pt x="4141" y="1399"/>
                  </a:cubicBezTo>
                  <a:cubicBezTo>
                    <a:pt x="4110" y="1383"/>
                    <a:pt x="4094" y="1368"/>
                    <a:pt x="4062" y="1336"/>
                  </a:cubicBezTo>
                  <a:cubicBezTo>
                    <a:pt x="4039" y="1312"/>
                    <a:pt x="4016" y="1281"/>
                    <a:pt x="4008" y="1305"/>
                  </a:cubicBezTo>
                  <a:cubicBezTo>
                    <a:pt x="4000" y="1328"/>
                    <a:pt x="3992" y="1352"/>
                    <a:pt x="3976" y="1336"/>
                  </a:cubicBezTo>
                  <a:cubicBezTo>
                    <a:pt x="3953" y="1312"/>
                    <a:pt x="3945" y="1296"/>
                    <a:pt x="3929" y="1281"/>
                  </a:cubicBezTo>
                  <a:cubicBezTo>
                    <a:pt x="3913" y="1273"/>
                    <a:pt x="3913" y="1241"/>
                    <a:pt x="3897" y="1273"/>
                  </a:cubicBezTo>
                  <a:cubicBezTo>
                    <a:pt x="3881" y="1312"/>
                    <a:pt x="3881" y="1305"/>
                    <a:pt x="3881" y="1336"/>
                  </a:cubicBezTo>
                  <a:cubicBezTo>
                    <a:pt x="3881" y="1360"/>
                    <a:pt x="3874" y="1399"/>
                    <a:pt x="3858" y="1391"/>
                  </a:cubicBezTo>
                  <a:cubicBezTo>
                    <a:pt x="3842" y="1383"/>
                    <a:pt x="3818" y="1383"/>
                    <a:pt x="3826" y="1352"/>
                  </a:cubicBezTo>
                  <a:cubicBezTo>
                    <a:pt x="3834" y="1320"/>
                    <a:pt x="3842" y="1305"/>
                    <a:pt x="3826" y="1305"/>
                  </a:cubicBezTo>
                  <a:cubicBezTo>
                    <a:pt x="3810" y="1305"/>
                    <a:pt x="3739" y="1296"/>
                    <a:pt x="3739" y="1312"/>
                  </a:cubicBezTo>
                  <a:cubicBezTo>
                    <a:pt x="3739" y="1336"/>
                    <a:pt x="3708" y="1336"/>
                    <a:pt x="3692" y="1320"/>
                  </a:cubicBezTo>
                  <a:cubicBezTo>
                    <a:pt x="3684" y="1305"/>
                    <a:pt x="3676" y="1289"/>
                    <a:pt x="3644" y="1281"/>
                  </a:cubicBezTo>
                  <a:cubicBezTo>
                    <a:pt x="3613" y="1273"/>
                    <a:pt x="3589" y="1273"/>
                    <a:pt x="3581" y="1296"/>
                  </a:cubicBezTo>
                  <a:cubicBezTo>
                    <a:pt x="3565" y="1312"/>
                    <a:pt x="3534" y="1352"/>
                    <a:pt x="3518" y="1320"/>
                  </a:cubicBezTo>
                  <a:cubicBezTo>
                    <a:pt x="3510" y="1296"/>
                    <a:pt x="3526" y="1265"/>
                    <a:pt x="3510" y="1249"/>
                  </a:cubicBezTo>
                  <a:cubicBezTo>
                    <a:pt x="3486" y="1241"/>
                    <a:pt x="3478" y="1249"/>
                    <a:pt x="3478" y="1225"/>
                  </a:cubicBezTo>
                  <a:cubicBezTo>
                    <a:pt x="3478" y="1202"/>
                    <a:pt x="3486" y="1186"/>
                    <a:pt x="3462" y="1186"/>
                  </a:cubicBezTo>
                  <a:cubicBezTo>
                    <a:pt x="3431" y="1186"/>
                    <a:pt x="3407" y="1178"/>
                    <a:pt x="3399" y="1194"/>
                  </a:cubicBezTo>
                  <a:cubicBezTo>
                    <a:pt x="3399" y="1202"/>
                    <a:pt x="3375" y="1178"/>
                    <a:pt x="3368" y="1210"/>
                  </a:cubicBezTo>
                  <a:cubicBezTo>
                    <a:pt x="3360" y="1241"/>
                    <a:pt x="3328" y="1249"/>
                    <a:pt x="3320" y="1225"/>
                  </a:cubicBezTo>
                  <a:cubicBezTo>
                    <a:pt x="3320" y="1202"/>
                    <a:pt x="3320" y="1194"/>
                    <a:pt x="3289" y="1186"/>
                  </a:cubicBezTo>
                  <a:cubicBezTo>
                    <a:pt x="3257" y="1186"/>
                    <a:pt x="3225" y="1210"/>
                    <a:pt x="3202" y="1194"/>
                  </a:cubicBezTo>
                  <a:cubicBezTo>
                    <a:pt x="3202" y="1194"/>
                    <a:pt x="3186" y="1162"/>
                    <a:pt x="3146" y="1162"/>
                  </a:cubicBezTo>
                  <a:cubicBezTo>
                    <a:pt x="3099" y="1170"/>
                    <a:pt x="3091" y="1154"/>
                    <a:pt x="3059" y="1146"/>
                  </a:cubicBezTo>
                  <a:cubicBezTo>
                    <a:pt x="3028" y="1138"/>
                    <a:pt x="3036" y="1099"/>
                    <a:pt x="3028" y="1075"/>
                  </a:cubicBezTo>
                  <a:cubicBezTo>
                    <a:pt x="3012" y="1052"/>
                    <a:pt x="2996" y="1020"/>
                    <a:pt x="2980" y="1028"/>
                  </a:cubicBezTo>
                  <a:cubicBezTo>
                    <a:pt x="2957" y="1036"/>
                    <a:pt x="2972" y="1075"/>
                    <a:pt x="2933" y="1059"/>
                  </a:cubicBezTo>
                  <a:cubicBezTo>
                    <a:pt x="2885" y="1052"/>
                    <a:pt x="2885" y="1083"/>
                    <a:pt x="2854" y="1052"/>
                  </a:cubicBezTo>
                  <a:cubicBezTo>
                    <a:pt x="2814" y="1020"/>
                    <a:pt x="2806" y="988"/>
                    <a:pt x="2775" y="965"/>
                  </a:cubicBezTo>
                  <a:cubicBezTo>
                    <a:pt x="2743" y="941"/>
                    <a:pt x="2759" y="55"/>
                    <a:pt x="2759" y="55"/>
                  </a:cubicBezTo>
                  <a:cubicBezTo>
                    <a:pt x="1613" y="0"/>
                    <a:pt x="1613" y="0"/>
                    <a:pt x="1613" y="0"/>
                  </a:cubicBezTo>
                  <a:cubicBezTo>
                    <a:pt x="1470" y="2095"/>
                    <a:pt x="1470" y="2095"/>
                    <a:pt x="1470" y="2095"/>
                  </a:cubicBezTo>
                  <a:cubicBezTo>
                    <a:pt x="1470" y="2095"/>
                    <a:pt x="1470" y="2142"/>
                    <a:pt x="1439" y="2142"/>
                  </a:cubicBezTo>
                  <a:cubicBezTo>
                    <a:pt x="1415" y="2142"/>
                    <a:pt x="39" y="2024"/>
                    <a:pt x="39" y="2024"/>
                  </a:cubicBezTo>
                  <a:cubicBezTo>
                    <a:pt x="39" y="2024"/>
                    <a:pt x="0" y="1984"/>
                    <a:pt x="71" y="2127"/>
                  </a:cubicBezTo>
                  <a:cubicBezTo>
                    <a:pt x="87" y="2127"/>
                    <a:pt x="103" y="2135"/>
                    <a:pt x="103" y="2135"/>
                  </a:cubicBezTo>
                  <a:cubicBezTo>
                    <a:pt x="111" y="2135"/>
                    <a:pt x="182" y="2182"/>
                    <a:pt x="182" y="2253"/>
                  </a:cubicBezTo>
                  <a:cubicBezTo>
                    <a:pt x="182" y="2316"/>
                    <a:pt x="190" y="2277"/>
                    <a:pt x="253" y="2316"/>
                  </a:cubicBezTo>
                  <a:cubicBezTo>
                    <a:pt x="308" y="2348"/>
                    <a:pt x="332" y="2372"/>
                    <a:pt x="371" y="2419"/>
                  </a:cubicBezTo>
                  <a:cubicBezTo>
                    <a:pt x="411" y="2459"/>
                    <a:pt x="427" y="2466"/>
                    <a:pt x="443" y="2530"/>
                  </a:cubicBezTo>
                  <a:cubicBezTo>
                    <a:pt x="458" y="2593"/>
                    <a:pt x="506" y="2569"/>
                    <a:pt x="545" y="2609"/>
                  </a:cubicBezTo>
                  <a:cubicBezTo>
                    <a:pt x="593" y="2648"/>
                    <a:pt x="609" y="2672"/>
                    <a:pt x="672" y="2719"/>
                  </a:cubicBezTo>
                  <a:cubicBezTo>
                    <a:pt x="735" y="2767"/>
                    <a:pt x="719" y="2767"/>
                    <a:pt x="719" y="2806"/>
                  </a:cubicBezTo>
                  <a:cubicBezTo>
                    <a:pt x="719" y="2846"/>
                    <a:pt x="696" y="2830"/>
                    <a:pt x="767" y="2909"/>
                  </a:cubicBezTo>
                  <a:cubicBezTo>
                    <a:pt x="830" y="2988"/>
                    <a:pt x="759" y="2957"/>
                    <a:pt x="743" y="3012"/>
                  </a:cubicBezTo>
                  <a:cubicBezTo>
                    <a:pt x="719" y="3059"/>
                    <a:pt x="782" y="3123"/>
                    <a:pt x="798" y="3178"/>
                  </a:cubicBezTo>
                  <a:cubicBezTo>
                    <a:pt x="814" y="3225"/>
                    <a:pt x="838" y="3225"/>
                    <a:pt x="885" y="3241"/>
                  </a:cubicBezTo>
                  <a:cubicBezTo>
                    <a:pt x="925" y="3257"/>
                    <a:pt x="909" y="3265"/>
                    <a:pt x="925" y="3296"/>
                  </a:cubicBezTo>
                  <a:cubicBezTo>
                    <a:pt x="949" y="3336"/>
                    <a:pt x="1012" y="3360"/>
                    <a:pt x="1044" y="3360"/>
                  </a:cubicBezTo>
                  <a:cubicBezTo>
                    <a:pt x="1083" y="3360"/>
                    <a:pt x="1138" y="3439"/>
                    <a:pt x="1154" y="3431"/>
                  </a:cubicBezTo>
                  <a:cubicBezTo>
                    <a:pt x="1178" y="3423"/>
                    <a:pt x="1288" y="3502"/>
                    <a:pt x="1344" y="3542"/>
                  </a:cubicBezTo>
                  <a:cubicBezTo>
                    <a:pt x="1407" y="3581"/>
                    <a:pt x="1383" y="3510"/>
                    <a:pt x="1431" y="3486"/>
                  </a:cubicBezTo>
                  <a:cubicBezTo>
                    <a:pt x="1478" y="3463"/>
                    <a:pt x="1478" y="3399"/>
                    <a:pt x="1486" y="3360"/>
                  </a:cubicBezTo>
                  <a:cubicBezTo>
                    <a:pt x="1502" y="3320"/>
                    <a:pt x="1526" y="3289"/>
                    <a:pt x="1541" y="3265"/>
                  </a:cubicBezTo>
                  <a:cubicBezTo>
                    <a:pt x="1549" y="3241"/>
                    <a:pt x="1534" y="3194"/>
                    <a:pt x="1613" y="3186"/>
                  </a:cubicBezTo>
                  <a:cubicBezTo>
                    <a:pt x="1692" y="3178"/>
                    <a:pt x="1692" y="3139"/>
                    <a:pt x="1739" y="3139"/>
                  </a:cubicBezTo>
                  <a:cubicBezTo>
                    <a:pt x="1794" y="3146"/>
                    <a:pt x="1794" y="3186"/>
                    <a:pt x="1826" y="3186"/>
                  </a:cubicBezTo>
                  <a:cubicBezTo>
                    <a:pt x="1850" y="3194"/>
                    <a:pt x="1850" y="3186"/>
                    <a:pt x="1889" y="3178"/>
                  </a:cubicBezTo>
                  <a:cubicBezTo>
                    <a:pt x="1929" y="3162"/>
                    <a:pt x="1929" y="3178"/>
                    <a:pt x="1952" y="3202"/>
                  </a:cubicBezTo>
                  <a:cubicBezTo>
                    <a:pt x="1968" y="3217"/>
                    <a:pt x="2008" y="3210"/>
                    <a:pt x="2024" y="3194"/>
                  </a:cubicBezTo>
                  <a:cubicBezTo>
                    <a:pt x="2047" y="3178"/>
                    <a:pt x="2127" y="3296"/>
                    <a:pt x="2166" y="3328"/>
                  </a:cubicBezTo>
                  <a:cubicBezTo>
                    <a:pt x="2205" y="3368"/>
                    <a:pt x="2277" y="3431"/>
                    <a:pt x="2324" y="3463"/>
                  </a:cubicBezTo>
                  <a:cubicBezTo>
                    <a:pt x="2372" y="3494"/>
                    <a:pt x="2316" y="3510"/>
                    <a:pt x="2419" y="3660"/>
                  </a:cubicBezTo>
                  <a:cubicBezTo>
                    <a:pt x="2522" y="3810"/>
                    <a:pt x="2482" y="3834"/>
                    <a:pt x="2514" y="3874"/>
                  </a:cubicBezTo>
                  <a:cubicBezTo>
                    <a:pt x="2545" y="3905"/>
                    <a:pt x="2498" y="3921"/>
                    <a:pt x="2538" y="3945"/>
                  </a:cubicBezTo>
                  <a:cubicBezTo>
                    <a:pt x="2585" y="3969"/>
                    <a:pt x="2688" y="4095"/>
                    <a:pt x="2704" y="4134"/>
                  </a:cubicBezTo>
                  <a:cubicBezTo>
                    <a:pt x="2727" y="4174"/>
                    <a:pt x="2727" y="4206"/>
                    <a:pt x="2767" y="4214"/>
                  </a:cubicBezTo>
                  <a:cubicBezTo>
                    <a:pt x="2806" y="4222"/>
                    <a:pt x="2814" y="4253"/>
                    <a:pt x="2838" y="4269"/>
                  </a:cubicBezTo>
                  <a:cubicBezTo>
                    <a:pt x="2862" y="4293"/>
                    <a:pt x="2838" y="4293"/>
                    <a:pt x="2838" y="4324"/>
                  </a:cubicBezTo>
                  <a:cubicBezTo>
                    <a:pt x="2830" y="4356"/>
                    <a:pt x="2814" y="4380"/>
                    <a:pt x="2870" y="4411"/>
                  </a:cubicBezTo>
                  <a:cubicBezTo>
                    <a:pt x="2917" y="4443"/>
                    <a:pt x="2830" y="4474"/>
                    <a:pt x="2862" y="4514"/>
                  </a:cubicBezTo>
                  <a:cubicBezTo>
                    <a:pt x="2893" y="4553"/>
                    <a:pt x="2941" y="4648"/>
                    <a:pt x="2964" y="4672"/>
                  </a:cubicBezTo>
                  <a:cubicBezTo>
                    <a:pt x="2988" y="4696"/>
                    <a:pt x="2949" y="4743"/>
                    <a:pt x="2972" y="4759"/>
                  </a:cubicBezTo>
                  <a:cubicBezTo>
                    <a:pt x="3004" y="4775"/>
                    <a:pt x="2988" y="4806"/>
                    <a:pt x="3012" y="4806"/>
                  </a:cubicBezTo>
                  <a:cubicBezTo>
                    <a:pt x="3028" y="4814"/>
                    <a:pt x="3067" y="4822"/>
                    <a:pt x="3115" y="4854"/>
                  </a:cubicBezTo>
                  <a:cubicBezTo>
                    <a:pt x="3170" y="4878"/>
                    <a:pt x="3154" y="4893"/>
                    <a:pt x="3202" y="4886"/>
                  </a:cubicBezTo>
                  <a:cubicBezTo>
                    <a:pt x="3241" y="4886"/>
                    <a:pt x="3257" y="4901"/>
                    <a:pt x="3312" y="4941"/>
                  </a:cubicBezTo>
                  <a:cubicBezTo>
                    <a:pt x="3360" y="4973"/>
                    <a:pt x="3375" y="4988"/>
                    <a:pt x="3423" y="4988"/>
                  </a:cubicBezTo>
                  <a:cubicBezTo>
                    <a:pt x="3470" y="4996"/>
                    <a:pt x="3478" y="4996"/>
                    <a:pt x="3510" y="4973"/>
                  </a:cubicBezTo>
                  <a:cubicBezTo>
                    <a:pt x="3542" y="4949"/>
                    <a:pt x="3597" y="5004"/>
                    <a:pt x="3637" y="5020"/>
                  </a:cubicBezTo>
                  <a:cubicBezTo>
                    <a:pt x="3668" y="5036"/>
                    <a:pt x="3684" y="5067"/>
                    <a:pt x="3708" y="5083"/>
                  </a:cubicBezTo>
                  <a:cubicBezTo>
                    <a:pt x="3723" y="5107"/>
                    <a:pt x="3715" y="5115"/>
                    <a:pt x="3747" y="5107"/>
                  </a:cubicBezTo>
                  <a:cubicBezTo>
                    <a:pt x="3779" y="5099"/>
                    <a:pt x="3763" y="5075"/>
                    <a:pt x="3763" y="5075"/>
                  </a:cubicBezTo>
                  <a:cubicBezTo>
                    <a:pt x="3763" y="5075"/>
                    <a:pt x="3794" y="5052"/>
                    <a:pt x="3802" y="5044"/>
                  </a:cubicBezTo>
                  <a:cubicBezTo>
                    <a:pt x="3810" y="5028"/>
                    <a:pt x="3826" y="5044"/>
                    <a:pt x="3834" y="5044"/>
                  </a:cubicBezTo>
                  <a:cubicBezTo>
                    <a:pt x="3834" y="5036"/>
                    <a:pt x="3826" y="5036"/>
                    <a:pt x="3826" y="5036"/>
                  </a:cubicBezTo>
                  <a:cubicBezTo>
                    <a:pt x="3818" y="4980"/>
                    <a:pt x="3810" y="4996"/>
                    <a:pt x="3802" y="5012"/>
                  </a:cubicBezTo>
                  <a:cubicBezTo>
                    <a:pt x="3794" y="5020"/>
                    <a:pt x="3794" y="5044"/>
                    <a:pt x="3779" y="5028"/>
                  </a:cubicBezTo>
                  <a:cubicBezTo>
                    <a:pt x="3771" y="5012"/>
                    <a:pt x="3802" y="5012"/>
                    <a:pt x="3779" y="4973"/>
                  </a:cubicBezTo>
                  <a:cubicBezTo>
                    <a:pt x="3763" y="4941"/>
                    <a:pt x="3755" y="4949"/>
                    <a:pt x="3747" y="4901"/>
                  </a:cubicBezTo>
                  <a:cubicBezTo>
                    <a:pt x="3739" y="4854"/>
                    <a:pt x="3708" y="4870"/>
                    <a:pt x="3708" y="4814"/>
                  </a:cubicBezTo>
                  <a:cubicBezTo>
                    <a:pt x="3708" y="4759"/>
                    <a:pt x="3731" y="4727"/>
                    <a:pt x="3708" y="4696"/>
                  </a:cubicBezTo>
                  <a:cubicBezTo>
                    <a:pt x="3684" y="4664"/>
                    <a:pt x="3668" y="4656"/>
                    <a:pt x="3676" y="4633"/>
                  </a:cubicBezTo>
                  <a:cubicBezTo>
                    <a:pt x="3684" y="4609"/>
                    <a:pt x="3660" y="4617"/>
                    <a:pt x="3660" y="4593"/>
                  </a:cubicBezTo>
                  <a:cubicBezTo>
                    <a:pt x="3652" y="4569"/>
                    <a:pt x="3652" y="4562"/>
                    <a:pt x="3676" y="4553"/>
                  </a:cubicBezTo>
                  <a:cubicBezTo>
                    <a:pt x="3700" y="4538"/>
                    <a:pt x="3708" y="4522"/>
                    <a:pt x="3708" y="4506"/>
                  </a:cubicBezTo>
                  <a:cubicBezTo>
                    <a:pt x="3700" y="4490"/>
                    <a:pt x="3723" y="4514"/>
                    <a:pt x="3723" y="4553"/>
                  </a:cubicBezTo>
                  <a:cubicBezTo>
                    <a:pt x="3723" y="4593"/>
                    <a:pt x="3739" y="4727"/>
                    <a:pt x="3755" y="4743"/>
                  </a:cubicBezTo>
                  <a:cubicBezTo>
                    <a:pt x="3771" y="4767"/>
                    <a:pt x="3802" y="4862"/>
                    <a:pt x="3802" y="4878"/>
                  </a:cubicBezTo>
                  <a:cubicBezTo>
                    <a:pt x="3794" y="4901"/>
                    <a:pt x="3802" y="4957"/>
                    <a:pt x="3818" y="4941"/>
                  </a:cubicBezTo>
                  <a:cubicBezTo>
                    <a:pt x="3826" y="4925"/>
                    <a:pt x="3826" y="4925"/>
                    <a:pt x="3818" y="4886"/>
                  </a:cubicBezTo>
                  <a:cubicBezTo>
                    <a:pt x="3802" y="4838"/>
                    <a:pt x="3794" y="4775"/>
                    <a:pt x="3779" y="4712"/>
                  </a:cubicBezTo>
                  <a:cubicBezTo>
                    <a:pt x="3755" y="4640"/>
                    <a:pt x="3747" y="4617"/>
                    <a:pt x="3747" y="4577"/>
                  </a:cubicBezTo>
                  <a:cubicBezTo>
                    <a:pt x="3747" y="4546"/>
                    <a:pt x="3739" y="4522"/>
                    <a:pt x="3731" y="4498"/>
                  </a:cubicBezTo>
                  <a:cubicBezTo>
                    <a:pt x="3723" y="4474"/>
                    <a:pt x="3723" y="4467"/>
                    <a:pt x="3715" y="4451"/>
                  </a:cubicBezTo>
                  <a:cubicBezTo>
                    <a:pt x="3700" y="4435"/>
                    <a:pt x="3692" y="4435"/>
                    <a:pt x="3668" y="4435"/>
                  </a:cubicBezTo>
                  <a:cubicBezTo>
                    <a:pt x="3652" y="4435"/>
                    <a:pt x="3637" y="4451"/>
                    <a:pt x="3621" y="4435"/>
                  </a:cubicBezTo>
                  <a:cubicBezTo>
                    <a:pt x="3597" y="4411"/>
                    <a:pt x="3581" y="4411"/>
                    <a:pt x="3597" y="4395"/>
                  </a:cubicBezTo>
                  <a:cubicBezTo>
                    <a:pt x="3613" y="4387"/>
                    <a:pt x="3652" y="4395"/>
                    <a:pt x="3676" y="4403"/>
                  </a:cubicBezTo>
                  <a:cubicBezTo>
                    <a:pt x="3692" y="4411"/>
                    <a:pt x="3700" y="4419"/>
                    <a:pt x="3715" y="4403"/>
                  </a:cubicBezTo>
                  <a:cubicBezTo>
                    <a:pt x="3731" y="4395"/>
                    <a:pt x="3731" y="4364"/>
                    <a:pt x="3739" y="4380"/>
                  </a:cubicBezTo>
                  <a:cubicBezTo>
                    <a:pt x="3739" y="4403"/>
                    <a:pt x="3723" y="4427"/>
                    <a:pt x="3739" y="4427"/>
                  </a:cubicBezTo>
                  <a:cubicBezTo>
                    <a:pt x="3763" y="4427"/>
                    <a:pt x="3755" y="4411"/>
                    <a:pt x="3763" y="4387"/>
                  </a:cubicBezTo>
                  <a:cubicBezTo>
                    <a:pt x="3763" y="4364"/>
                    <a:pt x="3826" y="4245"/>
                    <a:pt x="3834" y="4222"/>
                  </a:cubicBezTo>
                  <a:cubicBezTo>
                    <a:pt x="3850" y="4190"/>
                    <a:pt x="3850" y="4166"/>
                    <a:pt x="3834" y="4182"/>
                  </a:cubicBezTo>
                  <a:cubicBezTo>
                    <a:pt x="3818" y="4198"/>
                    <a:pt x="3802" y="4206"/>
                    <a:pt x="3802" y="4229"/>
                  </a:cubicBezTo>
                  <a:cubicBezTo>
                    <a:pt x="3802" y="4253"/>
                    <a:pt x="3794" y="4277"/>
                    <a:pt x="3779" y="4285"/>
                  </a:cubicBezTo>
                  <a:cubicBezTo>
                    <a:pt x="3771" y="4285"/>
                    <a:pt x="3771" y="4293"/>
                    <a:pt x="3771" y="4253"/>
                  </a:cubicBezTo>
                  <a:cubicBezTo>
                    <a:pt x="3771" y="4222"/>
                    <a:pt x="3771" y="4229"/>
                    <a:pt x="3747" y="4206"/>
                  </a:cubicBezTo>
                  <a:cubicBezTo>
                    <a:pt x="3723" y="4190"/>
                    <a:pt x="3700" y="4198"/>
                    <a:pt x="3700" y="4174"/>
                  </a:cubicBezTo>
                  <a:cubicBezTo>
                    <a:pt x="3700" y="4150"/>
                    <a:pt x="3684" y="4142"/>
                    <a:pt x="3708" y="4142"/>
                  </a:cubicBezTo>
                  <a:cubicBezTo>
                    <a:pt x="3731" y="4142"/>
                    <a:pt x="3755" y="4134"/>
                    <a:pt x="3771" y="4142"/>
                  </a:cubicBezTo>
                  <a:cubicBezTo>
                    <a:pt x="3779" y="4150"/>
                    <a:pt x="3779" y="4174"/>
                    <a:pt x="3794" y="4174"/>
                  </a:cubicBezTo>
                  <a:cubicBezTo>
                    <a:pt x="3810" y="4174"/>
                    <a:pt x="3802" y="4174"/>
                    <a:pt x="3826" y="4142"/>
                  </a:cubicBezTo>
                  <a:cubicBezTo>
                    <a:pt x="3842" y="4119"/>
                    <a:pt x="3897" y="4040"/>
                    <a:pt x="3874" y="4047"/>
                  </a:cubicBezTo>
                  <a:cubicBezTo>
                    <a:pt x="3850" y="4047"/>
                    <a:pt x="3826" y="4079"/>
                    <a:pt x="3826" y="4056"/>
                  </a:cubicBezTo>
                  <a:cubicBezTo>
                    <a:pt x="3818" y="4040"/>
                    <a:pt x="3818" y="4016"/>
                    <a:pt x="3842" y="4016"/>
                  </a:cubicBezTo>
                  <a:cubicBezTo>
                    <a:pt x="3858" y="4016"/>
                    <a:pt x="3881" y="3992"/>
                    <a:pt x="3905" y="4008"/>
                  </a:cubicBezTo>
                  <a:cubicBezTo>
                    <a:pt x="3929" y="4024"/>
                    <a:pt x="3929" y="4032"/>
                    <a:pt x="3937" y="4016"/>
                  </a:cubicBezTo>
                  <a:cubicBezTo>
                    <a:pt x="3953" y="4008"/>
                    <a:pt x="4016" y="3945"/>
                    <a:pt x="3992" y="3937"/>
                  </a:cubicBezTo>
                  <a:cubicBezTo>
                    <a:pt x="3961" y="3937"/>
                    <a:pt x="3961" y="3929"/>
                    <a:pt x="3961" y="3913"/>
                  </a:cubicBezTo>
                  <a:cubicBezTo>
                    <a:pt x="3961" y="3897"/>
                    <a:pt x="3961" y="3866"/>
                    <a:pt x="3992" y="3897"/>
                  </a:cubicBezTo>
                  <a:cubicBezTo>
                    <a:pt x="4023" y="3929"/>
                    <a:pt x="4000" y="3937"/>
                    <a:pt x="4039" y="3937"/>
                  </a:cubicBezTo>
                  <a:cubicBezTo>
                    <a:pt x="4070" y="3937"/>
                    <a:pt x="4094" y="3897"/>
                    <a:pt x="4094" y="3921"/>
                  </a:cubicBezTo>
                  <a:cubicBezTo>
                    <a:pt x="4086" y="3937"/>
                    <a:pt x="3984" y="4000"/>
                    <a:pt x="3992" y="4016"/>
                  </a:cubicBezTo>
                  <a:cubicBezTo>
                    <a:pt x="4000" y="4032"/>
                    <a:pt x="4016" y="4016"/>
                    <a:pt x="4039" y="4000"/>
                  </a:cubicBezTo>
                  <a:cubicBezTo>
                    <a:pt x="4054" y="3984"/>
                    <a:pt x="4165" y="3921"/>
                    <a:pt x="4141" y="3905"/>
                  </a:cubicBezTo>
                  <a:cubicBezTo>
                    <a:pt x="4118" y="3897"/>
                    <a:pt x="4149" y="3874"/>
                    <a:pt x="4110" y="3858"/>
                  </a:cubicBezTo>
                  <a:cubicBezTo>
                    <a:pt x="4070" y="3842"/>
                    <a:pt x="4094" y="3834"/>
                    <a:pt x="4070" y="3818"/>
                  </a:cubicBezTo>
                  <a:cubicBezTo>
                    <a:pt x="4054" y="3795"/>
                    <a:pt x="4039" y="3771"/>
                    <a:pt x="4054" y="3763"/>
                  </a:cubicBezTo>
                  <a:cubicBezTo>
                    <a:pt x="4078" y="3755"/>
                    <a:pt x="4062" y="3787"/>
                    <a:pt x="4094" y="3795"/>
                  </a:cubicBezTo>
                  <a:cubicBezTo>
                    <a:pt x="4126" y="3810"/>
                    <a:pt x="4141" y="3826"/>
                    <a:pt x="4157" y="3803"/>
                  </a:cubicBezTo>
                  <a:cubicBezTo>
                    <a:pt x="4173" y="3779"/>
                    <a:pt x="4181" y="3779"/>
                    <a:pt x="4204" y="3787"/>
                  </a:cubicBezTo>
                  <a:cubicBezTo>
                    <a:pt x="4220" y="3795"/>
                    <a:pt x="4244" y="3818"/>
                    <a:pt x="4268" y="3810"/>
                  </a:cubicBezTo>
                  <a:cubicBezTo>
                    <a:pt x="4292" y="3810"/>
                    <a:pt x="4276" y="3826"/>
                    <a:pt x="4252" y="3834"/>
                  </a:cubicBezTo>
                  <a:cubicBezTo>
                    <a:pt x="4228" y="3842"/>
                    <a:pt x="4213" y="3874"/>
                    <a:pt x="4220" y="3874"/>
                  </a:cubicBezTo>
                  <a:cubicBezTo>
                    <a:pt x="4236" y="3874"/>
                    <a:pt x="4276" y="3842"/>
                    <a:pt x="4323" y="3818"/>
                  </a:cubicBezTo>
                  <a:cubicBezTo>
                    <a:pt x="4371" y="3795"/>
                    <a:pt x="4402" y="3779"/>
                    <a:pt x="4386" y="3771"/>
                  </a:cubicBezTo>
                  <a:cubicBezTo>
                    <a:pt x="4371" y="3755"/>
                    <a:pt x="4379" y="3755"/>
                    <a:pt x="4402" y="3747"/>
                  </a:cubicBezTo>
                  <a:cubicBezTo>
                    <a:pt x="4426" y="3747"/>
                    <a:pt x="4450" y="3739"/>
                    <a:pt x="4473" y="3723"/>
                  </a:cubicBezTo>
                  <a:cubicBezTo>
                    <a:pt x="4489" y="3708"/>
                    <a:pt x="4616" y="3644"/>
                    <a:pt x="4639" y="3597"/>
                  </a:cubicBezTo>
                  <a:cubicBezTo>
                    <a:pt x="4663" y="3549"/>
                    <a:pt x="4647" y="3534"/>
                    <a:pt x="4679" y="3518"/>
                  </a:cubicBezTo>
                  <a:cubicBezTo>
                    <a:pt x="4703" y="3502"/>
                    <a:pt x="4734" y="3478"/>
                    <a:pt x="4742" y="3470"/>
                  </a:cubicBezTo>
                  <a:cubicBezTo>
                    <a:pt x="4758" y="3463"/>
                    <a:pt x="4766" y="3423"/>
                    <a:pt x="4750" y="3407"/>
                  </a:cubicBezTo>
                  <a:cubicBezTo>
                    <a:pt x="4734" y="3383"/>
                    <a:pt x="4734" y="3383"/>
                    <a:pt x="4726" y="3360"/>
                  </a:cubicBezTo>
                  <a:cubicBezTo>
                    <a:pt x="4711" y="3336"/>
                    <a:pt x="4703" y="3344"/>
                    <a:pt x="4703" y="3320"/>
                  </a:cubicBezTo>
                  <a:cubicBezTo>
                    <a:pt x="4703" y="3296"/>
                    <a:pt x="4695" y="3281"/>
                    <a:pt x="4711" y="3289"/>
                  </a:cubicBezTo>
                  <a:cubicBezTo>
                    <a:pt x="4726" y="3296"/>
                    <a:pt x="4750" y="3320"/>
                    <a:pt x="4766" y="3305"/>
                  </a:cubicBezTo>
                  <a:cubicBezTo>
                    <a:pt x="4774" y="3281"/>
                    <a:pt x="4774" y="3281"/>
                    <a:pt x="4790" y="3265"/>
                  </a:cubicBezTo>
                  <a:cubicBezTo>
                    <a:pt x="4797" y="3249"/>
                    <a:pt x="4813" y="3241"/>
                    <a:pt x="4821" y="3257"/>
                  </a:cubicBezTo>
                  <a:cubicBezTo>
                    <a:pt x="4821" y="3265"/>
                    <a:pt x="4853" y="3281"/>
                    <a:pt x="4829" y="3289"/>
                  </a:cubicBezTo>
                  <a:cubicBezTo>
                    <a:pt x="4813" y="3305"/>
                    <a:pt x="4813" y="3320"/>
                    <a:pt x="4813" y="3328"/>
                  </a:cubicBezTo>
                  <a:cubicBezTo>
                    <a:pt x="4821" y="3336"/>
                    <a:pt x="4790" y="3336"/>
                    <a:pt x="4806" y="3352"/>
                  </a:cubicBezTo>
                  <a:cubicBezTo>
                    <a:pt x="4813" y="3368"/>
                    <a:pt x="4797" y="3376"/>
                    <a:pt x="4829" y="3368"/>
                  </a:cubicBezTo>
                  <a:cubicBezTo>
                    <a:pt x="4853" y="3368"/>
                    <a:pt x="4869" y="3368"/>
                    <a:pt x="4853" y="3376"/>
                  </a:cubicBezTo>
                  <a:cubicBezTo>
                    <a:pt x="4837" y="3383"/>
                    <a:pt x="4797" y="3431"/>
                    <a:pt x="4790" y="3447"/>
                  </a:cubicBezTo>
                  <a:cubicBezTo>
                    <a:pt x="4782" y="3463"/>
                    <a:pt x="4766" y="3478"/>
                    <a:pt x="4750" y="3486"/>
                  </a:cubicBezTo>
                  <a:cubicBezTo>
                    <a:pt x="4734" y="3502"/>
                    <a:pt x="4703" y="3518"/>
                    <a:pt x="4703" y="3526"/>
                  </a:cubicBezTo>
                  <a:cubicBezTo>
                    <a:pt x="4695" y="3542"/>
                    <a:pt x="4679" y="3557"/>
                    <a:pt x="4719" y="3542"/>
                  </a:cubicBezTo>
                  <a:cubicBezTo>
                    <a:pt x="4758" y="3518"/>
                    <a:pt x="4790" y="3494"/>
                    <a:pt x="4797" y="3478"/>
                  </a:cubicBezTo>
                  <a:cubicBezTo>
                    <a:pt x="4806" y="3455"/>
                    <a:pt x="4829" y="3415"/>
                    <a:pt x="4877" y="3392"/>
                  </a:cubicBezTo>
                  <a:cubicBezTo>
                    <a:pt x="4932" y="3368"/>
                    <a:pt x="4964" y="3336"/>
                    <a:pt x="4995" y="3336"/>
                  </a:cubicBezTo>
                  <a:cubicBezTo>
                    <a:pt x="5035" y="3328"/>
                    <a:pt x="5145" y="3273"/>
                    <a:pt x="5177" y="3273"/>
                  </a:cubicBezTo>
                  <a:lnTo>
                    <a:pt x="5185" y="3265"/>
                  </a:lnTo>
                  <a:lnTo>
                    <a:pt x="5185" y="3265"/>
                  </a:lnTo>
                  <a:cubicBezTo>
                    <a:pt x="5185" y="3265"/>
                    <a:pt x="5185" y="3257"/>
                    <a:pt x="5169" y="3249"/>
                  </a:cubicBezTo>
                </a:path>
              </a:pathLst>
            </a:custGeom>
            <a:solidFill>
              <a:schemeClr val="accent3"/>
            </a:solidFill>
            <a:ln>
              <a:solidFill>
                <a:schemeClr val="bg1">
                  <a:lumMod val="95000"/>
                </a:schemeClr>
              </a:solidFill>
            </a:ln>
            <a:effectLst/>
          </p:spPr>
          <p:txBody>
            <a:bodyPr wrap="none" anchor="ctr"/>
            <a:lstStyle/>
            <a:p>
              <a:endParaRPr lang="en-US" sz="900"/>
            </a:p>
          </p:txBody>
        </p:sp>
        <p:sp>
          <p:nvSpPr>
            <p:cNvPr id="16" name="Freeform 12"/>
            <p:cNvSpPr>
              <a:spLocks noChangeArrowheads="1"/>
            </p:cNvSpPr>
            <p:nvPr/>
          </p:nvSpPr>
          <p:spPr bwMode="auto">
            <a:xfrm>
              <a:off x="10147205" y="6755138"/>
              <a:ext cx="2778528" cy="2695033"/>
            </a:xfrm>
            <a:custGeom>
              <a:avLst/>
              <a:gdLst>
                <a:gd name="T0" fmla="*/ 3170 w 5281"/>
                <a:gd name="T1" fmla="*/ 4901 h 5124"/>
                <a:gd name="T2" fmla="*/ 2822 w 5281"/>
                <a:gd name="T3" fmla="*/ 4301 h 5124"/>
                <a:gd name="T4" fmla="*/ 2016 w 5281"/>
                <a:gd name="T5" fmla="*/ 3202 h 5124"/>
                <a:gd name="T6" fmla="*/ 1525 w 5281"/>
                <a:gd name="T7" fmla="*/ 3273 h 5124"/>
                <a:gd name="T8" fmla="*/ 893 w 5281"/>
                <a:gd name="T9" fmla="*/ 3281 h 5124"/>
                <a:gd name="T10" fmla="*/ 482 w 5281"/>
                <a:gd name="T11" fmla="*/ 2593 h 5124"/>
                <a:gd name="T12" fmla="*/ 1454 w 5281"/>
                <a:gd name="T13" fmla="*/ 2103 h 5124"/>
                <a:gd name="T14" fmla="*/ 2972 w 5281"/>
                <a:gd name="T15" fmla="*/ 1028 h 5124"/>
                <a:gd name="T16" fmla="*/ 3320 w 5281"/>
                <a:gd name="T17" fmla="*/ 1241 h 5124"/>
                <a:gd name="T18" fmla="*/ 3510 w 5281"/>
                <a:gd name="T19" fmla="*/ 1328 h 5124"/>
                <a:gd name="T20" fmla="*/ 3842 w 5281"/>
                <a:gd name="T21" fmla="*/ 1399 h 5124"/>
                <a:gd name="T22" fmla="*/ 4125 w 5281"/>
                <a:gd name="T23" fmla="*/ 1407 h 5124"/>
                <a:gd name="T24" fmla="*/ 4537 w 5281"/>
                <a:gd name="T25" fmla="*/ 1313 h 5124"/>
                <a:gd name="T26" fmla="*/ 5003 w 5281"/>
                <a:gd name="T27" fmla="*/ 1439 h 5124"/>
                <a:gd name="T28" fmla="*/ 5280 w 5281"/>
                <a:gd name="T29" fmla="*/ 2656 h 5124"/>
                <a:gd name="T30" fmla="*/ 5232 w 5281"/>
                <a:gd name="T31" fmla="*/ 3075 h 5124"/>
                <a:gd name="T32" fmla="*/ 4924 w 5281"/>
                <a:gd name="T33" fmla="*/ 3368 h 5124"/>
                <a:gd name="T34" fmla="*/ 4813 w 5281"/>
                <a:gd name="T35" fmla="*/ 3384 h 5124"/>
                <a:gd name="T36" fmla="*/ 4734 w 5281"/>
                <a:gd name="T37" fmla="*/ 3320 h 5124"/>
                <a:gd name="T38" fmla="*/ 4457 w 5281"/>
                <a:gd name="T39" fmla="*/ 3739 h 5124"/>
                <a:gd name="T40" fmla="*/ 4204 w 5281"/>
                <a:gd name="T41" fmla="*/ 3811 h 5124"/>
                <a:gd name="T42" fmla="*/ 4125 w 5281"/>
                <a:gd name="T43" fmla="*/ 3913 h 5124"/>
                <a:gd name="T44" fmla="*/ 3960 w 5281"/>
                <a:gd name="T45" fmla="*/ 3897 h 5124"/>
                <a:gd name="T46" fmla="*/ 3826 w 5281"/>
                <a:gd name="T47" fmla="*/ 4064 h 5124"/>
                <a:gd name="T48" fmla="*/ 3684 w 5281"/>
                <a:gd name="T49" fmla="*/ 4158 h 5124"/>
                <a:gd name="T50" fmla="*/ 3826 w 5281"/>
                <a:gd name="T51" fmla="*/ 4230 h 5124"/>
                <a:gd name="T52" fmla="*/ 3581 w 5281"/>
                <a:gd name="T53" fmla="*/ 4411 h 5124"/>
                <a:gd name="T54" fmla="*/ 3802 w 5281"/>
                <a:gd name="T55" fmla="*/ 4949 h 5124"/>
                <a:gd name="T56" fmla="*/ 3699 w 5281"/>
                <a:gd name="T57" fmla="*/ 4822 h 5124"/>
                <a:gd name="T58" fmla="*/ 3810 w 5281"/>
                <a:gd name="T59" fmla="*/ 5052 h 5124"/>
                <a:gd name="T60" fmla="*/ 3723 w 5281"/>
                <a:gd name="T61" fmla="*/ 5115 h 5124"/>
                <a:gd name="T62" fmla="*/ 3763 w 5281"/>
                <a:gd name="T63" fmla="*/ 4981 h 5124"/>
                <a:gd name="T64" fmla="*/ 3707 w 5281"/>
                <a:gd name="T65" fmla="*/ 4561 h 5124"/>
                <a:gd name="T66" fmla="*/ 3652 w 5281"/>
                <a:gd name="T67" fmla="*/ 4443 h 5124"/>
                <a:gd name="T68" fmla="*/ 3723 w 5281"/>
                <a:gd name="T69" fmla="*/ 4435 h 5124"/>
                <a:gd name="T70" fmla="*/ 3731 w 5281"/>
                <a:gd name="T71" fmla="*/ 4222 h 5124"/>
                <a:gd name="T72" fmla="*/ 3802 w 5281"/>
                <a:gd name="T73" fmla="*/ 4150 h 5124"/>
                <a:gd name="T74" fmla="*/ 3976 w 5281"/>
                <a:gd name="T75" fmla="*/ 3953 h 5124"/>
                <a:gd name="T76" fmla="*/ 3984 w 5281"/>
                <a:gd name="T77" fmla="*/ 4024 h 5124"/>
                <a:gd name="T78" fmla="*/ 4117 w 5281"/>
                <a:gd name="T79" fmla="*/ 3818 h 5124"/>
                <a:gd name="T80" fmla="*/ 4363 w 5281"/>
                <a:gd name="T81" fmla="*/ 3763 h 5124"/>
                <a:gd name="T82" fmla="*/ 4687 w 5281"/>
                <a:gd name="T83" fmla="*/ 3289 h 5124"/>
                <a:gd name="T84" fmla="*/ 4790 w 5281"/>
                <a:gd name="T85" fmla="*/ 3360 h 5124"/>
                <a:gd name="T86" fmla="*/ 4781 w 5281"/>
                <a:gd name="T87" fmla="*/ 3478 h 5124"/>
                <a:gd name="T88" fmla="*/ 5224 w 5281"/>
                <a:gd name="T89" fmla="*/ 3075 h 5124"/>
                <a:gd name="T90" fmla="*/ 5272 w 5281"/>
                <a:gd name="T91" fmla="*/ 2656 h 5124"/>
                <a:gd name="T92" fmla="*/ 5003 w 5281"/>
                <a:gd name="T93" fmla="*/ 1447 h 5124"/>
                <a:gd name="T94" fmla="*/ 4544 w 5281"/>
                <a:gd name="T95" fmla="*/ 1313 h 5124"/>
                <a:gd name="T96" fmla="*/ 4117 w 5281"/>
                <a:gd name="T97" fmla="*/ 1415 h 5124"/>
                <a:gd name="T98" fmla="*/ 3842 w 5281"/>
                <a:gd name="T99" fmla="*/ 1399 h 5124"/>
                <a:gd name="T100" fmla="*/ 3502 w 5281"/>
                <a:gd name="T101" fmla="*/ 1336 h 5124"/>
                <a:gd name="T102" fmla="*/ 3320 w 5281"/>
                <a:gd name="T103" fmla="*/ 1249 h 5124"/>
                <a:gd name="T104" fmla="*/ 3004 w 5281"/>
                <a:gd name="T105" fmla="*/ 1083 h 5124"/>
                <a:gd name="T106" fmla="*/ 1423 w 5281"/>
                <a:gd name="T107" fmla="*/ 2150 h 5124"/>
                <a:gd name="T108" fmla="*/ 569 w 5281"/>
                <a:gd name="T109" fmla="*/ 2648 h 5124"/>
                <a:gd name="T110" fmla="*/ 1028 w 5281"/>
                <a:gd name="T111" fmla="*/ 3368 h 5124"/>
                <a:gd name="T112" fmla="*/ 1597 w 5281"/>
                <a:gd name="T113" fmla="*/ 3186 h 5124"/>
                <a:gd name="T114" fmla="*/ 2150 w 5281"/>
                <a:gd name="T115" fmla="*/ 3336 h 5124"/>
                <a:gd name="T116" fmla="*/ 2822 w 5281"/>
                <a:gd name="T117" fmla="*/ 4348 h 5124"/>
                <a:gd name="T118" fmla="*/ 3265 w 5281"/>
                <a:gd name="T119" fmla="*/ 4917 h 5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81" h="5124">
                  <a:moveTo>
                    <a:pt x="3715" y="5123"/>
                  </a:moveTo>
                  <a:lnTo>
                    <a:pt x="3715" y="5123"/>
                  </a:lnTo>
                  <a:cubicBezTo>
                    <a:pt x="3699" y="5123"/>
                    <a:pt x="3699" y="5115"/>
                    <a:pt x="3699" y="5115"/>
                  </a:cubicBezTo>
                  <a:cubicBezTo>
                    <a:pt x="3699" y="5107"/>
                    <a:pt x="3692" y="5107"/>
                    <a:pt x="3684" y="5099"/>
                  </a:cubicBezTo>
                  <a:cubicBezTo>
                    <a:pt x="3684" y="5091"/>
                    <a:pt x="3676" y="5083"/>
                    <a:pt x="3668" y="5075"/>
                  </a:cubicBezTo>
                  <a:cubicBezTo>
                    <a:pt x="3660" y="5060"/>
                    <a:pt x="3644" y="5044"/>
                    <a:pt x="3621" y="5028"/>
                  </a:cubicBezTo>
                  <a:cubicBezTo>
                    <a:pt x="3605" y="5028"/>
                    <a:pt x="3597" y="5020"/>
                    <a:pt x="3589" y="5012"/>
                  </a:cubicBezTo>
                  <a:cubicBezTo>
                    <a:pt x="3565" y="4996"/>
                    <a:pt x="3534" y="4981"/>
                    <a:pt x="3518" y="4981"/>
                  </a:cubicBezTo>
                  <a:cubicBezTo>
                    <a:pt x="3510" y="4981"/>
                    <a:pt x="3502" y="4981"/>
                    <a:pt x="3494" y="4988"/>
                  </a:cubicBezTo>
                  <a:cubicBezTo>
                    <a:pt x="3462" y="5012"/>
                    <a:pt x="3454" y="5012"/>
                    <a:pt x="3407" y="5004"/>
                  </a:cubicBezTo>
                  <a:cubicBezTo>
                    <a:pt x="3367" y="4996"/>
                    <a:pt x="3352" y="4988"/>
                    <a:pt x="3312" y="4965"/>
                  </a:cubicBezTo>
                  <a:cubicBezTo>
                    <a:pt x="3304" y="4957"/>
                    <a:pt x="3296" y="4957"/>
                    <a:pt x="3288" y="4949"/>
                  </a:cubicBezTo>
                  <a:cubicBezTo>
                    <a:pt x="3281" y="4941"/>
                    <a:pt x="3265" y="4933"/>
                    <a:pt x="3257" y="4925"/>
                  </a:cubicBezTo>
                  <a:cubicBezTo>
                    <a:pt x="3233" y="4909"/>
                    <a:pt x="3217" y="4894"/>
                    <a:pt x="3186" y="4901"/>
                  </a:cubicBezTo>
                  <a:cubicBezTo>
                    <a:pt x="3178" y="4901"/>
                    <a:pt x="3170" y="4901"/>
                    <a:pt x="3170" y="4901"/>
                  </a:cubicBezTo>
                  <a:cubicBezTo>
                    <a:pt x="3154" y="4901"/>
                    <a:pt x="3146" y="4894"/>
                    <a:pt x="3138" y="4886"/>
                  </a:cubicBezTo>
                  <a:cubicBezTo>
                    <a:pt x="3130" y="4886"/>
                    <a:pt x="3122" y="4878"/>
                    <a:pt x="3099" y="4862"/>
                  </a:cubicBezTo>
                  <a:cubicBezTo>
                    <a:pt x="3035" y="4830"/>
                    <a:pt x="3004" y="4822"/>
                    <a:pt x="2988" y="4822"/>
                  </a:cubicBezTo>
                  <a:cubicBezTo>
                    <a:pt x="2980" y="4822"/>
                    <a:pt x="2980" y="4807"/>
                    <a:pt x="2972" y="4799"/>
                  </a:cubicBezTo>
                  <a:cubicBezTo>
                    <a:pt x="2972" y="4791"/>
                    <a:pt x="2972" y="4775"/>
                    <a:pt x="2956" y="4767"/>
                  </a:cubicBezTo>
                  <a:cubicBezTo>
                    <a:pt x="2941" y="4759"/>
                    <a:pt x="2948" y="4743"/>
                    <a:pt x="2948" y="4728"/>
                  </a:cubicBezTo>
                  <a:cubicBezTo>
                    <a:pt x="2956" y="4712"/>
                    <a:pt x="2956" y="4696"/>
                    <a:pt x="2948" y="4688"/>
                  </a:cubicBezTo>
                  <a:cubicBezTo>
                    <a:pt x="2933" y="4672"/>
                    <a:pt x="2917" y="4641"/>
                    <a:pt x="2901" y="4617"/>
                  </a:cubicBezTo>
                  <a:cubicBezTo>
                    <a:pt x="2877" y="4577"/>
                    <a:pt x="2862" y="4546"/>
                    <a:pt x="2846" y="4530"/>
                  </a:cubicBezTo>
                  <a:cubicBezTo>
                    <a:pt x="2830" y="4506"/>
                    <a:pt x="2838" y="4482"/>
                    <a:pt x="2854" y="4467"/>
                  </a:cubicBezTo>
                  <a:cubicBezTo>
                    <a:pt x="2862" y="4459"/>
                    <a:pt x="2862" y="4443"/>
                    <a:pt x="2862" y="4435"/>
                  </a:cubicBezTo>
                  <a:cubicBezTo>
                    <a:pt x="2862" y="4435"/>
                    <a:pt x="2854" y="4427"/>
                    <a:pt x="2846" y="4419"/>
                  </a:cubicBezTo>
                  <a:cubicBezTo>
                    <a:pt x="2798" y="4395"/>
                    <a:pt x="2806" y="4372"/>
                    <a:pt x="2814" y="4348"/>
                  </a:cubicBezTo>
                  <a:cubicBezTo>
                    <a:pt x="2814" y="4340"/>
                    <a:pt x="2814" y="4332"/>
                    <a:pt x="2814" y="4332"/>
                  </a:cubicBezTo>
                  <a:cubicBezTo>
                    <a:pt x="2814" y="4317"/>
                    <a:pt x="2822" y="4308"/>
                    <a:pt x="2822" y="4301"/>
                  </a:cubicBezTo>
                  <a:cubicBezTo>
                    <a:pt x="2830" y="4293"/>
                    <a:pt x="2830" y="4293"/>
                    <a:pt x="2822" y="4285"/>
                  </a:cubicBezTo>
                  <a:cubicBezTo>
                    <a:pt x="2814" y="4277"/>
                    <a:pt x="2806" y="4269"/>
                    <a:pt x="2798" y="4261"/>
                  </a:cubicBezTo>
                  <a:cubicBezTo>
                    <a:pt x="2790" y="4245"/>
                    <a:pt x="2775" y="4230"/>
                    <a:pt x="2751" y="4222"/>
                  </a:cubicBezTo>
                  <a:cubicBezTo>
                    <a:pt x="2719" y="4222"/>
                    <a:pt x="2711" y="4206"/>
                    <a:pt x="2703" y="4182"/>
                  </a:cubicBezTo>
                  <a:cubicBezTo>
                    <a:pt x="2703" y="4166"/>
                    <a:pt x="2695" y="4158"/>
                    <a:pt x="2688" y="4142"/>
                  </a:cubicBezTo>
                  <a:cubicBezTo>
                    <a:pt x="2664" y="4111"/>
                    <a:pt x="2569" y="3977"/>
                    <a:pt x="2522" y="3953"/>
                  </a:cubicBezTo>
                  <a:cubicBezTo>
                    <a:pt x="2498" y="3945"/>
                    <a:pt x="2498" y="3929"/>
                    <a:pt x="2506" y="3921"/>
                  </a:cubicBezTo>
                  <a:cubicBezTo>
                    <a:pt x="2506" y="3905"/>
                    <a:pt x="2514" y="3897"/>
                    <a:pt x="2498" y="3882"/>
                  </a:cubicBezTo>
                  <a:cubicBezTo>
                    <a:pt x="2490" y="3866"/>
                    <a:pt x="2482" y="3858"/>
                    <a:pt x="2482" y="3842"/>
                  </a:cubicBezTo>
                  <a:cubicBezTo>
                    <a:pt x="2474" y="3811"/>
                    <a:pt x="2466" y="3763"/>
                    <a:pt x="2395" y="3668"/>
                  </a:cubicBezTo>
                  <a:cubicBezTo>
                    <a:pt x="2340" y="3581"/>
                    <a:pt x="2332" y="3534"/>
                    <a:pt x="2332" y="3510"/>
                  </a:cubicBezTo>
                  <a:cubicBezTo>
                    <a:pt x="2332" y="3494"/>
                    <a:pt x="2324" y="3486"/>
                    <a:pt x="2308" y="3471"/>
                  </a:cubicBezTo>
                  <a:cubicBezTo>
                    <a:pt x="2261" y="3439"/>
                    <a:pt x="2182" y="3376"/>
                    <a:pt x="2150" y="3336"/>
                  </a:cubicBezTo>
                  <a:cubicBezTo>
                    <a:pt x="2134" y="3328"/>
                    <a:pt x="2118" y="3313"/>
                    <a:pt x="2103" y="3289"/>
                  </a:cubicBezTo>
                  <a:cubicBezTo>
                    <a:pt x="2071" y="3249"/>
                    <a:pt x="2031" y="3202"/>
                    <a:pt x="2016" y="3202"/>
                  </a:cubicBezTo>
                  <a:lnTo>
                    <a:pt x="2016" y="3202"/>
                  </a:lnTo>
                  <a:cubicBezTo>
                    <a:pt x="2000" y="3218"/>
                    <a:pt x="1976" y="3225"/>
                    <a:pt x="1960" y="3225"/>
                  </a:cubicBezTo>
                  <a:cubicBezTo>
                    <a:pt x="1952" y="3225"/>
                    <a:pt x="1945" y="3218"/>
                    <a:pt x="1936" y="3210"/>
                  </a:cubicBezTo>
                  <a:cubicBezTo>
                    <a:pt x="1929" y="3210"/>
                    <a:pt x="1929" y="3202"/>
                    <a:pt x="1921" y="3202"/>
                  </a:cubicBezTo>
                  <a:cubicBezTo>
                    <a:pt x="1913" y="3186"/>
                    <a:pt x="1905" y="3186"/>
                    <a:pt x="1897" y="3186"/>
                  </a:cubicBezTo>
                  <a:cubicBezTo>
                    <a:pt x="1889" y="3186"/>
                    <a:pt x="1881" y="3186"/>
                    <a:pt x="1873" y="3186"/>
                  </a:cubicBezTo>
                  <a:cubicBezTo>
                    <a:pt x="1865" y="3186"/>
                    <a:pt x="1858" y="3194"/>
                    <a:pt x="1850" y="3194"/>
                  </a:cubicBezTo>
                  <a:cubicBezTo>
                    <a:pt x="1834" y="3202"/>
                    <a:pt x="1826" y="3202"/>
                    <a:pt x="1810" y="3202"/>
                  </a:cubicBezTo>
                  <a:cubicBezTo>
                    <a:pt x="1794" y="3202"/>
                    <a:pt x="1786" y="3186"/>
                    <a:pt x="1778" y="3178"/>
                  </a:cubicBezTo>
                  <a:cubicBezTo>
                    <a:pt x="1763" y="3170"/>
                    <a:pt x="1755" y="3154"/>
                    <a:pt x="1723" y="3154"/>
                  </a:cubicBezTo>
                  <a:cubicBezTo>
                    <a:pt x="1723" y="3154"/>
                    <a:pt x="1723" y="3154"/>
                    <a:pt x="1715" y="3154"/>
                  </a:cubicBezTo>
                  <a:cubicBezTo>
                    <a:pt x="1699" y="3154"/>
                    <a:pt x="1692" y="3154"/>
                    <a:pt x="1676" y="3162"/>
                  </a:cubicBezTo>
                  <a:cubicBezTo>
                    <a:pt x="1660" y="3178"/>
                    <a:pt x="1644" y="3186"/>
                    <a:pt x="1597" y="3194"/>
                  </a:cubicBezTo>
                  <a:cubicBezTo>
                    <a:pt x="1533" y="3202"/>
                    <a:pt x="1533" y="3225"/>
                    <a:pt x="1533" y="3249"/>
                  </a:cubicBezTo>
                  <a:cubicBezTo>
                    <a:pt x="1533" y="3257"/>
                    <a:pt x="1525" y="3265"/>
                    <a:pt x="1525" y="3273"/>
                  </a:cubicBezTo>
                  <a:cubicBezTo>
                    <a:pt x="1525" y="3281"/>
                    <a:pt x="1518" y="3289"/>
                    <a:pt x="1510" y="3297"/>
                  </a:cubicBezTo>
                  <a:cubicBezTo>
                    <a:pt x="1502" y="3320"/>
                    <a:pt x="1486" y="3344"/>
                    <a:pt x="1478" y="3376"/>
                  </a:cubicBezTo>
                  <a:cubicBezTo>
                    <a:pt x="1470" y="3384"/>
                    <a:pt x="1470" y="3391"/>
                    <a:pt x="1470" y="3400"/>
                  </a:cubicBezTo>
                  <a:cubicBezTo>
                    <a:pt x="1462" y="3439"/>
                    <a:pt x="1454" y="3478"/>
                    <a:pt x="1415" y="3494"/>
                  </a:cubicBezTo>
                  <a:cubicBezTo>
                    <a:pt x="1399" y="3502"/>
                    <a:pt x="1391" y="3526"/>
                    <a:pt x="1383" y="3542"/>
                  </a:cubicBezTo>
                  <a:cubicBezTo>
                    <a:pt x="1375" y="3550"/>
                    <a:pt x="1375" y="3565"/>
                    <a:pt x="1359" y="3565"/>
                  </a:cubicBezTo>
                  <a:cubicBezTo>
                    <a:pt x="1352" y="3565"/>
                    <a:pt x="1336" y="3565"/>
                    <a:pt x="1328" y="3557"/>
                  </a:cubicBezTo>
                  <a:cubicBezTo>
                    <a:pt x="1312" y="3550"/>
                    <a:pt x="1304" y="3534"/>
                    <a:pt x="1288" y="3526"/>
                  </a:cubicBezTo>
                  <a:cubicBezTo>
                    <a:pt x="1233" y="3494"/>
                    <a:pt x="1162" y="3439"/>
                    <a:pt x="1146" y="3439"/>
                  </a:cubicBezTo>
                  <a:cubicBezTo>
                    <a:pt x="1138" y="3439"/>
                    <a:pt x="1138" y="3439"/>
                    <a:pt x="1138" y="3439"/>
                  </a:cubicBezTo>
                  <a:cubicBezTo>
                    <a:pt x="1138" y="3447"/>
                    <a:pt x="1138" y="3447"/>
                    <a:pt x="1138" y="3447"/>
                  </a:cubicBezTo>
                  <a:cubicBezTo>
                    <a:pt x="1122" y="3447"/>
                    <a:pt x="1106" y="3431"/>
                    <a:pt x="1091" y="3415"/>
                  </a:cubicBezTo>
                  <a:cubicBezTo>
                    <a:pt x="1067" y="3391"/>
                    <a:pt x="1051" y="3376"/>
                    <a:pt x="1028" y="3376"/>
                  </a:cubicBezTo>
                  <a:cubicBezTo>
                    <a:pt x="996" y="3376"/>
                    <a:pt x="933" y="3344"/>
                    <a:pt x="909" y="3304"/>
                  </a:cubicBezTo>
                  <a:cubicBezTo>
                    <a:pt x="901" y="3297"/>
                    <a:pt x="901" y="3289"/>
                    <a:pt x="893" y="3281"/>
                  </a:cubicBezTo>
                  <a:cubicBezTo>
                    <a:pt x="893" y="3265"/>
                    <a:pt x="893" y="3265"/>
                    <a:pt x="869" y="3257"/>
                  </a:cubicBezTo>
                  <a:cubicBezTo>
                    <a:pt x="861" y="3249"/>
                    <a:pt x="861" y="3249"/>
                    <a:pt x="861" y="3249"/>
                  </a:cubicBezTo>
                  <a:cubicBezTo>
                    <a:pt x="822" y="3241"/>
                    <a:pt x="798" y="3233"/>
                    <a:pt x="782" y="3186"/>
                  </a:cubicBezTo>
                  <a:cubicBezTo>
                    <a:pt x="775" y="3170"/>
                    <a:pt x="766" y="3147"/>
                    <a:pt x="751" y="3131"/>
                  </a:cubicBezTo>
                  <a:cubicBezTo>
                    <a:pt x="735" y="3091"/>
                    <a:pt x="711" y="3051"/>
                    <a:pt x="719" y="3020"/>
                  </a:cubicBezTo>
                  <a:cubicBezTo>
                    <a:pt x="727" y="2996"/>
                    <a:pt x="743" y="2988"/>
                    <a:pt x="759" y="2980"/>
                  </a:cubicBezTo>
                  <a:cubicBezTo>
                    <a:pt x="766" y="2980"/>
                    <a:pt x="766" y="2973"/>
                    <a:pt x="775" y="2965"/>
                  </a:cubicBezTo>
                  <a:cubicBezTo>
                    <a:pt x="775" y="2957"/>
                    <a:pt x="766" y="2941"/>
                    <a:pt x="743" y="2917"/>
                  </a:cubicBezTo>
                  <a:cubicBezTo>
                    <a:pt x="695" y="2854"/>
                    <a:pt x="695" y="2854"/>
                    <a:pt x="695" y="2830"/>
                  </a:cubicBezTo>
                  <a:cubicBezTo>
                    <a:pt x="695" y="2830"/>
                    <a:pt x="695" y="2822"/>
                    <a:pt x="695" y="2814"/>
                  </a:cubicBezTo>
                  <a:cubicBezTo>
                    <a:pt x="695" y="2807"/>
                    <a:pt x="695" y="2799"/>
                    <a:pt x="695" y="2791"/>
                  </a:cubicBezTo>
                  <a:cubicBezTo>
                    <a:pt x="703" y="2775"/>
                    <a:pt x="703" y="2767"/>
                    <a:pt x="656" y="2727"/>
                  </a:cubicBezTo>
                  <a:cubicBezTo>
                    <a:pt x="608" y="2696"/>
                    <a:pt x="585" y="2672"/>
                    <a:pt x="561" y="2648"/>
                  </a:cubicBezTo>
                  <a:cubicBezTo>
                    <a:pt x="553" y="2641"/>
                    <a:pt x="545" y="2633"/>
                    <a:pt x="529" y="2617"/>
                  </a:cubicBezTo>
                  <a:cubicBezTo>
                    <a:pt x="513" y="2601"/>
                    <a:pt x="498" y="2593"/>
                    <a:pt x="482" y="2593"/>
                  </a:cubicBezTo>
                  <a:cubicBezTo>
                    <a:pt x="458" y="2585"/>
                    <a:pt x="435" y="2577"/>
                    <a:pt x="427" y="2538"/>
                  </a:cubicBezTo>
                  <a:cubicBezTo>
                    <a:pt x="411" y="2490"/>
                    <a:pt x="403" y="2474"/>
                    <a:pt x="371" y="2451"/>
                  </a:cubicBezTo>
                  <a:cubicBezTo>
                    <a:pt x="371" y="2443"/>
                    <a:pt x="363" y="2435"/>
                    <a:pt x="355" y="2427"/>
                  </a:cubicBezTo>
                  <a:cubicBezTo>
                    <a:pt x="308" y="2380"/>
                    <a:pt x="292" y="2364"/>
                    <a:pt x="229" y="2324"/>
                  </a:cubicBezTo>
                  <a:cubicBezTo>
                    <a:pt x="213" y="2308"/>
                    <a:pt x="197" y="2308"/>
                    <a:pt x="189" y="2308"/>
                  </a:cubicBezTo>
                  <a:cubicBezTo>
                    <a:pt x="166" y="2301"/>
                    <a:pt x="166" y="2301"/>
                    <a:pt x="166" y="2261"/>
                  </a:cubicBezTo>
                  <a:cubicBezTo>
                    <a:pt x="166" y="2190"/>
                    <a:pt x="95" y="2143"/>
                    <a:pt x="87" y="2143"/>
                  </a:cubicBezTo>
                  <a:cubicBezTo>
                    <a:pt x="87" y="2143"/>
                    <a:pt x="87" y="2143"/>
                    <a:pt x="55" y="2143"/>
                  </a:cubicBezTo>
                  <a:cubicBezTo>
                    <a:pt x="47" y="2143"/>
                    <a:pt x="47" y="2143"/>
                    <a:pt x="47" y="2143"/>
                  </a:cubicBezTo>
                  <a:cubicBezTo>
                    <a:pt x="47" y="2135"/>
                    <a:pt x="47" y="2135"/>
                    <a:pt x="47" y="2135"/>
                  </a:cubicBezTo>
                  <a:cubicBezTo>
                    <a:pt x="0" y="2040"/>
                    <a:pt x="8" y="2032"/>
                    <a:pt x="8" y="2024"/>
                  </a:cubicBezTo>
                  <a:lnTo>
                    <a:pt x="16" y="2024"/>
                  </a:lnTo>
                  <a:lnTo>
                    <a:pt x="23" y="2024"/>
                  </a:lnTo>
                  <a:cubicBezTo>
                    <a:pt x="71" y="2032"/>
                    <a:pt x="1399" y="2143"/>
                    <a:pt x="1423" y="2143"/>
                  </a:cubicBezTo>
                  <a:cubicBezTo>
                    <a:pt x="1454" y="2143"/>
                    <a:pt x="1454" y="2103"/>
                    <a:pt x="1454" y="2103"/>
                  </a:cubicBezTo>
                  <a:cubicBezTo>
                    <a:pt x="1597" y="0"/>
                    <a:pt x="1597" y="0"/>
                    <a:pt x="1597" y="0"/>
                  </a:cubicBezTo>
                  <a:lnTo>
                    <a:pt x="1597" y="0"/>
                  </a:lnTo>
                  <a:cubicBezTo>
                    <a:pt x="2743" y="63"/>
                    <a:pt x="2743" y="63"/>
                    <a:pt x="2743" y="63"/>
                  </a:cubicBezTo>
                  <a:lnTo>
                    <a:pt x="2743" y="63"/>
                  </a:lnTo>
                  <a:cubicBezTo>
                    <a:pt x="2735" y="419"/>
                    <a:pt x="2735" y="949"/>
                    <a:pt x="2759" y="965"/>
                  </a:cubicBezTo>
                  <a:cubicBezTo>
                    <a:pt x="2775" y="980"/>
                    <a:pt x="2790" y="996"/>
                    <a:pt x="2798" y="1012"/>
                  </a:cubicBezTo>
                  <a:cubicBezTo>
                    <a:pt x="2806" y="1028"/>
                    <a:pt x="2822" y="1044"/>
                    <a:pt x="2838" y="1060"/>
                  </a:cubicBezTo>
                  <a:cubicBezTo>
                    <a:pt x="2846" y="1067"/>
                    <a:pt x="2854" y="1067"/>
                    <a:pt x="2862" y="1067"/>
                  </a:cubicBezTo>
                  <a:cubicBezTo>
                    <a:pt x="2869" y="1067"/>
                    <a:pt x="2869" y="1067"/>
                    <a:pt x="2877" y="1067"/>
                  </a:cubicBezTo>
                  <a:cubicBezTo>
                    <a:pt x="2885" y="1067"/>
                    <a:pt x="2885" y="1060"/>
                    <a:pt x="2893" y="1060"/>
                  </a:cubicBezTo>
                  <a:cubicBezTo>
                    <a:pt x="2901" y="1060"/>
                    <a:pt x="2909" y="1060"/>
                    <a:pt x="2917" y="1067"/>
                  </a:cubicBezTo>
                  <a:cubicBezTo>
                    <a:pt x="2925" y="1067"/>
                    <a:pt x="2925" y="1067"/>
                    <a:pt x="2933" y="1067"/>
                  </a:cubicBezTo>
                  <a:cubicBezTo>
                    <a:pt x="2941" y="1067"/>
                    <a:pt x="2941" y="1060"/>
                    <a:pt x="2948" y="1051"/>
                  </a:cubicBezTo>
                  <a:cubicBezTo>
                    <a:pt x="2948" y="1044"/>
                    <a:pt x="2948" y="1036"/>
                    <a:pt x="2964" y="1028"/>
                  </a:cubicBezTo>
                  <a:cubicBezTo>
                    <a:pt x="2964" y="1028"/>
                    <a:pt x="2964" y="1028"/>
                    <a:pt x="2972" y="1028"/>
                  </a:cubicBezTo>
                  <a:cubicBezTo>
                    <a:pt x="2988" y="1028"/>
                    <a:pt x="2996" y="1051"/>
                    <a:pt x="3012" y="1075"/>
                  </a:cubicBezTo>
                  <a:cubicBezTo>
                    <a:pt x="3012" y="1083"/>
                    <a:pt x="3012" y="1083"/>
                    <a:pt x="3012" y="1083"/>
                  </a:cubicBezTo>
                  <a:cubicBezTo>
                    <a:pt x="3020" y="1091"/>
                    <a:pt x="3020" y="1099"/>
                    <a:pt x="3020" y="1107"/>
                  </a:cubicBezTo>
                  <a:cubicBezTo>
                    <a:pt x="3020" y="1131"/>
                    <a:pt x="3028" y="1146"/>
                    <a:pt x="3043" y="1146"/>
                  </a:cubicBezTo>
                  <a:cubicBezTo>
                    <a:pt x="3051" y="1154"/>
                    <a:pt x="3067" y="1154"/>
                    <a:pt x="3067" y="1162"/>
                  </a:cubicBezTo>
                  <a:cubicBezTo>
                    <a:pt x="3083" y="1162"/>
                    <a:pt x="3091" y="1170"/>
                    <a:pt x="3115" y="1170"/>
                  </a:cubicBezTo>
                  <a:cubicBezTo>
                    <a:pt x="3115" y="1170"/>
                    <a:pt x="3122" y="1170"/>
                    <a:pt x="3130" y="1170"/>
                  </a:cubicBezTo>
                  <a:cubicBezTo>
                    <a:pt x="3170" y="1162"/>
                    <a:pt x="3186" y="1194"/>
                    <a:pt x="3186" y="1194"/>
                  </a:cubicBezTo>
                  <a:cubicBezTo>
                    <a:pt x="3194" y="1202"/>
                    <a:pt x="3201" y="1202"/>
                    <a:pt x="3209" y="1202"/>
                  </a:cubicBezTo>
                  <a:cubicBezTo>
                    <a:pt x="3217" y="1202"/>
                    <a:pt x="3225" y="1202"/>
                    <a:pt x="3233" y="1202"/>
                  </a:cubicBezTo>
                  <a:cubicBezTo>
                    <a:pt x="3241" y="1194"/>
                    <a:pt x="3249" y="1194"/>
                    <a:pt x="3265" y="1194"/>
                  </a:cubicBezTo>
                  <a:lnTo>
                    <a:pt x="3273" y="1194"/>
                  </a:lnTo>
                  <a:cubicBezTo>
                    <a:pt x="3304" y="1194"/>
                    <a:pt x="3304" y="1210"/>
                    <a:pt x="3312" y="1226"/>
                  </a:cubicBezTo>
                  <a:cubicBezTo>
                    <a:pt x="3312" y="1233"/>
                    <a:pt x="3312" y="1233"/>
                    <a:pt x="3312" y="1233"/>
                  </a:cubicBezTo>
                  <a:cubicBezTo>
                    <a:pt x="3312" y="1241"/>
                    <a:pt x="3312" y="1241"/>
                    <a:pt x="3320" y="1241"/>
                  </a:cubicBezTo>
                  <a:cubicBezTo>
                    <a:pt x="3328" y="1241"/>
                    <a:pt x="3344" y="1233"/>
                    <a:pt x="3352" y="1218"/>
                  </a:cubicBezTo>
                  <a:cubicBezTo>
                    <a:pt x="3352" y="1202"/>
                    <a:pt x="3359" y="1194"/>
                    <a:pt x="3367" y="1194"/>
                  </a:cubicBezTo>
                  <a:cubicBezTo>
                    <a:pt x="3367" y="1194"/>
                    <a:pt x="3375" y="1194"/>
                    <a:pt x="3375" y="1202"/>
                  </a:cubicBezTo>
                  <a:lnTo>
                    <a:pt x="3383" y="1202"/>
                  </a:lnTo>
                  <a:lnTo>
                    <a:pt x="3383" y="1202"/>
                  </a:lnTo>
                  <a:cubicBezTo>
                    <a:pt x="3383" y="1186"/>
                    <a:pt x="3399" y="1186"/>
                    <a:pt x="3399" y="1186"/>
                  </a:cubicBezTo>
                  <a:cubicBezTo>
                    <a:pt x="3407" y="1186"/>
                    <a:pt x="3415" y="1186"/>
                    <a:pt x="3423" y="1186"/>
                  </a:cubicBezTo>
                  <a:cubicBezTo>
                    <a:pt x="3423" y="1186"/>
                    <a:pt x="3439" y="1186"/>
                    <a:pt x="3446" y="1186"/>
                  </a:cubicBezTo>
                  <a:cubicBezTo>
                    <a:pt x="3454" y="1186"/>
                    <a:pt x="3462" y="1194"/>
                    <a:pt x="3462" y="1194"/>
                  </a:cubicBezTo>
                  <a:cubicBezTo>
                    <a:pt x="3470" y="1202"/>
                    <a:pt x="3470" y="1210"/>
                    <a:pt x="3470" y="1226"/>
                  </a:cubicBezTo>
                  <a:lnTo>
                    <a:pt x="3470" y="1233"/>
                  </a:lnTo>
                  <a:cubicBezTo>
                    <a:pt x="3470" y="1249"/>
                    <a:pt x="3470" y="1249"/>
                    <a:pt x="3478" y="1249"/>
                  </a:cubicBezTo>
                  <a:cubicBezTo>
                    <a:pt x="3486" y="1257"/>
                    <a:pt x="3486" y="1257"/>
                    <a:pt x="3494" y="1257"/>
                  </a:cubicBezTo>
                  <a:cubicBezTo>
                    <a:pt x="3510" y="1265"/>
                    <a:pt x="3510" y="1281"/>
                    <a:pt x="3510" y="1297"/>
                  </a:cubicBezTo>
                  <a:cubicBezTo>
                    <a:pt x="3510" y="1304"/>
                    <a:pt x="3502" y="1320"/>
                    <a:pt x="3510" y="1328"/>
                  </a:cubicBezTo>
                  <a:cubicBezTo>
                    <a:pt x="3510" y="1336"/>
                    <a:pt x="3518" y="1336"/>
                    <a:pt x="3518" y="1336"/>
                  </a:cubicBezTo>
                  <a:cubicBezTo>
                    <a:pt x="3526" y="1336"/>
                    <a:pt x="3549" y="1320"/>
                    <a:pt x="3557" y="1304"/>
                  </a:cubicBezTo>
                  <a:cubicBezTo>
                    <a:pt x="3573" y="1281"/>
                    <a:pt x="3597" y="1273"/>
                    <a:pt x="3628" y="1281"/>
                  </a:cubicBezTo>
                  <a:cubicBezTo>
                    <a:pt x="3660" y="1289"/>
                    <a:pt x="3668" y="1304"/>
                    <a:pt x="3676" y="1320"/>
                  </a:cubicBezTo>
                  <a:cubicBezTo>
                    <a:pt x="3684" y="1328"/>
                    <a:pt x="3684" y="1328"/>
                    <a:pt x="3684" y="1328"/>
                  </a:cubicBezTo>
                  <a:cubicBezTo>
                    <a:pt x="3684" y="1336"/>
                    <a:pt x="3692" y="1336"/>
                    <a:pt x="3699" y="1336"/>
                  </a:cubicBezTo>
                  <a:cubicBezTo>
                    <a:pt x="3707" y="1336"/>
                    <a:pt x="3715" y="1336"/>
                    <a:pt x="3715" y="1320"/>
                  </a:cubicBezTo>
                  <a:cubicBezTo>
                    <a:pt x="3715" y="1313"/>
                    <a:pt x="3739" y="1304"/>
                    <a:pt x="3778" y="1304"/>
                  </a:cubicBezTo>
                  <a:cubicBezTo>
                    <a:pt x="3786" y="1304"/>
                    <a:pt x="3794" y="1304"/>
                    <a:pt x="3802" y="1304"/>
                  </a:cubicBezTo>
                  <a:cubicBezTo>
                    <a:pt x="3810" y="1304"/>
                    <a:pt x="3810" y="1304"/>
                    <a:pt x="3810" y="1304"/>
                  </a:cubicBezTo>
                  <a:cubicBezTo>
                    <a:pt x="3818" y="1304"/>
                    <a:pt x="3818" y="1304"/>
                    <a:pt x="3818" y="1313"/>
                  </a:cubicBezTo>
                  <a:cubicBezTo>
                    <a:pt x="3826" y="1313"/>
                    <a:pt x="3818" y="1320"/>
                    <a:pt x="3818" y="1336"/>
                  </a:cubicBezTo>
                  <a:cubicBezTo>
                    <a:pt x="3818" y="1344"/>
                    <a:pt x="3818" y="1352"/>
                    <a:pt x="3810" y="1360"/>
                  </a:cubicBezTo>
                  <a:cubicBezTo>
                    <a:pt x="3810" y="1384"/>
                    <a:pt x="3818" y="1391"/>
                    <a:pt x="3834" y="1391"/>
                  </a:cubicBezTo>
                  <a:cubicBezTo>
                    <a:pt x="3834" y="1391"/>
                    <a:pt x="3842" y="1391"/>
                    <a:pt x="3842" y="1399"/>
                  </a:cubicBezTo>
                  <a:lnTo>
                    <a:pt x="3842" y="1399"/>
                  </a:lnTo>
                  <a:cubicBezTo>
                    <a:pt x="3850" y="1399"/>
                    <a:pt x="3858" y="1368"/>
                    <a:pt x="3858" y="1344"/>
                  </a:cubicBezTo>
                  <a:cubicBezTo>
                    <a:pt x="3858" y="1320"/>
                    <a:pt x="3865" y="1320"/>
                    <a:pt x="3865" y="1304"/>
                  </a:cubicBezTo>
                  <a:cubicBezTo>
                    <a:pt x="3874" y="1297"/>
                    <a:pt x="3874" y="1297"/>
                    <a:pt x="3881" y="1281"/>
                  </a:cubicBezTo>
                  <a:cubicBezTo>
                    <a:pt x="3881" y="1273"/>
                    <a:pt x="3889" y="1265"/>
                    <a:pt x="3897" y="1265"/>
                  </a:cubicBezTo>
                  <a:lnTo>
                    <a:pt x="3905" y="1273"/>
                  </a:lnTo>
                  <a:cubicBezTo>
                    <a:pt x="3913" y="1281"/>
                    <a:pt x="3913" y="1289"/>
                    <a:pt x="3913" y="1289"/>
                  </a:cubicBezTo>
                  <a:cubicBezTo>
                    <a:pt x="3929" y="1304"/>
                    <a:pt x="3945" y="1313"/>
                    <a:pt x="3960" y="1336"/>
                  </a:cubicBezTo>
                  <a:cubicBezTo>
                    <a:pt x="3960" y="1344"/>
                    <a:pt x="3968" y="1344"/>
                    <a:pt x="3968" y="1344"/>
                  </a:cubicBezTo>
                  <a:cubicBezTo>
                    <a:pt x="3976" y="1344"/>
                    <a:pt x="3984" y="1328"/>
                    <a:pt x="3984" y="1313"/>
                  </a:cubicBezTo>
                  <a:lnTo>
                    <a:pt x="3984" y="1313"/>
                  </a:lnTo>
                  <a:cubicBezTo>
                    <a:pt x="3992" y="1304"/>
                    <a:pt x="3992" y="1297"/>
                    <a:pt x="4000" y="1297"/>
                  </a:cubicBezTo>
                  <a:cubicBezTo>
                    <a:pt x="4007" y="1297"/>
                    <a:pt x="4023" y="1313"/>
                    <a:pt x="4038" y="1328"/>
                  </a:cubicBezTo>
                  <a:cubicBezTo>
                    <a:pt x="4046" y="1336"/>
                    <a:pt x="4046" y="1336"/>
                    <a:pt x="4054" y="1344"/>
                  </a:cubicBezTo>
                  <a:cubicBezTo>
                    <a:pt x="4078" y="1368"/>
                    <a:pt x="4094" y="1391"/>
                    <a:pt x="4125" y="1407"/>
                  </a:cubicBezTo>
                  <a:cubicBezTo>
                    <a:pt x="4133" y="1415"/>
                    <a:pt x="4133" y="1415"/>
                    <a:pt x="4141" y="1415"/>
                  </a:cubicBezTo>
                  <a:cubicBezTo>
                    <a:pt x="4157" y="1415"/>
                    <a:pt x="4165" y="1399"/>
                    <a:pt x="4181" y="1384"/>
                  </a:cubicBezTo>
                  <a:cubicBezTo>
                    <a:pt x="4181" y="1376"/>
                    <a:pt x="4181" y="1376"/>
                    <a:pt x="4188" y="1376"/>
                  </a:cubicBezTo>
                  <a:cubicBezTo>
                    <a:pt x="4204" y="1352"/>
                    <a:pt x="4236" y="1328"/>
                    <a:pt x="4276" y="1320"/>
                  </a:cubicBezTo>
                  <a:cubicBezTo>
                    <a:pt x="4276" y="1313"/>
                    <a:pt x="4284" y="1313"/>
                    <a:pt x="4291" y="1313"/>
                  </a:cubicBezTo>
                  <a:cubicBezTo>
                    <a:pt x="4299" y="1313"/>
                    <a:pt x="4299" y="1320"/>
                    <a:pt x="4307" y="1328"/>
                  </a:cubicBezTo>
                  <a:cubicBezTo>
                    <a:pt x="4307" y="1328"/>
                    <a:pt x="4315" y="1336"/>
                    <a:pt x="4323" y="1344"/>
                  </a:cubicBezTo>
                  <a:cubicBezTo>
                    <a:pt x="4323" y="1352"/>
                    <a:pt x="4331" y="1352"/>
                    <a:pt x="4339" y="1352"/>
                  </a:cubicBezTo>
                  <a:cubicBezTo>
                    <a:pt x="4347" y="1352"/>
                    <a:pt x="4363" y="1328"/>
                    <a:pt x="4363" y="1313"/>
                  </a:cubicBezTo>
                  <a:cubicBezTo>
                    <a:pt x="4370" y="1281"/>
                    <a:pt x="4410" y="1281"/>
                    <a:pt x="4434" y="1281"/>
                  </a:cubicBezTo>
                  <a:cubicBezTo>
                    <a:pt x="4450" y="1281"/>
                    <a:pt x="4450" y="1289"/>
                    <a:pt x="4457" y="1297"/>
                  </a:cubicBezTo>
                  <a:cubicBezTo>
                    <a:pt x="4465" y="1304"/>
                    <a:pt x="4465" y="1313"/>
                    <a:pt x="4481" y="1328"/>
                  </a:cubicBezTo>
                  <a:cubicBezTo>
                    <a:pt x="4489" y="1336"/>
                    <a:pt x="4497" y="1336"/>
                    <a:pt x="4505" y="1336"/>
                  </a:cubicBezTo>
                  <a:cubicBezTo>
                    <a:pt x="4521" y="1336"/>
                    <a:pt x="4528" y="1320"/>
                    <a:pt x="4537" y="1313"/>
                  </a:cubicBezTo>
                  <a:lnTo>
                    <a:pt x="4537" y="1313"/>
                  </a:lnTo>
                  <a:cubicBezTo>
                    <a:pt x="4537" y="1304"/>
                    <a:pt x="4544" y="1304"/>
                    <a:pt x="4544" y="1304"/>
                  </a:cubicBezTo>
                  <a:cubicBezTo>
                    <a:pt x="4552" y="1289"/>
                    <a:pt x="4568" y="1273"/>
                    <a:pt x="4584" y="1265"/>
                  </a:cubicBezTo>
                  <a:cubicBezTo>
                    <a:pt x="4608" y="1265"/>
                    <a:pt x="4631" y="1281"/>
                    <a:pt x="4671" y="1328"/>
                  </a:cubicBezTo>
                  <a:cubicBezTo>
                    <a:pt x="4703" y="1368"/>
                    <a:pt x="4718" y="1368"/>
                    <a:pt x="4734" y="1376"/>
                  </a:cubicBezTo>
                  <a:cubicBezTo>
                    <a:pt x="4742" y="1376"/>
                    <a:pt x="4750" y="1376"/>
                    <a:pt x="4750" y="1384"/>
                  </a:cubicBezTo>
                  <a:cubicBezTo>
                    <a:pt x="4766" y="1391"/>
                    <a:pt x="4781" y="1415"/>
                    <a:pt x="4813" y="1415"/>
                  </a:cubicBezTo>
                  <a:cubicBezTo>
                    <a:pt x="4829" y="1415"/>
                    <a:pt x="4837" y="1407"/>
                    <a:pt x="4845" y="1407"/>
                  </a:cubicBezTo>
                  <a:cubicBezTo>
                    <a:pt x="4845" y="1399"/>
                    <a:pt x="4853" y="1399"/>
                    <a:pt x="4868" y="1399"/>
                  </a:cubicBezTo>
                  <a:cubicBezTo>
                    <a:pt x="4884" y="1399"/>
                    <a:pt x="4892" y="1415"/>
                    <a:pt x="4892" y="1431"/>
                  </a:cubicBezTo>
                  <a:cubicBezTo>
                    <a:pt x="4900" y="1447"/>
                    <a:pt x="4900" y="1455"/>
                    <a:pt x="4908" y="1463"/>
                  </a:cubicBezTo>
                  <a:cubicBezTo>
                    <a:pt x="4916" y="1471"/>
                    <a:pt x="4916" y="1471"/>
                    <a:pt x="4916" y="1471"/>
                  </a:cubicBezTo>
                  <a:cubicBezTo>
                    <a:pt x="4916" y="1471"/>
                    <a:pt x="4924" y="1463"/>
                    <a:pt x="4924" y="1455"/>
                  </a:cubicBezTo>
                  <a:cubicBezTo>
                    <a:pt x="4924" y="1439"/>
                    <a:pt x="4932" y="1431"/>
                    <a:pt x="4940" y="1431"/>
                  </a:cubicBezTo>
                  <a:cubicBezTo>
                    <a:pt x="4940" y="1431"/>
                    <a:pt x="4956" y="1431"/>
                    <a:pt x="4963" y="1431"/>
                  </a:cubicBezTo>
                  <a:cubicBezTo>
                    <a:pt x="4971" y="1439"/>
                    <a:pt x="4987" y="1439"/>
                    <a:pt x="5003" y="1439"/>
                  </a:cubicBezTo>
                  <a:cubicBezTo>
                    <a:pt x="5027" y="1439"/>
                    <a:pt x="5043" y="1463"/>
                    <a:pt x="5043" y="1463"/>
                  </a:cubicBezTo>
                  <a:lnTo>
                    <a:pt x="5043" y="1463"/>
                  </a:lnTo>
                  <a:lnTo>
                    <a:pt x="5043" y="1463"/>
                  </a:lnTo>
                  <a:cubicBezTo>
                    <a:pt x="5058" y="2206"/>
                    <a:pt x="5058" y="2206"/>
                    <a:pt x="5058" y="2206"/>
                  </a:cubicBezTo>
                  <a:cubicBezTo>
                    <a:pt x="5066" y="2206"/>
                    <a:pt x="5090" y="2221"/>
                    <a:pt x="5106" y="2245"/>
                  </a:cubicBezTo>
                  <a:cubicBezTo>
                    <a:pt x="5106" y="2253"/>
                    <a:pt x="5114" y="2261"/>
                    <a:pt x="5121" y="2269"/>
                  </a:cubicBezTo>
                  <a:cubicBezTo>
                    <a:pt x="5137" y="2277"/>
                    <a:pt x="5153" y="2293"/>
                    <a:pt x="5161" y="2316"/>
                  </a:cubicBezTo>
                  <a:cubicBezTo>
                    <a:pt x="5169" y="2348"/>
                    <a:pt x="5169" y="2356"/>
                    <a:pt x="5161" y="2372"/>
                  </a:cubicBezTo>
                  <a:cubicBezTo>
                    <a:pt x="5161" y="2372"/>
                    <a:pt x="5161" y="2380"/>
                    <a:pt x="5153" y="2388"/>
                  </a:cubicBezTo>
                  <a:cubicBezTo>
                    <a:pt x="5153" y="2403"/>
                    <a:pt x="5161" y="2403"/>
                    <a:pt x="5169" y="2411"/>
                  </a:cubicBezTo>
                  <a:cubicBezTo>
                    <a:pt x="5177" y="2411"/>
                    <a:pt x="5177" y="2419"/>
                    <a:pt x="5185" y="2419"/>
                  </a:cubicBezTo>
                  <a:cubicBezTo>
                    <a:pt x="5201" y="2435"/>
                    <a:pt x="5224" y="2459"/>
                    <a:pt x="5216" y="2506"/>
                  </a:cubicBezTo>
                  <a:cubicBezTo>
                    <a:pt x="5216" y="2530"/>
                    <a:pt x="5224" y="2530"/>
                    <a:pt x="5232" y="2538"/>
                  </a:cubicBezTo>
                  <a:cubicBezTo>
                    <a:pt x="5240" y="2538"/>
                    <a:pt x="5256" y="2546"/>
                    <a:pt x="5264" y="2561"/>
                  </a:cubicBezTo>
                  <a:cubicBezTo>
                    <a:pt x="5280" y="2593"/>
                    <a:pt x="5280" y="2625"/>
                    <a:pt x="5280" y="2656"/>
                  </a:cubicBezTo>
                  <a:cubicBezTo>
                    <a:pt x="5272" y="2672"/>
                    <a:pt x="5272" y="2696"/>
                    <a:pt x="5272" y="2712"/>
                  </a:cubicBezTo>
                  <a:cubicBezTo>
                    <a:pt x="5272" y="2712"/>
                    <a:pt x="5272" y="2712"/>
                    <a:pt x="5280" y="2720"/>
                  </a:cubicBezTo>
                  <a:cubicBezTo>
                    <a:pt x="5280" y="2727"/>
                    <a:pt x="5280" y="2759"/>
                    <a:pt x="5256" y="2807"/>
                  </a:cubicBezTo>
                  <a:cubicBezTo>
                    <a:pt x="5248" y="2830"/>
                    <a:pt x="5240" y="2838"/>
                    <a:pt x="5224" y="2846"/>
                  </a:cubicBezTo>
                  <a:cubicBezTo>
                    <a:pt x="5224" y="2846"/>
                    <a:pt x="5216" y="2854"/>
                    <a:pt x="5208" y="2862"/>
                  </a:cubicBezTo>
                  <a:cubicBezTo>
                    <a:pt x="5201" y="2870"/>
                    <a:pt x="5201" y="2878"/>
                    <a:pt x="5201" y="2878"/>
                  </a:cubicBezTo>
                  <a:cubicBezTo>
                    <a:pt x="5201" y="2878"/>
                    <a:pt x="5201" y="2878"/>
                    <a:pt x="5208" y="2878"/>
                  </a:cubicBezTo>
                  <a:cubicBezTo>
                    <a:pt x="5216" y="2886"/>
                    <a:pt x="5224" y="2886"/>
                    <a:pt x="5224" y="2894"/>
                  </a:cubicBezTo>
                  <a:cubicBezTo>
                    <a:pt x="5232" y="2909"/>
                    <a:pt x="5232" y="2925"/>
                    <a:pt x="5232" y="2933"/>
                  </a:cubicBezTo>
                  <a:cubicBezTo>
                    <a:pt x="5224" y="2933"/>
                    <a:pt x="5224" y="2933"/>
                    <a:pt x="5216" y="2933"/>
                  </a:cubicBezTo>
                  <a:cubicBezTo>
                    <a:pt x="5216" y="2933"/>
                    <a:pt x="5208" y="2957"/>
                    <a:pt x="5201" y="2973"/>
                  </a:cubicBezTo>
                  <a:cubicBezTo>
                    <a:pt x="5201" y="2973"/>
                    <a:pt x="5201" y="2973"/>
                    <a:pt x="5201" y="2980"/>
                  </a:cubicBezTo>
                  <a:cubicBezTo>
                    <a:pt x="5201" y="2988"/>
                    <a:pt x="5208" y="2996"/>
                    <a:pt x="5216" y="3012"/>
                  </a:cubicBezTo>
                  <a:cubicBezTo>
                    <a:pt x="5216" y="3020"/>
                    <a:pt x="5216" y="3020"/>
                    <a:pt x="5224" y="3028"/>
                  </a:cubicBezTo>
                  <a:cubicBezTo>
                    <a:pt x="5232" y="3044"/>
                    <a:pt x="5232" y="3060"/>
                    <a:pt x="5232" y="3075"/>
                  </a:cubicBezTo>
                  <a:cubicBezTo>
                    <a:pt x="5232" y="3083"/>
                    <a:pt x="5232" y="3083"/>
                    <a:pt x="5232" y="3091"/>
                  </a:cubicBezTo>
                  <a:cubicBezTo>
                    <a:pt x="5232" y="3099"/>
                    <a:pt x="5224" y="3107"/>
                    <a:pt x="5216" y="3107"/>
                  </a:cubicBezTo>
                  <a:lnTo>
                    <a:pt x="5208" y="3115"/>
                  </a:lnTo>
                  <a:cubicBezTo>
                    <a:pt x="5201" y="3123"/>
                    <a:pt x="5201" y="3131"/>
                    <a:pt x="5201" y="3138"/>
                  </a:cubicBezTo>
                  <a:cubicBezTo>
                    <a:pt x="5201" y="3154"/>
                    <a:pt x="5193" y="3170"/>
                    <a:pt x="5185" y="3178"/>
                  </a:cubicBezTo>
                  <a:cubicBezTo>
                    <a:pt x="5161" y="3202"/>
                    <a:pt x="5153" y="3210"/>
                    <a:pt x="5145" y="3225"/>
                  </a:cubicBezTo>
                  <a:cubicBezTo>
                    <a:pt x="5137" y="3241"/>
                    <a:pt x="5145" y="3241"/>
                    <a:pt x="5153" y="3249"/>
                  </a:cubicBezTo>
                  <a:lnTo>
                    <a:pt x="5153" y="3249"/>
                  </a:lnTo>
                  <a:cubicBezTo>
                    <a:pt x="5169" y="3257"/>
                    <a:pt x="5177" y="3273"/>
                    <a:pt x="5177" y="3273"/>
                  </a:cubicBezTo>
                  <a:cubicBezTo>
                    <a:pt x="5177" y="3281"/>
                    <a:pt x="5177" y="3281"/>
                    <a:pt x="5177" y="3281"/>
                  </a:cubicBezTo>
                  <a:cubicBezTo>
                    <a:pt x="5169" y="3281"/>
                    <a:pt x="5169" y="3281"/>
                    <a:pt x="5169" y="3281"/>
                  </a:cubicBezTo>
                  <a:cubicBezTo>
                    <a:pt x="5169" y="3281"/>
                    <a:pt x="5169" y="3281"/>
                    <a:pt x="5161" y="3281"/>
                  </a:cubicBezTo>
                  <a:cubicBezTo>
                    <a:pt x="5145" y="3281"/>
                    <a:pt x="5114" y="3297"/>
                    <a:pt x="5074" y="3313"/>
                  </a:cubicBezTo>
                  <a:cubicBezTo>
                    <a:pt x="5034" y="3328"/>
                    <a:pt x="5003" y="3336"/>
                    <a:pt x="4979" y="3344"/>
                  </a:cubicBezTo>
                  <a:cubicBezTo>
                    <a:pt x="4963" y="3344"/>
                    <a:pt x="4948" y="3360"/>
                    <a:pt x="4924" y="3368"/>
                  </a:cubicBezTo>
                  <a:cubicBezTo>
                    <a:pt x="4908" y="3384"/>
                    <a:pt x="4892" y="3391"/>
                    <a:pt x="4868" y="3407"/>
                  </a:cubicBezTo>
                  <a:cubicBezTo>
                    <a:pt x="4813" y="3431"/>
                    <a:pt x="4797" y="3463"/>
                    <a:pt x="4790" y="3486"/>
                  </a:cubicBezTo>
                  <a:lnTo>
                    <a:pt x="4790" y="3486"/>
                  </a:lnTo>
                  <a:cubicBezTo>
                    <a:pt x="4781" y="3502"/>
                    <a:pt x="4742" y="3534"/>
                    <a:pt x="4703" y="3550"/>
                  </a:cubicBezTo>
                  <a:cubicBezTo>
                    <a:pt x="4695" y="3557"/>
                    <a:pt x="4687" y="3557"/>
                    <a:pt x="4679" y="3557"/>
                  </a:cubicBezTo>
                  <a:lnTo>
                    <a:pt x="4679" y="3557"/>
                  </a:lnTo>
                  <a:cubicBezTo>
                    <a:pt x="4671" y="3550"/>
                    <a:pt x="4671" y="3550"/>
                    <a:pt x="4679" y="3542"/>
                  </a:cubicBezTo>
                  <a:lnTo>
                    <a:pt x="4679" y="3534"/>
                  </a:lnTo>
                  <a:cubicBezTo>
                    <a:pt x="4679" y="3526"/>
                    <a:pt x="4695" y="3518"/>
                    <a:pt x="4710" y="3510"/>
                  </a:cubicBezTo>
                  <a:cubicBezTo>
                    <a:pt x="4718" y="3502"/>
                    <a:pt x="4726" y="3494"/>
                    <a:pt x="4734" y="3494"/>
                  </a:cubicBezTo>
                  <a:cubicBezTo>
                    <a:pt x="4758" y="3478"/>
                    <a:pt x="4766" y="3463"/>
                    <a:pt x="4774" y="3455"/>
                  </a:cubicBezTo>
                  <a:cubicBezTo>
                    <a:pt x="4781" y="3439"/>
                    <a:pt x="4813" y="3391"/>
                    <a:pt x="4837" y="3384"/>
                  </a:cubicBezTo>
                  <a:lnTo>
                    <a:pt x="4837" y="3384"/>
                  </a:lnTo>
                  <a:lnTo>
                    <a:pt x="4829" y="3384"/>
                  </a:lnTo>
                  <a:cubicBezTo>
                    <a:pt x="4821" y="3384"/>
                    <a:pt x="4821" y="3384"/>
                    <a:pt x="4813" y="3384"/>
                  </a:cubicBezTo>
                  <a:cubicBezTo>
                    <a:pt x="4805" y="3384"/>
                    <a:pt x="4805" y="3384"/>
                    <a:pt x="4797" y="3384"/>
                  </a:cubicBezTo>
                  <a:cubicBezTo>
                    <a:pt x="4790" y="3384"/>
                    <a:pt x="4790" y="3384"/>
                    <a:pt x="4790" y="3376"/>
                  </a:cubicBezTo>
                  <a:cubicBezTo>
                    <a:pt x="4790" y="3368"/>
                    <a:pt x="4781" y="3368"/>
                    <a:pt x="4781" y="3360"/>
                  </a:cubicBezTo>
                  <a:cubicBezTo>
                    <a:pt x="4774" y="3352"/>
                    <a:pt x="4790" y="3344"/>
                    <a:pt x="4790" y="3344"/>
                  </a:cubicBezTo>
                  <a:cubicBezTo>
                    <a:pt x="4790" y="3336"/>
                    <a:pt x="4797" y="3336"/>
                    <a:pt x="4797" y="3336"/>
                  </a:cubicBezTo>
                  <a:cubicBezTo>
                    <a:pt x="4790" y="3336"/>
                    <a:pt x="4790" y="3328"/>
                    <a:pt x="4797" y="3320"/>
                  </a:cubicBezTo>
                  <a:cubicBezTo>
                    <a:pt x="4797" y="3313"/>
                    <a:pt x="4805" y="3304"/>
                    <a:pt x="4813" y="3297"/>
                  </a:cubicBezTo>
                  <a:cubicBezTo>
                    <a:pt x="4821" y="3297"/>
                    <a:pt x="4821" y="3297"/>
                    <a:pt x="4821" y="3289"/>
                  </a:cubicBezTo>
                  <a:cubicBezTo>
                    <a:pt x="4821" y="3289"/>
                    <a:pt x="4813" y="3281"/>
                    <a:pt x="4805" y="3273"/>
                  </a:cubicBezTo>
                  <a:lnTo>
                    <a:pt x="4797" y="3265"/>
                  </a:lnTo>
                  <a:lnTo>
                    <a:pt x="4797" y="3265"/>
                  </a:lnTo>
                  <a:cubicBezTo>
                    <a:pt x="4790" y="3265"/>
                    <a:pt x="4781" y="3265"/>
                    <a:pt x="4774" y="3273"/>
                  </a:cubicBezTo>
                  <a:cubicBezTo>
                    <a:pt x="4766" y="3281"/>
                    <a:pt x="4766" y="3289"/>
                    <a:pt x="4766" y="3297"/>
                  </a:cubicBezTo>
                  <a:cubicBezTo>
                    <a:pt x="4758" y="3297"/>
                    <a:pt x="4758" y="3304"/>
                    <a:pt x="4750" y="3313"/>
                  </a:cubicBezTo>
                  <a:cubicBezTo>
                    <a:pt x="4742" y="3320"/>
                    <a:pt x="4742" y="3320"/>
                    <a:pt x="4734" y="3320"/>
                  </a:cubicBezTo>
                  <a:cubicBezTo>
                    <a:pt x="4726" y="3320"/>
                    <a:pt x="4718" y="3313"/>
                    <a:pt x="4710" y="3304"/>
                  </a:cubicBezTo>
                  <a:cubicBezTo>
                    <a:pt x="4703" y="3304"/>
                    <a:pt x="4695" y="3297"/>
                    <a:pt x="4695" y="3297"/>
                  </a:cubicBezTo>
                  <a:lnTo>
                    <a:pt x="4687" y="3297"/>
                  </a:lnTo>
                  <a:lnTo>
                    <a:pt x="4687" y="3304"/>
                  </a:lnTo>
                  <a:cubicBezTo>
                    <a:pt x="4687" y="3313"/>
                    <a:pt x="4695" y="3320"/>
                    <a:pt x="4687" y="3328"/>
                  </a:cubicBezTo>
                  <a:cubicBezTo>
                    <a:pt x="4687" y="3336"/>
                    <a:pt x="4695" y="3344"/>
                    <a:pt x="4695" y="3344"/>
                  </a:cubicBezTo>
                  <a:cubicBezTo>
                    <a:pt x="4703" y="3352"/>
                    <a:pt x="4703" y="3352"/>
                    <a:pt x="4710" y="3368"/>
                  </a:cubicBezTo>
                  <a:cubicBezTo>
                    <a:pt x="4718" y="3376"/>
                    <a:pt x="4718" y="3384"/>
                    <a:pt x="4718" y="3384"/>
                  </a:cubicBezTo>
                  <a:cubicBezTo>
                    <a:pt x="4726" y="3391"/>
                    <a:pt x="4726" y="3400"/>
                    <a:pt x="4734" y="3407"/>
                  </a:cubicBezTo>
                  <a:cubicBezTo>
                    <a:pt x="4758" y="3431"/>
                    <a:pt x="4742" y="3471"/>
                    <a:pt x="4734" y="3478"/>
                  </a:cubicBezTo>
                  <a:cubicBezTo>
                    <a:pt x="4726" y="3486"/>
                    <a:pt x="4695" y="3518"/>
                    <a:pt x="4663" y="3534"/>
                  </a:cubicBezTo>
                  <a:cubicBezTo>
                    <a:pt x="4647" y="3534"/>
                    <a:pt x="4647" y="3542"/>
                    <a:pt x="4647" y="3557"/>
                  </a:cubicBezTo>
                  <a:cubicBezTo>
                    <a:pt x="4639" y="3565"/>
                    <a:pt x="4639" y="3581"/>
                    <a:pt x="4631" y="3605"/>
                  </a:cubicBezTo>
                  <a:cubicBezTo>
                    <a:pt x="4608" y="3637"/>
                    <a:pt x="4537" y="3684"/>
                    <a:pt x="4489" y="3716"/>
                  </a:cubicBezTo>
                  <a:cubicBezTo>
                    <a:pt x="4473" y="3724"/>
                    <a:pt x="4465" y="3731"/>
                    <a:pt x="4457" y="3739"/>
                  </a:cubicBezTo>
                  <a:cubicBezTo>
                    <a:pt x="4442" y="3755"/>
                    <a:pt x="4410" y="3755"/>
                    <a:pt x="4386" y="3763"/>
                  </a:cubicBezTo>
                  <a:lnTo>
                    <a:pt x="4386" y="3763"/>
                  </a:lnTo>
                  <a:cubicBezTo>
                    <a:pt x="4370" y="3763"/>
                    <a:pt x="4370" y="3763"/>
                    <a:pt x="4370" y="3763"/>
                  </a:cubicBezTo>
                  <a:cubicBezTo>
                    <a:pt x="4370" y="3771"/>
                    <a:pt x="4370" y="3771"/>
                    <a:pt x="4378" y="3779"/>
                  </a:cubicBezTo>
                  <a:cubicBezTo>
                    <a:pt x="4378" y="3779"/>
                    <a:pt x="4378" y="3779"/>
                    <a:pt x="4378" y="3787"/>
                  </a:cubicBezTo>
                  <a:cubicBezTo>
                    <a:pt x="4378" y="3803"/>
                    <a:pt x="4355" y="3811"/>
                    <a:pt x="4315" y="3834"/>
                  </a:cubicBezTo>
                  <a:cubicBezTo>
                    <a:pt x="4291" y="3842"/>
                    <a:pt x="4268" y="3858"/>
                    <a:pt x="4252" y="3866"/>
                  </a:cubicBezTo>
                  <a:cubicBezTo>
                    <a:pt x="4228" y="3882"/>
                    <a:pt x="4212" y="3890"/>
                    <a:pt x="4204" y="3890"/>
                  </a:cubicBezTo>
                  <a:lnTo>
                    <a:pt x="4204" y="3882"/>
                  </a:lnTo>
                  <a:cubicBezTo>
                    <a:pt x="4204" y="3874"/>
                    <a:pt x="4212" y="3842"/>
                    <a:pt x="4236" y="3834"/>
                  </a:cubicBezTo>
                  <a:cubicBezTo>
                    <a:pt x="4252" y="3834"/>
                    <a:pt x="4260" y="3826"/>
                    <a:pt x="4260" y="3818"/>
                  </a:cubicBezTo>
                  <a:cubicBezTo>
                    <a:pt x="4260" y="3826"/>
                    <a:pt x="4260" y="3818"/>
                    <a:pt x="4252" y="3818"/>
                  </a:cubicBezTo>
                  <a:lnTo>
                    <a:pt x="4252" y="3826"/>
                  </a:lnTo>
                  <a:cubicBezTo>
                    <a:pt x="4244" y="3826"/>
                    <a:pt x="4244" y="3826"/>
                    <a:pt x="4244" y="3826"/>
                  </a:cubicBezTo>
                  <a:cubicBezTo>
                    <a:pt x="4228" y="3826"/>
                    <a:pt x="4220" y="3818"/>
                    <a:pt x="4204" y="3811"/>
                  </a:cubicBezTo>
                  <a:cubicBezTo>
                    <a:pt x="4197" y="3803"/>
                    <a:pt x="4188" y="3803"/>
                    <a:pt x="4188" y="3795"/>
                  </a:cubicBezTo>
                  <a:cubicBezTo>
                    <a:pt x="4181" y="3795"/>
                    <a:pt x="4173" y="3795"/>
                    <a:pt x="4165" y="3795"/>
                  </a:cubicBezTo>
                  <a:cubicBezTo>
                    <a:pt x="4157" y="3795"/>
                    <a:pt x="4149" y="3795"/>
                    <a:pt x="4141" y="3811"/>
                  </a:cubicBezTo>
                  <a:cubicBezTo>
                    <a:pt x="4133" y="3818"/>
                    <a:pt x="4133" y="3826"/>
                    <a:pt x="4117" y="3826"/>
                  </a:cubicBezTo>
                  <a:cubicBezTo>
                    <a:pt x="4110" y="3826"/>
                    <a:pt x="4102" y="3818"/>
                    <a:pt x="4086" y="3811"/>
                  </a:cubicBezTo>
                  <a:lnTo>
                    <a:pt x="4078" y="3811"/>
                  </a:lnTo>
                  <a:cubicBezTo>
                    <a:pt x="4054" y="3803"/>
                    <a:pt x="4054" y="3787"/>
                    <a:pt x="4054" y="3779"/>
                  </a:cubicBezTo>
                  <a:cubicBezTo>
                    <a:pt x="4054" y="3771"/>
                    <a:pt x="4046" y="3771"/>
                    <a:pt x="4046" y="3771"/>
                  </a:cubicBezTo>
                  <a:lnTo>
                    <a:pt x="4046" y="3771"/>
                  </a:lnTo>
                  <a:cubicBezTo>
                    <a:pt x="4038" y="3779"/>
                    <a:pt x="4038" y="3779"/>
                    <a:pt x="4038" y="3779"/>
                  </a:cubicBezTo>
                  <a:cubicBezTo>
                    <a:pt x="4031" y="3787"/>
                    <a:pt x="4046" y="3811"/>
                    <a:pt x="4062" y="3826"/>
                  </a:cubicBezTo>
                  <a:cubicBezTo>
                    <a:pt x="4070" y="3834"/>
                    <a:pt x="4070" y="3834"/>
                    <a:pt x="4070" y="3842"/>
                  </a:cubicBezTo>
                  <a:cubicBezTo>
                    <a:pt x="4070" y="3850"/>
                    <a:pt x="4078" y="3858"/>
                    <a:pt x="4094" y="3866"/>
                  </a:cubicBezTo>
                  <a:cubicBezTo>
                    <a:pt x="4117" y="3874"/>
                    <a:pt x="4117" y="3890"/>
                    <a:pt x="4117" y="3897"/>
                  </a:cubicBezTo>
                  <a:cubicBezTo>
                    <a:pt x="4117" y="3905"/>
                    <a:pt x="4117" y="3913"/>
                    <a:pt x="4125" y="3913"/>
                  </a:cubicBezTo>
                  <a:cubicBezTo>
                    <a:pt x="4133" y="3913"/>
                    <a:pt x="4133" y="3921"/>
                    <a:pt x="4133" y="3921"/>
                  </a:cubicBezTo>
                  <a:cubicBezTo>
                    <a:pt x="4133" y="3937"/>
                    <a:pt x="4094" y="3961"/>
                    <a:pt x="4046" y="3992"/>
                  </a:cubicBezTo>
                  <a:cubicBezTo>
                    <a:pt x="4038" y="4000"/>
                    <a:pt x="4023" y="4008"/>
                    <a:pt x="4023" y="4008"/>
                  </a:cubicBezTo>
                  <a:cubicBezTo>
                    <a:pt x="4015" y="4016"/>
                    <a:pt x="4015" y="4016"/>
                    <a:pt x="4015" y="4016"/>
                  </a:cubicBezTo>
                  <a:cubicBezTo>
                    <a:pt x="4007" y="4024"/>
                    <a:pt x="3992" y="4032"/>
                    <a:pt x="3984" y="4032"/>
                  </a:cubicBezTo>
                  <a:cubicBezTo>
                    <a:pt x="3976" y="4032"/>
                    <a:pt x="3976" y="4032"/>
                    <a:pt x="3968" y="4024"/>
                  </a:cubicBezTo>
                  <a:cubicBezTo>
                    <a:pt x="3968" y="4016"/>
                    <a:pt x="3992" y="4000"/>
                    <a:pt x="4023" y="3969"/>
                  </a:cubicBezTo>
                  <a:cubicBezTo>
                    <a:pt x="4046" y="3953"/>
                    <a:pt x="4070" y="3937"/>
                    <a:pt x="4070" y="3929"/>
                  </a:cubicBezTo>
                  <a:cubicBezTo>
                    <a:pt x="4070" y="3921"/>
                    <a:pt x="4070" y="3921"/>
                    <a:pt x="4070" y="3921"/>
                  </a:cubicBezTo>
                  <a:cubicBezTo>
                    <a:pt x="4070" y="3929"/>
                    <a:pt x="4070" y="3929"/>
                    <a:pt x="4062" y="3929"/>
                  </a:cubicBezTo>
                  <a:cubicBezTo>
                    <a:pt x="4054" y="3937"/>
                    <a:pt x="4038" y="3953"/>
                    <a:pt x="4023" y="3953"/>
                  </a:cubicBezTo>
                  <a:cubicBezTo>
                    <a:pt x="4015" y="3953"/>
                    <a:pt x="4015" y="3953"/>
                    <a:pt x="4015" y="3953"/>
                  </a:cubicBezTo>
                  <a:cubicBezTo>
                    <a:pt x="4000" y="3953"/>
                    <a:pt x="4000" y="3945"/>
                    <a:pt x="3992" y="3937"/>
                  </a:cubicBezTo>
                  <a:cubicBezTo>
                    <a:pt x="3992" y="3929"/>
                    <a:pt x="3992" y="3921"/>
                    <a:pt x="3976" y="3905"/>
                  </a:cubicBezTo>
                  <a:cubicBezTo>
                    <a:pt x="3968" y="3897"/>
                    <a:pt x="3960" y="3897"/>
                    <a:pt x="3960" y="3897"/>
                  </a:cubicBezTo>
                  <a:cubicBezTo>
                    <a:pt x="3952" y="3897"/>
                    <a:pt x="3952" y="3905"/>
                    <a:pt x="3952" y="3913"/>
                  </a:cubicBezTo>
                  <a:cubicBezTo>
                    <a:pt x="3952" y="3921"/>
                    <a:pt x="3952" y="3921"/>
                    <a:pt x="3952" y="3921"/>
                  </a:cubicBezTo>
                  <a:cubicBezTo>
                    <a:pt x="3945" y="3937"/>
                    <a:pt x="3945" y="3937"/>
                    <a:pt x="3976" y="3945"/>
                  </a:cubicBezTo>
                  <a:lnTo>
                    <a:pt x="3984" y="3953"/>
                  </a:lnTo>
                  <a:cubicBezTo>
                    <a:pt x="3992" y="3977"/>
                    <a:pt x="3929" y="4032"/>
                    <a:pt x="3929" y="4032"/>
                  </a:cubicBezTo>
                  <a:cubicBezTo>
                    <a:pt x="3921" y="4032"/>
                    <a:pt x="3913" y="4040"/>
                    <a:pt x="3913" y="4040"/>
                  </a:cubicBezTo>
                  <a:cubicBezTo>
                    <a:pt x="3905" y="4040"/>
                    <a:pt x="3905" y="4032"/>
                    <a:pt x="3897" y="4024"/>
                  </a:cubicBezTo>
                  <a:cubicBezTo>
                    <a:pt x="3889" y="4024"/>
                    <a:pt x="3889" y="4024"/>
                    <a:pt x="3889" y="4016"/>
                  </a:cubicBezTo>
                  <a:cubicBezTo>
                    <a:pt x="3881" y="4016"/>
                    <a:pt x="3874" y="4016"/>
                    <a:pt x="3874" y="4016"/>
                  </a:cubicBezTo>
                  <a:cubicBezTo>
                    <a:pt x="3865" y="4016"/>
                    <a:pt x="3858" y="4016"/>
                    <a:pt x="3850" y="4016"/>
                  </a:cubicBezTo>
                  <a:cubicBezTo>
                    <a:pt x="3842" y="4024"/>
                    <a:pt x="3834" y="4024"/>
                    <a:pt x="3826" y="4024"/>
                  </a:cubicBezTo>
                  <a:cubicBezTo>
                    <a:pt x="3818" y="4024"/>
                    <a:pt x="3818" y="4024"/>
                    <a:pt x="3810" y="4032"/>
                  </a:cubicBezTo>
                  <a:cubicBezTo>
                    <a:pt x="3810" y="4040"/>
                    <a:pt x="3810" y="4048"/>
                    <a:pt x="3810" y="4064"/>
                  </a:cubicBezTo>
                  <a:cubicBezTo>
                    <a:pt x="3810" y="4071"/>
                    <a:pt x="3810" y="4071"/>
                    <a:pt x="3810" y="4071"/>
                  </a:cubicBezTo>
                  <a:cubicBezTo>
                    <a:pt x="3818" y="4071"/>
                    <a:pt x="3818" y="4064"/>
                    <a:pt x="3826" y="4064"/>
                  </a:cubicBezTo>
                  <a:cubicBezTo>
                    <a:pt x="3834" y="4055"/>
                    <a:pt x="3842" y="4048"/>
                    <a:pt x="3858" y="4048"/>
                  </a:cubicBezTo>
                  <a:cubicBezTo>
                    <a:pt x="3858" y="4048"/>
                    <a:pt x="3865" y="4048"/>
                    <a:pt x="3865" y="4055"/>
                  </a:cubicBezTo>
                  <a:cubicBezTo>
                    <a:pt x="3874" y="4064"/>
                    <a:pt x="3850" y="4087"/>
                    <a:pt x="3826" y="4127"/>
                  </a:cubicBezTo>
                  <a:cubicBezTo>
                    <a:pt x="3818" y="4142"/>
                    <a:pt x="3818" y="4150"/>
                    <a:pt x="3810" y="4158"/>
                  </a:cubicBezTo>
                  <a:lnTo>
                    <a:pt x="3802" y="4166"/>
                  </a:lnTo>
                  <a:cubicBezTo>
                    <a:pt x="3794" y="4182"/>
                    <a:pt x="3794" y="4182"/>
                    <a:pt x="3786" y="4182"/>
                  </a:cubicBezTo>
                  <a:lnTo>
                    <a:pt x="3778" y="4182"/>
                  </a:lnTo>
                  <a:lnTo>
                    <a:pt x="3778" y="4182"/>
                  </a:lnTo>
                  <a:cubicBezTo>
                    <a:pt x="3763" y="4182"/>
                    <a:pt x="3763" y="4174"/>
                    <a:pt x="3755" y="4166"/>
                  </a:cubicBezTo>
                  <a:cubicBezTo>
                    <a:pt x="3755" y="4158"/>
                    <a:pt x="3755" y="4158"/>
                    <a:pt x="3747" y="4150"/>
                  </a:cubicBezTo>
                  <a:lnTo>
                    <a:pt x="3739" y="4150"/>
                  </a:lnTo>
                  <a:cubicBezTo>
                    <a:pt x="3731" y="4150"/>
                    <a:pt x="3723" y="4150"/>
                    <a:pt x="3715" y="4150"/>
                  </a:cubicBezTo>
                  <a:cubicBezTo>
                    <a:pt x="3707" y="4150"/>
                    <a:pt x="3699" y="4150"/>
                    <a:pt x="3692" y="4150"/>
                  </a:cubicBezTo>
                  <a:cubicBezTo>
                    <a:pt x="3684" y="4150"/>
                    <a:pt x="3684" y="4158"/>
                    <a:pt x="3684" y="4158"/>
                  </a:cubicBezTo>
                  <a:lnTo>
                    <a:pt x="3684" y="4158"/>
                  </a:lnTo>
                  <a:cubicBezTo>
                    <a:pt x="3684" y="4166"/>
                    <a:pt x="3684" y="4174"/>
                    <a:pt x="3684" y="4182"/>
                  </a:cubicBezTo>
                  <a:cubicBezTo>
                    <a:pt x="3684" y="4190"/>
                    <a:pt x="3692" y="4190"/>
                    <a:pt x="3699" y="4198"/>
                  </a:cubicBezTo>
                  <a:cubicBezTo>
                    <a:pt x="3715" y="4198"/>
                    <a:pt x="3723" y="4206"/>
                    <a:pt x="3731" y="4214"/>
                  </a:cubicBezTo>
                  <a:cubicBezTo>
                    <a:pt x="3739" y="4214"/>
                    <a:pt x="3739" y="4214"/>
                    <a:pt x="3739" y="4214"/>
                  </a:cubicBezTo>
                  <a:cubicBezTo>
                    <a:pt x="3755" y="4230"/>
                    <a:pt x="3755" y="4230"/>
                    <a:pt x="3755" y="4245"/>
                  </a:cubicBezTo>
                  <a:cubicBezTo>
                    <a:pt x="3755" y="4253"/>
                    <a:pt x="3755" y="4261"/>
                    <a:pt x="3755" y="4261"/>
                  </a:cubicBezTo>
                  <a:cubicBezTo>
                    <a:pt x="3755" y="4277"/>
                    <a:pt x="3755" y="4285"/>
                    <a:pt x="3755" y="4285"/>
                  </a:cubicBezTo>
                  <a:cubicBezTo>
                    <a:pt x="3755" y="4293"/>
                    <a:pt x="3755" y="4293"/>
                    <a:pt x="3763" y="4293"/>
                  </a:cubicBezTo>
                  <a:lnTo>
                    <a:pt x="3763" y="4285"/>
                  </a:lnTo>
                  <a:cubicBezTo>
                    <a:pt x="3771" y="4285"/>
                    <a:pt x="3778" y="4261"/>
                    <a:pt x="3778" y="4237"/>
                  </a:cubicBezTo>
                  <a:cubicBezTo>
                    <a:pt x="3778" y="4222"/>
                    <a:pt x="3786" y="4214"/>
                    <a:pt x="3802" y="4198"/>
                  </a:cubicBezTo>
                  <a:lnTo>
                    <a:pt x="3810" y="4190"/>
                  </a:lnTo>
                  <a:cubicBezTo>
                    <a:pt x="3818" y="4182"/>
                    <a:pt x="3818" y="4182"/>
                    <a:pt x="3826" y="4182"/>
                  </a:cubicBezTo>
                  <a:lnTo>
                    <a:pt x="3834" y="4182"/>
                  </a:lnTo>
                  <a:cubicBezTo>
                    <a:pt x="3834" y="4190"/>
                    <a:pt x="3834" y="4214"/>
                    <a:pt x="3826" y="4230"/>
                  </a:cubicBezTo>
                  <a:cubicBezTo>
                    <a:pt x="3810" y="4253"/>
                    <a:pt x="3747" y="4372"/>
                    <a:pt x="3747" y="4395"/>
                  </a:cubicBezTo>
                  <a:cubicBezTo>
                    <a:pt x="3747" y="4403"/>
                    <a:pt x="3747" y="4411"/>
                    <a:pt x="3747" y="4411"/>
                  </a:cubicBezTo>
                  <a:cubicBezTo>
                    <a:pt x="3747" y="4427"/>
                    <a:pt x="3739" y="4435"/>
                    <a:pt x="3723" y="4443"/>
                  </a:cubicBezTo>
                  <a:lnTo>
                    <a:pt x="3715" y="4435"/>
                  </a:lnTo>
                  <a:cubicBezTo>
                    <a:pt x="3715" y="4435"/>
                    <a:pt x="3715" y="4427"/>
                    <a:pt x="3715" y="4411"/>
                  </a:cubicBezTo>
                  <a:cubicBezTo>
                    <a:pt x="3715" y="4403"/>
                    <a:pt x="3723" y="4395"/>
                    <a:pt x="3715" y="4395"/>
                  </a:cubicBezTo>
                  <a:lnTo>
                    <a:pt x="3715" y="4395"/>
                  </a:lnTo>
                  <a:lnTo>
                    <a:pt x="3715" y="4395"/>
                  </a:lnTo>
                  <a:cubicBezTo>
                    <a:pt x="3715" y="4403"/>
                    <a:pt x="3707" y="4411"/>
                    <a:pt x="3699" y="4419"/>
                  </a:cubicBezTo>
                  <a:cubicBezTo>
                    <a:pt x="3692" y="4419"/>
                    <a:pt x="3692" y="4427"/>
                    <a:pt x="3684" y="4427"/>
                  </a:cubicBezTo>
                  <a:cubicBezTo>
                    <a:pt x="3676" y="4427"/>
                    <a:pt x="3676" y="4419"/>
                    <a:pt x="3668" y="4419"/>
                  </a:cubicBezTo>
                  <a:cubicBezTo>
                    <a:pt x="3660" y="4419"/>
                    <a:pt x="3660" y="4419"/>
                    <a:pt x="3660" y="4411"/>
                  </a:cubicBezTo>
                  <a:cubicBezTo>
                    <a:pt x="3644" y="4411"/>
                    <a:pt x="3628" y="4403"/>
                    <a:pt x="3605" y="4403"/>
                  </a:cubicBezTo>
                  <a:cubicBezTo>
                    <a:pt x="3597" y="4403"/>
                    <a:pt x="3589" y="4403"/>
                    <a:pt x="3581" y="4411"/>
                  </a:cubicBezTo>
                  <a:lnTo>
                    <a:pt x="3581" y="4411"/>
                  </a:lnTo>
                  <a:cubicBezTo>
                    <a:pt x="3581" y="4419"/>
                    <a:pt x="3581" y="4419"/>
                    <a:pt x="3589" y="4427"/>
                  </a:cubicBezTo>
                  <a:cubicBezTo>
                    <a:pt x="3597" y="4427"/>
                    <a:pt x="3597" y="4435"/>
                    <a:pt x="3605" y="4435"/>
                  </a:cubicBezTo>
                  <a:cubicBezTo>
                    <a:pt x="3612" y="4443"/>
                    <a:pt x="3612" y="4443"/>
                    <a:pt x="3621" y="4443"/>
                  </a:cubicBezTo>
                  <a:cubicBezTo>
                    <a:pt x="3621" y="4443"/>
                    <a:pt x="3628" y="4443"/>
                    <a:pt x="3636" y="4443"/>
                  </a:cubicBezTo>
                  <a:cubicBezTo>
                    <a:pt x="3636" y="4443"/>
                    <a:pt x="3644" y="4435"/>
                    <a:pt x="3652" y="4435"/>
                  </a:cubicBezTo>
                  <a:cubicBezTo>
                    <a:pt x="3684" y="4435"/>
                    <a:pt x="3692" y="4443"/>
                    <a:pt x="3699" y="4459"/>
                  </a:cubicBezTo>
                  <a:cubicBezTo>
                    <a:pt x="3707" y="4475"/>
                    <a:pt x="3715" y="4475"/>
                    <a:pt x="3715" y="4490"/>
                  </a:cubicBezTo>
                  <a:cubicBezTo>
                    <a:pt x="3715" y="4490"/>
                    <a:pt x="3715" y="4498"/>
                    <a:pt x="3715" y="4506"/>
                  </a:cubicBezTo>
                  <a:cubicBezTo>
                    <a:pt x="3715" y="4514"/>
                    <a:pt x="3723" y="4514"/>
                    <a:pt x="3723" y="4522"/>
                  </a:cubicBezTo>
                  <a:cubicBezTo>
                    <a:pt x="3723" y="4538"/>
                    <a:pt x="3731" y="4554"/>
                    <a:pt x="3731" y="4585"/>
                  </a:cubicBezTo>
                  <a:cubicBezTo>
                    <a:pt x="3731" y="4617"/>
                    <a:pt x="3739" y="4633"/>
                    <a:pt x="3747" y="4672"/>
                  </a:cubicBezTo>
                  <a:cubicBezTo>
                    <a:pt x="3755" y="4680"/>
                    <a:pt x="3755" y="4696"/>
                    <a:pt x="3763" y="4720"/>
                  </a:cubicBezTo>
                  <a:cubicBezTo>
                    <a:pt x="3778" y="4759"/>
                    <a:pt x="3786" y="4807"/>
                    <a:pt x="3794" y="4838"/>
                  </a:cubicBezTo>
                  <a:cubicBezTo>
                    <a:pt x="3794" y="4862"/>
                    <a:pt x="3802" y="4878"/>
                    <a:pt x="3802" y="4894"/>
                  </a:cubicBezTo>
                  <a:cubicBezTo>
                    <a:pt x="3810" y="4925"/>
                    <a:pt x="3810" y="4933"/>
                    <a:pt x="3802" y="4949"/>
                  </a:cubicBezTo>
                  <a:lnTo>
                    <a:pt x="3802" y="4949"/>
                  </a:lnTo>
                  <a:cubicBezTo>
                    <a:pt x="3802" y="4957"/>
                    <a:pt x="3794" y="4957"/>
                    <a:pt x="3794" y="4957"/>
                  </a:cubicBezTo>
                  <a:lnTo>
                    <a:pt x="3794" y="4957"/>
                  </a:lnTo>
                  <a:cubicBezTo>
                    <a:pt x="3786" y="4949"/>
                    <a:pt x="3778" y="4909"/>
                    <a:pt x="3778" y="4886"/>
                  </a:cubicBezTo>
                  <a:cubicBezTo>
                    <a:pt x="3778" y="4870"/>
                    <a:pt x="3747" y="4775"/>
                    <a:pt x="3731" y="4759"/>
                  </a:cubicBezTo>
                  <a:cubicBezTo>
                    <a:pt x="3715" y="4735"/>
                    <a:pt x="3699" y="4601"/>
                    <a:pt x="3699" y="4561"/>
                  </a:cubicBezTo>
                  <a:cubicBezTo>
                    <a:pt x="3699" y="4538"/>
                    <a:pt x="3699" y="4522"/>
                    <a:pt x="3692" y="4514"/>
                  </a:cubicBezTo>
                  <a:cubicBezTo>
                    <a:pt x="3692" y="4530"/>
                    <a:pt x="3684" y="4554"/>
                    <a:pt x="3660" y="4561"/>
                  </a:cubicBezTo>
                  <a:cubicBezTo>
                    <a:pt x="3636" y="4570"/>
                    <a:pt x="3636" y="4577"/>
                    <a:pt x="3644" y="4601"/>
                  </a:cubicBezTo>
                  <a:cubicBezTo>
                    <a:pt x="3644" y="4609"/>
                    <a:pt x="3652" y="4609"/>
                    <a:pt x="3652" y="4617"/>
                  </a:cubicBezTo>
                  <a:cubicBezTo>
                    <a:pt x="3660" y="4625"/>
                    <a:pt x="3668" y="4625"/>
                    <a:pt x="3660" y="4641"/>
                  </a:cubicBezTo>
                  <a:cubicBezTo>
                    <a:pt x="3660" y="4656"/>
                    <a:pt x="3668" y="4664"/>
                    <a:pt x="3684" y="4680"/>
                  </a:cubicBezTo>
                  <a:cubicBezTo>
                    <a:pt x="3684" y="4688"/>
                    <a:pt x="3692" y="4696"/>
                    <a:pt x="3692" y="4704"/>
                  </a:cubicBezTo>
                  <a:cubicBezTo>
                    <a:pt x="3707" y="4720"/>
                    <a:pt x="3707" y="4743"/>
                    <a:pt x="3699" y="4767"/>
                  </a:cubicBezTo>
                  <a:cubicBezTo>
                    <a:pt x="3699" y="4783"/>
                    <a:pt x="3699" y="4799"/>
                    <a:pt x="3699" y="4822"/>
                  </a:cubicBezTo>
                  <a:cubicBezTo>
                    <a:pt x="3699" y="4846"/>
                    <a:pt x="3707" y="4854"/>
                    <a:pt x="3715" y="4862"/>
                  </a:cubicBezTo>
                  <a:cubicBezTo>
                    <a:pt x="3723" y="4878"/>
                    <a:pt x="3731" y="4886"/>
                    <a:pt x="3739" y="4909"/>
                  </a:cubicBezTo>
                  <a:cubicBezTo>
                    <a:pt x="3739" y="4941"/>
                    <a:pt x="3747" y="4949"/>
                    <a:pt x="3755" y="4957"/>
                  </a:cubicBezTo>
                  <a:cubicBezTo>
                    <a:pt x="3755" y="4965"/>
                    <a:pt x="3763" y="4972"/>
                    <a:pt x="3771" y="4981"/>
                  </a:cubicBezTo>
                  <a:cubicBezTo>
                    <a:pt x="3778" y="5004"/>
                    <a:pt x="3778" y="5012"/>
                    <a:pt x="3771" y="5020"/>
                  </a:cubicBezTo>
                  <a:cubicBezTo>
                    <a:pt x="3771" y="5028"/>
                    <a:pt x="3763" y="5028"/>
                    <a:pt x="3771" y="5036"/>
                  </a:cubicBezTo>
                  <a:lnTo>
                    <a:pt x="3771" y="5036"/>
                  </a:lnTo>
                  <a:cubicBezTo>
                    <a:pt x="3771" y="5036"/>
                    <a:pt x="3771" y="5036"/>
                    <a:pt x="3778" y="5028"/>
                  </a:cubicBezTo>
                  <a:cubicBezTo>
                    <a:pt x="3778" y="5028"/>
                    <a:pt x="3778" y="5020"/>
                    <a:pt x="3786" y="5012"/>
                  </a:cubicBezTo>
                  <a:lnTo>
                    <a:pt x="3786" y="5012"/>
                  </a:lnTo>
                  <a:cubicBezTo>
                    <a:pt x="3786" y="5004"/>
                    <a:pt x="3794" y="5004"/>
                    <a:pt x="3794" y="5004"/>
                  </a:cubicBezTo>
                  <a:cubicBezTo>
                    <a:pt x="3802" y="5004"/>
                    <a:pt x="3810" y="5012"/>
                    <a:pt x="3818" y="5044"/>
                  </a:cubicBezTo>
                  <a:cubicBezTo>
                    <a:pt x="3818" y="5044"/>
                    <a:pt x="3818" y="5044"/>
                    <a:pt x="3818" y="5052"/>
                  </a:cubicBezTo>
                  <a:cubicBezTo>
                    <a:pt x="3818" y="5060"/>
                    <a:pt x="3818" y="5060"/>
                    <a:pt x="3818" y="5060"/>
                  </a:cubicBezTo>
                  <a:cubicBezTo>
                    <a:pt x="3810" y="5052"/>
                    <a:pt x="3810" y="5052"/>
                    <a:pt x="3810" y="5052"/>
                  </a:cubicBezTo>
                  <a:cubicBezTo>
                    <a:pt x="3810" y="5052"/>
                    <a:pt x="3802" y="5052"/>
                    <a:pt x="3794" y="5052"/>
                  </a:cubicBezTo>
                  <a:lnTo>
                    <a:pt x="3794" y="5052"/>
                  </a:lnTo>
                  <a:cubicBezTo>
                    <a:pt x="3786" y="5060"/>
                    <a:pt x="3763" y="5075"/>
                    <a:pt x="3755" y="5083"/>
                  </a:cubicBezTo>
                  <a:cubicBezTo>
                    <a:pt x="3755" y="5083"/>
                    <a:pt x="3755" y="5091"/>
                    <a:pt x="3755" y="5099"/>
                  </a:cubicBezTo>
                  <a:cubicBezTo>
                    <a:pt x="3747" y="5107"/>
                    <a:pt x="3739" y="5115"/>
                    <a:pt x="3731" y="5123"/>
                  </a:cubicBezTo>
                  <a:cubicBezTo>
                    <a:pt x="3723" y="5123"/>
                    <a:pt x="3715" y="5123"/>
                    <a:pt x="3715" y="5123"/>
                  </a:cubicBezTo>
                  <a:close/>
                  <a:moveTo>
                    <a:pt x="3518" y="4972"/>
                  </a:moveTo>
                  <a:lnTo>
                    <a:pt x="3518" y="4972"/>
                  </a:lnTo>
                  <a:cubicBezTo>
                    <a:pt x="3541" y="4972"/>
                    <a:pt x="3565" y="4988"/>
                    <a:pt x="3589" y="5004"/>
                  </a:cubicBezTo>
                  <a:cubicBezTo>
                    <a:pt x="3597" y="5012"/>
                    <a:pt x="3612" y="5020"/>
                    <a:pt x="3621" y="5020"/>
                  </a:cubicBezTo>
                  <a:cubicBezTo>
                    <a:pt x="3644" y="5036"/>
                    <a:pt x="3660" y="5060"/>
                    <a:pt x="3676" y="5075"/>
                  </a:cubicBezTo>
                  <a:cubicBezTo>
                    <a:pt x="3684" y="5083"/>
                    <a:pt x="3684" y="5083"/>
                    <a:pt x="3692" y="5091"/>
                  </a:cubicBezTo>
                  <a:cubicBezTo>
                    <a:pt x="3699" y="5099"/>
                    <a:pt x="3699" y="5107"/>
                    <a:pt x="3707" y="5107"/>
                  </a:cubicBezTo>
                  <a:cubicBezTo>
                    <a:pt x="3707" y="5115"/>
                    <a:pt x="3707" y="5115"/>
                    <a:pt x="3715" y="5115"/>
                  </a:cubicBezTo>
                  <a:lnTo>
                    <a:pt x="3723" y="5115"/>
                  </a:lnTo>
                  <a:cubicBezTo>
                    <a:pt x="3739" y="5107"/>
                    <a:pt x="3739" y="5107"/>
                    <a:pt x="3747" y="5099"/>
                  </a:cubicBezTo>
                  <a:cubicBezTo>
                    <a:pt x="3747" y="5091"/>
                    <a:pt x="3747" y="5083"/>
                    <a:pt x="3747" y="5083"/>
                  </a:cubicBezTo>
                  <a:cubicBezTo>
                    <a:pt x="3747" y="5075"/>
                    <a:pt x="3747" y="5075"/>
                    <a:pt x="3747" y="5075"/>
                  </a:cubicBezTo>
                  <a:lnTo>
                    <a:pt x="3747" y="5075"/>
                  </a:lnTo>
                  <a:cubicBezTo>
                    <a:pt x="3755" y="5075"/>
                    <a:pt x="3778" y="5060"/>
                    <a:pt x="3786" y="5052"/>
                  </a:cubicBezTo>
                  <a:cubicBezTo>
                    <a:pt x="3786" y="5044"/>
                    <a:pt x="3794" y="5044"/>
                    <a:pt x="3794" y="5044"/>
                  </a:cubicBezTo>
                  <a:cubicBezTo>
                    <a:pt x="3802" y="5044"/>
                    <a:pt x="3802" y="5044"/>
                    <a:pt x="3810" y="5044"/>
                  </a:cubicBezTo>
                  <a:cubicBezTo>
                    <a:pt x="3802" y="5012"/>
                    <a:pt x="3794" y="5012"/>
                    <a:pt x="3794" y="5012"/>
                  </a:cubicBezTo>
                  <a:lnTo>
                    <a:pt x="3794" y="5012"/>
                  </a:lnTo>
                  <a:cubicBezTo>
                    <a:pt x="3786" y="5020"/>
                    <a:pt x="3786" y="5020"/>
                    <a:pt x="3786" y="5020"/>
                  </a:cubicBezTo>
                  <a:cubicBezTo>
                    <a:pt x="3786" y="5020"/>
                    <a:pt x="3786" y="5028"/>
                    <a:pt x="3778" y="5036"/>
                  </a:cubicBezTo>
                  <a:cubicBezTo>
                    <a:pt x="3778" y="5044"/>
                    <a:pt x="3778" y="5044"/>
                    <a:pt x="3771" y="5044"/>
                  </a:cubicBezTo>
                  <a:cubicBezTo>
                    <a:pt x="3771" y="5044"/>
                    <a:pt x="3763" y="5044"/>
                    <a:pt x="3763" y="5036"/>
                  </a:cubicBezTo>
                  <a:cubicBezTo>
                    <a:pt x="3755" y="5028"/>
                    <a:pt x="3763" y="5028"/>
                    <a:pt x="3763" y="5020"/>
                  </a:cubicBezTo>
                  <a:cubicBezTo>
                    <a:pt x="3771" y="5012"/>
                    <a:pt x="3771" y="5004"/>
                    <a:pt x="3763" y="4981"/>
                  </a:cubicBezTo>
                  <a:cubicBezTo>
                    <a:pt x="3755" y="4972"/>
                    <a:pt x="3755" y="4972"/>
                    <a:pt x="3747" y="4965"/>
                  </a:cubicBezTo>
                  <a:cubicBezTo>
                    <a:pt x="3739" y="4949"/>
                    <a:pt x="3731" y="4949"/>
                    <a:pt x="3731" y="4909"/>
                  </a:cubicBezTo>
                  <a:cubicBezTo>
                    <a:pt x="3723" y="4886"/>
                    <a:pt x="3715" y="4878"/>
                    <a:pt x="3707" y="4870"/>
                  </a:cubicBezTo>
                  <a:cubicBezTo>
                    <a:pt x="3699" y="4862"/>
                    <a:pt x="3692" y="4854"/>
                    <a:pt x="3692" y="4822"/>
                  </a:cubicBezTo>
                  <a:cubicBezTo>
                    <a:pt x="3692" y="4799"/>
                    <a:pt x="3692" y="4783"/>
                    <a:pt x="3692" y="4767"/>
                  </a:cubicBezTo>
                  <a:cubicBezTo>
                    <a:pt x="3699" y="4743"/>
                    <a:pt x="3699" y="4728"/>
                    <a:pt x="3692" y="4704"/>
                  </a:cubicBezTo>
                  <a:cubicBezTo>
                    <a:pt x="3684" y="4704"/>
                    <a:pt x="3676" y="4696"/>
                    <a:pt x="3676" y="4688"/>
                  </a:cubicBezTo>
                  <a:cubicBezTo>
                    <a:pt x="3660" y="4672"/>
                    <a:pt x="3652" y="4656"/>
                    <a:pt x="3652" y="4641"/>
                  </a:cubicBezTo>
                  <a:cubicBezTo>
                    <a:pt x="3660" y="4625"/>
                    <a:pt x="3652" y="4625"/>
                    <a:pt x="3652" y="4617"/>
                  </a:cubicBezTo>
                  <a:cubicBezTo>
                    <a:pt x="3644" y="4617"/>
                    <a:pt x="3644" y="4609"/>
                    <a:pt x="3636" y="4601"/>
                  </a:cubicBezTo>
                  <a:cubicBezTo>
                    <a:pt x="3628" y="4577"/>
                    <a:pt x="3628" y="4570"/>
                    <a:pt x="3660" y="4554"/>
                  </a:cubicBezTo>
                  <a:cubicBezTo>
                    <a:pt x="3684" y="4546"/>
                    <a:pt x="3684" y="4530"/>
                    <a:pt x="3684" y="4514"/>
                  </a:cubicBezTo>
                  <a:lnTo>
                    <a:pt x="3684" y="4506"/>
                  </a:lnTo>
                  <a:cubicBezTo>
                    <a:pt x="3684" y="4506"/>
                    <a:pt x="3684" y="4506"/>
                    <a:pt x="3692" y="4506"/>
                  </a:cubicBezTo>
                  <a:cubicBezTo>
                    <a:pt x="3699" y="4506"/>
                    <a:pt x="3707" y="4530"/>
                    <a:pt x="3707" y="4561"/>
                  </a:cubicBezTo>
                  <a:cubicBezTo>
                    <a:pt x="3707" y="4601"/>
                    <a:pt x="3723" y="4735"/>
                    <a:pt x="3739" y="4751"/>
                  </a:cubicBezTo>
                  <a:cubicBezTo>
                    <a:pt x="3755" y="4775"/>
                    <a:pt x="3786" y="4862"/>
                    <a:pt x="3786" y="4886"/>
                  </a:cubicBezTo>
                  <a:cubicBezTo>
                    <a:pt x="3786" y="4909"/>
                    <a:pt x="3794" y="4941"/>
                    <a:pt x="3794" y="4949"/>
                  </a:cubicBezTo>
                  <a:lnTo>
                    <a:pt x="3794" y="4949"/>
                  </a:lnTo>
                  <a:cubicBezTo>
                    <a:pt x="3794" y="4949"/>
                    <a:pt x="3794" y="4941"/>
                    <a:pt x="3802" y="4941"/>
                  </a:cubicBezTo>
                  <a:cubicBezTo>
                    <a:pt x="3802" y="4933"/>
                    <a:pt x="3802" y="4933"/>
                    <a:pt x="3794" y="4894"/>
                  </a:cubicBezTo>
                  <a:cubicBezTo>
                    <a:pt x="3794" y="4878"/>
                    <a:pt x="3786" y="4862"/>
                    <a:pt x="3786" y="4846"/>
                  </a:cubicBezTo>
                  <a:cubicBezTo>
                    <a:pt x="3778" y="4807"/>
                    <a:pt x="3771" y="4759"/>
                    <a:pt x="3755" y="4720"/>
                  </a:cubicBezTo>
                  <a:cubicBezTo>
                    <a:pt x="3755" y="4704"/>
                    <a:pt x="3747" y="4688"/>
                    <a:pt x="3739" y="4672"/>
                  </a:cubicBezTo>
                  <a:cubicBezTo>
                    <a:pt x="3731" y="4641"/>
                    <a:pt x="3723" y="4617"/>
                    <a:pt x="3723" y="4585"/>
                  </a:cubicBezTo>
                  <a:cubicBezTo>
                    <a:pt x="3723" y="4561"/>
                    <a:pt x="3715" y="4538"/>
                    <a:pt x="3715" y="4522"/>
                  </a:cubicBezTo>
                  <a:cubicBezTo>
                    <a:pt x="3715" y="4514"/>
                    <a:pt x="3707" y="4514"/>
                    <a:pt x="3707" y="4506"/>
                  </a:cubicBezTo>
                  <a:cubicBezTo>
                    <a:pt x="3707" y="4498"/>
                    <a:pt x="3707" y="4498"/>
                    <a:pt x="3707" y="4490"/>
                  </a:cubicBezTo>
                  <a:cubicBezTo>
                    <a:pt x="3707" y="4482"/>
                    <a:pt x="3699" y="4475"/>
                    <a:pt x="3699" y="4467"/>
                  </a:cubicBezTo>
                  <a:cubicBezTo>
                    <a:pt x="3684" y="4451"/>
                    <a:pt x="3676" y="4443"/>
                    <a:pt x="3652" y="4443"/>
                  </a:cubicBezTo>
                  <a:cubicBezTo>
                    <a:pt x="3644" y="4443"/>
                    <a:pt x="3644" y="4443"/>
                    <a:pt x="3636" y="4451"/>
                  </a:cubicBezTo>
                  <a:cubicBezTo>
                    <a:pt x="3628" y="4451"/>
                    <a:pt x="3628" y="4451"/>
                    <a:pt x="3621" y="4451"/>
                  </a:cubicBezTo>
                  <a:cubicBezTo>
                    <a:pt x="3612" y="4451"/>
                    <a:pt x="3605" y="4451"/>
                    <a:pt x="3597" y="4443"/>
                  </a:cubicBezTo>
                  <a:cubicBezTo>
                    <a:pt x="3597" y="4435"/>
                    <a:pt x="3589" y="4435"/>
                    <a:pt x="3581" y="4427"/>
                  </a:cubicBezTo>
                  <a:cubicBezTo>
                    <a:pt x="3581" y="4427"/>
                    <a:pt x="3573" y="4419"/>
                    <a:pt x="3573" y="4411"/>
                  </a:cubicBezTo>
                  <a:cubicBezTo>
                    <a:pt x="3573" y="4411"/>
                    <a:pt x="3573" y="4403"/>
                    <a:pt x="3581" y="4403"/>
                  </a:cubicBezTo>
                  <a:cubicBezTo>
                    <a:pt x="3589" y="4395"/>
                    <a:pt x="3597" y="4395"/>
                    <a:pt x="3605" y="4395"/>
                  </a:cubicBezTo>
                  <a:cubicBezTo>
                    <a:pt x="3621" y="4395"/>
                    <a:pt x="3644" y="4403"/>
                    <a:pt x="3660" y="4403"/>
                  </a:cubicBezTo>
                  <a:cubicBezTo>
                    <a:pt x="3660" y="4411"/>
                    <a:pt x="3668" y="4411"/>
                    <a:pt x="3668" y="4411"/>
                  </a:cubicBezTo>
                  <a:cubicBezTo>
                    <a:pt x="3684" y="4419"/>
                    <a:pt x="3684" y="4419"/>
                    <a:pt x="3699" y="4411"/>
                  </a:cubicBezTo>
                  <a:cubicBezTo>
                    <a:pt x="3699" y="4403"/>
                    <a:pt x="3707" y="4395"/>
                    <a:pt x="3707" y="4395"/>
                  </a:cubicBezTo>
                  <a:cubicBezTo>
                    <a:pt x="3715" y="4388"/>
                    <a:pt x="3715" y="4380"/>
                    <a:pt x="3715" y="4380"/>
                  </a:cubicBezTo>
                  <a:cubicBezTo>
                    <a:pt x="3723" y="4380"/>
                    <a:pt x="3723" y="4388"/>
                    <a:pt x="3723" y="4388"/>
                  </a:cubicBezTo>
                  <a:cubicBezTo>
                    <a:pt x="3731" y="4395"/>
                    <a:pt x="3723" y="4411"/>
                    <a:pt x="3723" y="4419"/>
                  </a:cubicBezTo>
                  <a:cubicBezTo>
                    <a:pt x="3723" y="4419"/>
                    <a:pt x="3723" y="4427"/>
                    <a:pt x="3723" y="4435"/>
                  </a:cubicBezTo>
                  <a:lnTo>
                    <a:pt x="3723" y="4435"/>
                  </a:lnTo>
                  <a:cubicBezTo>
                    <a:pt x="3739" y="4427"/>
                    <a:pt x="3739" y="4427"/>
                    <a:pt x="3739" y="4411"/>
                  </a:cubicBezTo>
                  <a:cubicBezTo>
                    <a:pt x="3739" y="4411"/>
                    <a:pt x="3739" y="4403"/>
                    <a:pt x="3739" y="4395"/>
                  </a:cubicBezTo>
                  <a:cubicBezTo>
                    <a:pt x="3747" y="4372"/>
                    <a:pt x="3802" y="4253"/>
                    <a:pt x="3818" y="4222"/>
                  </a:cubicBezTo>
                  <a:cubicBezTo>
                    <a:pt x="3826" y="4206"/>
                    <a:pt x="3826" y="4190"/>
                    <a:pt x="3826" y="4190"/>
                  </a:cubicBezTo>
                  <a:lnTo>
                    <a:pt x="3826" y="4190"/>
                  </a:lnTo>
                  <a:cubicBezTo>
                    <a:pt x="3826" y="4190"/>
                    <a:pt x="3826" y="4190"/>
                    <a:pt x="3818" y="4190"/>
                  </a:cubicBezTo>
                  <a:cubicBezTo>
                    <a:pt x="3818" y="4198"/>
                    <a:pt x="3810" y="4198"/>
                    <a:pt x="3810" y="4206"/>
                  </a:cubicBezTo>
                  <a:cubicBezTo>
                    <a:pt x="3794" y="4214"/>
                    <a:pt x="3786" y="4222"/>
                    <a:pt x="3786" y="4237"/>
                  </a:cubicBezTo>
                  <a:cubicBezTo>
                    <a:pt x="3786" y="4261"/>
                    <a:pt x="3778" y="4285"/>
                    <a:pt x="3771" y="4293"/>
                  </a:cubicBezTo>
                  <a:cubicBezTo>
                    <a:pt x="3763" y="4293"/>
                    <a:pt x="3763" y="4301"/>
                    <a:pt x="3763" y="4301"/>
                  </a:cubicBezTo>
                  <a:cubicBezTo>
                    <a:pt x="3755" y="4301"/>
                    <a:pt x="3755" y="4293"/>
                    <a:pt x="3747" y="4285"/>
                  </a:cubicBezTo>
                  <a:cubicBezTo>
                    <a:pt x="3747" y="4285"/>
                    <a:pt x="3747" y="4277"/>
                    <a:pt x="3747" y="4261"/>
                  </a:cubicBezTo>
                  <a:cubicBezTo>
                    <a:pt x="3747" y="4261"/>
                    <a:pt x="3747" y="4253"/>
                    <a:pt x="3747" y="4245"/>
                  </a:cubicBezTo>
                  <a:cubicBezTo>
                    <a:pt x="3747" y="4237"/>
                    <a:pt x="3747" y="4237"/>
                    <a:pt x="3731" y="4222"/>
                  </a:cubicBezTo>
                  <a:lnTo>
                    <a:pt x="3731" y="4222"/>
                  </a:lnTo>
                  <a:cubicBezTo>
                    <a:pt x="3723" y="4206"/>
                    <a:pt x="3707" y="4206"/>
                    <a:pt x="3699" y="4206"/>
                  </a:cubicBezTo>
                  <a:cubicBezTo>
                    <a:pt x="3692" y="4198"/>
                    <a:pt x="3684" y="4198"/>
                    <a:pt x="3684" y="4182"/>
                  </a:cubicBezTo>
                  <a:cubicBezTo>
                    <a:pt x="3684" y="4174"/>
                    <a:pt x="3676" y="4166"/>
                    <a:pt x="3676" y="4166"/>
                  </a:cubicBezTo>
                  <a:cubicBezTo>
                    <a:pt x="3676" y="4158"/>
                    <a:pt x="3676" y="4158"/>
                    <a:pt x="3676" y="4150"/>
                  </a:cubicBezTo>
                  <a:cubicBezTo>
                    <a:pt x="3676" y="4150"/>
                    <a:pt x="3684" y="4142"/>
                    <a:pt x="3692" y="4142"/>
                  </a:cubicBezTo>
                  <a:cubicBezTo>
                    <a:pt x="3699" y="4142"/>
                    <a:pt x="3707" y="4142"/>
                    <a:pt x="3715" y="4142"/>
                  </a:cubicBezTo>
                  <a:cubicBezTo>
                    <a:pt x="3723" y="4142"/>
                    <a:pt x="3731" y="4142"/>
                    <a:pt x="3739" y="4142"/>
                  </a:cubicBezTo>
                  <a:cubicBezTo>
                    <a:pt x="3747" y="4142"/>
                    <a:pt x="3747" y="4142"/>
                    <a:pt x="3755" y="4150"/>
                  </a:cubicBezTo>
                  <a:cubicBezTo>
                    <a:pt x="3763" y="4150"/>
                    <a:pt x="3763" y="4158"/>
                    <a:pt x="3763" y="4166"/>
                  </a:cubicBezTo>
                  <a:cubicBezTo>
                    <a:pt x="3771" y="4174"/>
                    <a:pt x="3771" y="4174"/>
                    <a:pt x="3778" y="4174"/>
                  </a:cubicBezTo>
                  <a:lnTo>
                    <a:pt x="3778" y="4174"/>
                  </a:lnTo>
                  <a:cubicBezTo>
                    <a:pt x="3778" y="4182"/>
                    <a:pt x="3786" y="4182"/>
                    <a:pt x="3786" y="4182"/>
                  </a:cubicBezTo>
                  <a:cubicBezTo>
                    <a:pt x="3786" y="4182"/>
                    <a:pt x="3786" y="4174"/>
                    <a:pt x="3794" y="4166"/>
                  </a:cubicBezTo>
                  <a:cubicBezTo>
                    <a:pt x="3794" y="4166"/>
                    <a:pt x="3802" y="4158"/>
                    <a:pt x="3802" y="4150"/>
                  </a:cubicBezTo>
                  <a:cubicBezTo>
                    <a:pt x="3810" y="4142"/>
                    <a:pt x="3818" y="4135"/>
                    <a:pt x="3818" y="4127"/>
                  </a:cubicBezTo>
                  <a:cubicBezTo>
                    <a:pt x="3834" y="4103"/>
                    <a:pt x="3865" y="4064"/>
                    <a:pt x="3858" y="4055"/>
                  </a:cubicBezTo>
                  <a:lnTo>
                    <a:pt x="3858" y="4055"/>
                  </a:lnTo>
                  <a:cubicBezTo>
                    <a:pt x="3850" y="4055"/>
                    <a:pt x="3842" y="4064"/>
                    <a:pt x="3826" y="4071"/>
                  </a:cubicBezTo>
                  <a:cubicBezTo>
                    <a:pt x="3826" y="4071"/>
                    <a:pt x="3818" y="4079"/>
                    <a:pt x="3810" y="4079"/>
                  </a:cubicBezTo>
                  <a:cubicBezTo>
                    <a:pt x="3810" y="4079"/>
                    <a:pt x="3802" y="4079"/>
                    <a:pt x="3802" y="4071"/>
                  </a:cubicBezTo>
                  <a:cubicBezTo>
                    <a:pt x="3802" y="4055"/>
                    <a:pt x="3802" y="4040"/>
                    <a:pt x="3810" y="4024"/>
                  </a:cubicBezTo>
                  <a:cubicBezTo>
                    <a:pt x="3810" y="4024"/>
                    <a:pt x="3818" y="4016"/>
                    <a:pt x="3826" y="4016"/>
                  </a:cubicBezTo>
                  <a:cubicBezTo>
                    <a:pt x="3834" y="4016"/>
                    <a:pt x="3834" y="4016"/>
                    <a:pt x="3842" y="4016"/>
                  </a:cubicBezTo>
                  <a:cubicBezTo>
                    <a:pt x="3850" y="4008"/>
                    <a:pt x="3858" y="4008"/>
                    <a:pt x="3874" y="4008"/>
                  </a:cubicBezTo>
                  <a:cubicBezTo>
                    <a:pt x="3881" y="4008"/>
                    <a:pt x="3881" y="4008"/>
                    <a:pt x="3889" y="4016"/>
                  </a:cubicBezTo>
                  <a:cubicBezTo>
                    <a:pt x="3897" y="4016"/>
                    <a:pt x="3897" y="4016"/>
                    <a:pt x="3897" y="4024"/>
                  </a:cubicBezTo>
                  <a:cubicBezTo>
                    <a:pt x="3905" y="4024"/>
                    <a:pt x="3913" y="4032"/>
                    <a:pt x="3913" y="4032"/>
                  </a:cubicBezTo>
                  <a:cubicBezTo>
                    <a:pt x="3913" y="4032"/>
                    <a:pt x="3913" y="4032"/>
                    <a:pt x="3921" y="4024"/>
                  </a:cubicBezTo>
                  <a:cubicBezTo>
                    <a:pt x="3937" y="4008"/>
                    <a:pt x="3976" y="3969"/>
                    <a:pt x="3976" y="3953"/>
                  </a:cubicBezTo>
                  <a:lnTo>
                    <a:pt x="3976" y="3953"/>
                  </a:lnTo>
                  <a:cubicBezTo>
                    <a:pt x="3945" y="3945"/>
                    <a:pt x="3937" y="3945"/>
                    <a:pt x="3945" y="3921"/>
                  </a:cubicBezTo>
                  <a:cubicBezTo>
                    <a:pt x="3945" y="3913"/>
                    <a:pt x="3945" y="3913"/>
                    <a:pt x="3945" y="3913"/>
                  </a:cubicBezTo>
                  <a:cubicBezTo>
                    <a:pt x="3945" y="3905"/>
                    <a:pt x="3945" y="3890"/>
                    <a:pt x="3960" y="3890"/>
                  </a:cubicBezTo>
                  <a:cubicBezTo>
                    <a:pt x="3960" y="3890"/>
                    <a:pt x="3968" y="3890"/>
                    <a:pt x="3984" y="3905"/>
                  </a:cubicBezTo>
                  <a:cubicBezTo>
                    <a:pt x="3999" y="3921"/>
                    <a:pt x="4000" y="3929"/>
                    <a:pt x="4000" y="3937"/>
                  </a:cubicBezTo>
                  <a:cubicBezTo>
                    <a:pt x="4007" y="3945"/>
                    <a:pt x="4007" y="3945"/>
                    <a:pt x="4015" y="3945"/>
                  </a:cubicBezTo>
                  <a:lnTo>
                    <a:pt x="4015" y="3945"/>
                  </a:lnTo>
                  <a:cubicBezTo>
                    <a:pt x="4031" y="3945"/>
                    <a:pt x="4046" y="3929"/>
                    <a:pt x="4062" y="3921"/>
                  </a:cubicBezTo>
                  <a:cubicBezTo>
                    <a:pt x="4070" y="3921"/>
                    <a:pt x="4070" y="3921"/>
                    <a:pt x="4078" y="3921"/>
                  </a:cubicBezTo>
                  <a:lnTo>
                    <a:pt x="4078" y="3921"/>
                  </a:lnTo>
                  <a:cubicBezTo>
                    <a:pt x="4078" y="3921"/>
                    <a:pt x="4078" y="3921"/>
                    <a:pt x="4078" y="3929"/>
                  </a:cubicBezTo>
                  <a:cubicBezTo>
                    <a:pt x="4078" y="3937"/>
                    <a:pt x="4062" y="3953"/>
                    <a:pt x="4031" y="3977"/>
                  </a:cubicBezTo>
                  <a:cubicBezTo>
                    <a:pt x="4007" y="3992"/>
                    <a:pt x="3976" y="4016"/>
                    <a:pt x="3976" y="4024"/>
                  </a:cubicBezTo>
                  <a:cubicBezTo>
                    <a:pt x="3984" y="4024"/>
                    <a:pt x="3984" y="4024"/>
                    <a:pt x="3984" y="4024"/>
                  </a:cubicBezTo>
                  <a:cubicBezTo>
                    <a:pt x="3992" y="4024"/>
                    <a:pt x="4000" y="4016"/>
                    <a:pt x="4015" y="4008"/>
                  </a:cubicBezTo>
                  <a:lnTo>
                    <a:pt x="4015" y="4008"/>
                  </a:lnTo>
                  <a:cubicBezTo>
                    <a:pt x="4023" y="4000"/>
                    <a:pt x="4031" y="3992"/>
                    <a:pt x="4046" y="3984"/>
                  </a:cubicBezTo>
                  <a:cubicBezTo>
                    <a:pt x="4070" y="3969"/>
                    <a:pt x="4125" y="3929"/>
                    <a:pt x="4125" y="3921"/>
                  </a:cubicBezTo>
                  <a:lnTo>
                    <a:pt x="4125" y="3921"/>
                  </a:lnTo>
                  <a:cubicBezTo>
                    <a:pt x="4110" y="3913"/>
                    <a:pt x="4110" y="3905"/>
                    <a:pt x="4110" y="3897"/>
                  </a:cubicBezTo>
                  <a:cubicBezTo>
                    <a:pt x="4110" y="3890"/>
                    <a:pt x="4110" y="3882"/>
                    <a:pt x="4094" y="3874"/>
                  </a:cubicBezTo>
                  <a:cubicBezTo>
                    <a:pt x="4070" y="3866"/>
                    <a:pt x="4070" y="3858"/>
                    <a:pt x="4062" y="3842"/>
                  </a:cubicBezTo>
                  <a:cubicBezTo>
                    <a:pt x="4062" y="3842"/>
                    <a:pt x="4062" y="3834"/>
                    <a:pt x="4054" y="3826"/>
                  </a:cubicBezTo>
                  <a:cubicBezTo>
                    <a:pt x="4046" y="3818"/>
                    <a:pt x="4023" y="3795"/>
                    <a:pt x="4031" y="3779"/>
                  </a:cubicBezTo>
                  <a:cubicBezTo>
                    <a:pt x="4031" y="3779"/>
                    <a:pt x="4031" y="3771"/>
                    <a:pt x="4038" y="3771"/>
                  </a:cubicBezTo>
                  <a:cubicBezTo>
                    <a:pt x="4054" y="3763"/>
                    <a:pt x="4054" y="3771"/>
                    <a:pt x="4062" y="3779"/>
                  </a:cubicBezTo>
                  <a:cubicBezTo>
                    <a:pt x="4062" y="3787"/>
                    <a:pt x="4062" y="3795"/>
                    <a:pt x="4078" y="3803"/>
                  </a:cubicBezTo>
                  <a:cubicBezTo>
                    <a:pt x="4086" y="3803"/>
                    <a:pt x="4086" y="3803"/>
                    <a:pt x="4094" y="3811"/>
                  </a:cubicBezTo>
                  <a:cubicBezTo>
                    <a:pt x="4102" y="3811"/>
                    <a:pt x="4110" y="3818"/>
                    <a:pt x="4117" y="3818"/>
                  </a:cubicBezTo>
                  <a:cubicBezTo>
                    <a:pt x="4125" y="3818"/>
                    <a:pt x="4133" y="3811"/>
                    <a:pt x="4133" y="3811"/>
                  </a:cubicBezTo>
                  <a:cubicBezTo>
                    <a:pt x="4149" y="3795"/>
                    <a:pt x="4157" y="3787"/>
                    <a:pt x="4165" y="3787"/>
                  </a:cubicBezTo>
                  <a:cubicBezTo>
                    <a:pt x="4173" y="3787"/>
                    <a:pt x="4181" y="3787"/>
                    <a:pt x="4188" y="3787"/>
                  </a:cubicBezTo>
                  <a:cubicBezTo>
                    <a:pt x="4197" y="3795"/>
                    <a:pt x="4204" y="3795"/>
                    <a:pt x="4212" y="3803"/>
                  </a:cubicBezTo>
                  <a:cubicBezTo>
                    <a:pt x="4220" y="3811"/>
                    <a:pt x="4236" y="3818"/>
                    <a:pt x="4252" y="3818"/>
                  </a:cubicBezTo>
                  <a:lnTo>
                    <a:pt x="4252" y="3818"/>
                  </a:lnTo>
                  <a:cubicBezTo>
                    <a:pt x="4260" y="3818"/>
                    <a:pt x="4268" y="3818"/>
                    <a:pt x="4268" y="3818"/>
                  </a:cubicBezTo>
                  <a:cubicBezTo>
                    <a:pt x="4268" y="3826"/>
                    <a:pt x="4252" y="3842"/>
                    <a:pt x="4236" y="3842"/>
                  </a:cubicBezTo>
                  <a:cubicBezTo>
                    <a:pt x="4228" y="3850"/>
                    <a:pt x="4220" y="3858"/>
                    <a:pt x="4212" y="3866"/>
                  </a:cubicBezTo>
                  <a:cubicBezTo>
                    <a:pt x="4212" y="3874"/>
                    <a:pt x="4212" y="3874"/>
                    <a:pt x="4212" y="3882"/>
                  </a:cubicBezTo>
                  <a:cubicBezTo>
                    <a:pt x="4212" y="3874"/>
                    <a:pt x="4228" y="3866"/>
                    <a:pt x="4252" y="3858"/>
                  </a:cubicBezTo>
                  <a:cubicBezTo>
                    <a:pt x="4268" y="3850"/>
                    <a:pt x="4284" y="3834"/>
                    <a:pt x="4307" y="3826"/>
                  </a:cubicBezTo>
                  <a:cubicBezTo>
                    <a:pt x="4339" y="3811"/>
                    <a:pt x="4370" y="3795"/>
                    <a:pt x="4370" y="3787"/>
                  </a:cubicBezTo>
                  <a:lnTo>
                    <a:pt x="4370" y="3779"/>
                  </a:lnTo>
                  <a:cubicBezTo>
                    <a:pt x="4363" y="3771"/>
                    <a:pt x="4363" y="3771"/>
                    <a:pt x="4363" y="3763"/>
                  </a:cubicBezTo>
                  <a:cubicBezTo>
                    <a:pt x="4363" y="3763"/>
                    <a:pt x="4370" y="3755"/>
                    <a:pt x="4386" y="3755"/>
                  </a:cubicBezTo>
                  <a:lnTo>
                    <a:pt x="4386" y="3755"/>
                  </a:lnTo>
                  <a:cubicBezTo>
                    <a:pt x="4410" y="3747"/>
                    <a:pt x="4434" y="3747"/>
                    <a:pt x="4450" y="3731"/>
                  </a:cubicBezTo>
                  <a:cubicBezTo>
                    <a:pt x="4457" y="3724"/>
                    <a:pt x="4473" y="3716"/>
                    <a:pt x="4489" y="3708"/>
                  </a:cubicBezTo>
                  <a:cubicBezTo>
                    <a:pt x="4528" y="3684"/>
                    <a:pt x="4608" y="3637"/>
                    <a:pt x="4623" y="3605"/>
                  </a:cubicBezTo>
                  <a:cubicBezTo>
                    <a:pt x="4631" y="3581"/>
                    <a:pt x="4631" y="3565"/>
                    <a:pt x="4639" y="3557"/>
                  </a:cubicBezTo>
                  <a:cubicBezTo>
                    <a:pt x="4639" y="3542"/>
                    <a:pt x="4639" y="3534"/>
                    <a:pt x="4655" y="3526"/>
                  </a:cubicBezTo>
                  <a:cubicBezTo>
                    <a:pt x="4687" y="3510"/>
                    <a:pt x="4718" y="3486"/>
                    <a:pt x="4726" y="3478"/>
                  </a:cubicBezTo>
                  <a:cubicBezTo>
                    <a:pt x="4734" y="3463"/>
                    <a:pt x="4750" y="3431"/>
                    <a:pt x="4734" y="3415"/>
                  </a:cubicBezTo>
                  <a:cubicBezTo>
                    <a:pt x="4718" y="3407"/>
                    <a:pt x="4718" y="3400"/>
                    <a:pt x="4710" y="3391"/>
                  </a:cubicBezTo>
                  <a:cubicBezTo>
                    <a:pt x="4710" y="3384"/>
                    <a:pt x="4710" y="3376"/>
                    <a:pt x="4703" y="3368"/>
                  </a:cubicBezTo>
                  <a:cubicBezTo>
                    <a:pt x="4703" y="3360"/>
                    <a:pt x="4695" y="3352"/>
                    <a:pt x="4695" y="3352"/>
                  </a:cubicBezTo>
                  <a:cubicBezTo>
                    <a:pt x="4687" y="3344"/>
                    <a:pt x="4679" y="3344"/>
                    <a:pt x="4687" y="3328"/>
                  </a:cubicBezTo>
                  <a:cubicBezTo>
                    <a:pt x="4687" y="3320"/>
                    <a:pt x="4687" y="3313"/>
                    <a:pt x="4679" y="3304"/>
                  </a:cubicBezTo>
                  <a:cubicBezTo>
                    <a:pt x="4679" y="3297"/>
                    <a:pt x="4679" y="3297"/>
                    <a:pt x="4687" y="3289"/>
                  </a:cubicBezTo>
                  <a:cubicBezTo>
                    <a:pt x="4687" y="3289"/>
                    <a:pt x="4687" y="3289"/>
                    <a:pt x="4695" y="3289"/>
                  </a:cubicBezTo>
                  <a:cubicBezTo>
                    <a:pt x="4703" y="3297"/>
                    <a:pt x="4710" y="3297"/>
                    <a:pt x="4710" y="3304"/>
                  </a:cubicBezTo>
                  <a:cubicBezTo>
                    <a:pt x="4718" y="3304"/>
                    <a:pt x="4726" y="3313"/>
                    <a:pt x="4734" y="3313"/>
                  </a:cubicBezTo>
                  <a:cubicBezTo>
                    <a:pt x="4742" y="3313"/>
                    <a:pt x="4742" y="3313"/>
                    <a:pt x="4742" y="3304"/>
                  </a:cubicBezTo>
                  <a:cubicBezTo>
                    <a:pt x="4750" y="3297"/>
                    <a:pt x="4750" y="3297"/>
                    <a:pt x="4758" y="3289"/>
                  </a:cubicBezTo>
                  <a:cubicBezTo>
                    <a:pt x="4758" y="3281"/>
                    <a:pt x="4766" y="3281"/>
                    <a:pt x="4766" y="3273"/>
                  </a:cubicBezTo>
                  <a:cubicBezTo>
                    <a:pt x="4781" y="3257"/>
                    <a:pt x="4790" y="3257"/>
                    <a:pt x="4797" y="3257"/>
                  </a:cubicBezTo>
                  <a:lnTo>
                    <a:pt x="4805" y="3257"/>
                  </a:lnTo>
                  <a:cubicBezTo>
                    <a:pt x="4805" y="3265"/>
                    <a:pt x="4805" y="3265"/>
                    <a:pt x="4813" y="3265"/>
                  </a:cubicBezTo>
                  <a:cubicBezTo>
                    <a:pt x="4821" y="3273"/>
                    <a:pt x="4829" y="3289"/>
                    <a:pt x="4829" y="3297"/>
                  </a:cubicBezTo>
                  <a:lnTo>
                    <a:pt x="4821" y="3304"/>
                  </a:lnTo>
                  <a:cubicBezTo>
                    <a:pt x="4805" y="3304"/>
                    <a:pt x="4805" y="3313"/>
                    <a:pt x="4805" y="3320"/>
                  </a:cubicBezTo>
                  <a:cubicBezTo>
                    <a:pt x="4797" y="3328"/>
                    <a:pt x="4797" y="3336"/>
                    <a:pt x="4805" y="3336"/>
                  </a:cubicBezTo>
                  <a:cubicBezTo>
                    <a:pt x="4805" y="3344"/>
                    <a:pt x="4797" y="3344"/>
                    <a:pt x="4797" y="3344"/>
                  </a:cubicBezTo>
                  <a:cubicBezTo>
                    <a:pt x="4790" y="3352"/>
                    <a:pt x="4790" y="3352"/>
                    <a:pt x="4790" y="3360"/>
                  </a:cubicBezTo>
                  <a:cubicBezTo>
                    <a:pt x="4790" y="3368"/>
                    <a:pt x="4790" y="3368"/>
                    <a:pt x="4797" y="3368"/>
                  </a:cubicBezTo>
                  <a:cubicBezTo>
                    <a:pt x="4797" y="3376"/>
                    <a:pt x="4797" y="3376"/>
                    <a:pt x="4797" y="3376"/>
                  </a:cubicBezTo>
                  <a:cubicBezTo>
                    <a:pt x="4805" y="3376"/>
                    <a:pt x="4805" y="3376"/>
                    <a:pt x="4813" y="3376"/>
                  </a:cubicBezTo>
                  <a:cubicBezTo>
                    <a:pt x="4821" y="3376"/>
                    <a:pt x="4821" y="3376"/>
                    <a:pt x="4829" y="3376"/>
                  </a:cubicBezTo>
                  <a:cubicBezTo>
                    <a:pt x="4837" y="3376"/>
                    <a:pt x="4845" y="3376"/>
                    <a:pt x="4845" y="3384"/>
                  </a:cubicBezTo>
                  <a:cubicBezTo>
                    <a:pt x="4845" y="3384"/>
                    <a:pt x="4845" y="3391"/>
                    <a:pt x="4837" y="3391"/>
                  </a:cubicBezTo>
                  <a:cubicBezTo>
                    <a:pt x="4821" y="3400"/>
                    <a:pt x="4790" y="3439"/>
                    <a:pt x="4781" y="3455"/>
                  </a:cubicBezTo>
                  <a:cubicBezTo>
                    <a:pt x="4774" y="3471"/>
                    <a:pt x="4758" y="3486"/>
                    <a:pt x="4742" y="3502"/>
                  </a:cubicBezTo>
                  <a:cubicBezTo>
                    <a:pt x="4734" y="3502"/>
                    <a:pt x="4726" y="3510"/>
                    <a:pt x="4718" y="3510"/>
                  </a:cubicBezTo>
                  <a:cubicBezTo>
                    <a:pt x="4703" y="3518"/>
                    <a:pt x="4687" y="3526"/>
                    <a:pt x="4687" y="3534"/>
                  </a:cubicBezTo>
                  <a:cubicBezTo>
                    <a:pt x="4687" y="3542"/>
                    <a:pt x="4687" y="3542"/>
                    <a:pt x="4687" y="3542"/>
                  </a:cubicBezTo>
                  <a:cubicBezTo>
                    <a:pt x="4687" y="3550"/>
                    <a:pt x="4679" y="3550"/>
                    <a:pt x="4679" y="3550"/>
                  </a:cubicBezTo>
                  <a:cubicBezTo>
                    <a:pt x="4687" y="3550"/>
                    <a:pt x="4687" y="3550"/>
                    <a:pt x="4703" y="3542"/>
                  </a:cubicBezTo>
                  <a:cubicBezTo>
                    <a:pt x="4742" y="3526"/>
                    <a:pt x="4774" y="3502"/>
                    <a:pt x="4781" y="3486"/>
                  </a:cubicBezTo>
                  <a:cubicBezTo>
                    <a:pt x="4781" y="3478"/>
                    <a:pt x="4781" y="3478"/>
                    <a:pt x="4781" y="3478"/>
                  </a:cubicBezTo>
                  <a:cubicBezTo>
                    <a:pt x="4790" y="3463"/>
                    <a:pt x="4805" y="3423"/>
                    <a:pt x="4861" y="3400"/>
                  </a:cubicBezTo>
                  <a:cubicBezTo>
                    <a:pt x="4884" y="3391"/>
                    <a:pt x="4908" y="3376"/>
                    <a:pt x="4924" y="3368"/>
                  </a:cubicBezTo>
                  <a:cubicBezTo>
                    <a:pt x="4940" y="3352"/>
                    <a:pt x="4963" y="3344"/>
                    <a:pt x="4979" y="3336"/>
                  </a:cubicBezTo>
                  <a:cubicBezTo>
                    <a:pt x="4995" y="3336"/>
                    <a:pt x="5034" y="3320"/>
                    <a:pt x="5074" y="3304"/>
                  </a:cubicBezTo>
                  <a:cubicBezTo>
                    <a:pt x="5114" y="3289"/>
                    <a:pt x="5145" y="3273"/>
                    <a:pt x="5161" y="3273"/>
                  </a:cubicBezTo>
                  <a:cubicBezTo>
                    <a:pt x="5161" y="3273"/>
                    <a:pt x="5161" y="3273"/>
                    <a:pt x="5169" y="3273"/>
                  </a:cubicBezTo>
                  <a:cubicBezTo>
                    <a:pt x="5169" y="3273"/>
                    <a:pt x="5161" y="3265"/>
                    <a:pt x="5153" y="3257"/>
                  </a:cubicBezTo>
                  <a:lnTo>
                    <a:pt x="5153" y="3257"/>
                  </a:lnTo>
                  <a:cubicBezTo>
                    <a:pt x="5137" y="3249"/>
                    <a:pt x="5129" y="3241"/>
                    <a:pt x="5137" y="3225"/>
                  </a:cubicBezTo>
                  <a:cubicBezTo>
                    <a:pt x="5145" y="3210"/>
                    <a:pt x="5153" y="3194"/>
                    <a:pt x="5177" y="3178"/>
                  </a:cubicBezTo>
                  <a:cubicBezTo>
                    <a:pt x="5185" y="3162"/>
                    <a:pt x="5193" y="3154"/>
                    <a:pt x="5193" y="3138"/>
                  </a:cubicBezTo>
                  <a:cubicBezTo>
                    <a:pt x="5193" y="3131"/>
                    <a:pt x="5193" y="3123"/>
                    <a:pt x="5201" y="3115"/>
                  </a:cubicBezTo>
                  <a:cubicBezTo>
                    <a:pt x="5208" y="3107"/>
                    <a:pt x="5208" y="3107"/>
                    <a:pt x="5216" y="3099"/>
                  </a:cubicBezTo>
                  <a:cubicBezTo>
                    <a:pt x="5224" y="3099"/>
                    <a:pt x="5224" y="3099"/>
                    <a:pt x="5224" y="3091"/>
                  </a:cubicBezTo>
                  <a:cubicBezTo>
                    <a:pt x="5224" y="3083"/>
                    <a:pt x="5224" y="3083"/>
                    <a:pt x="5224" y="3075"/>
                  </a:cubicBezTo>
                  <a:cubicBezTo>
                    <a:pt x="5224" y="3060"/>
                    <a:pt x="5224" y="3044"/>
                    <a:pt x="5216" y="3028"/>
                  </a:cubicBezTo>
                  <a:lnTo>
                    <a:pt x="5208" y="3020"/>
                  </a:lnTo>
                  <a:cubicBezTo>
                    <a:pt x="5201" y="3004"/>
                    <a:pt x="5193" y="2988"/>
                    <a:pt x="5193" y="2973"/>
                  </a:cubicBezTo>
                  <a:cubicBezTo>
                    <a:pt x="5193" y="2973"/>
                    <a:pt x="5193" y="2973"/>
                    <a:pt x="5193" y="2965"/>
                  </a:cubicBezTo>
                  <a:cubicBezTo>
                    <a:pt x="5201" y="2949"/>
                    <a:pt x="5208" y="2925"/>
                    <a:pt x="5216" y="2925"/>
                  </a:cubicBezTo>
                  <a:cubicBezTo>
                    <a:pt x="5224" y="2925"/>
                    <a:pt x="5224" y="2925"/>
                    <a:pt x="5224" y="2925"/>
                  </a:cubicBezTo>
                  <a:cubicBezTo>
                    <a:pt x="5224" y="2925"/>
                    <a:pt x="5224" y="2909"/>
                    <a:pt x="5216" y="2894"/>
                  </a:cubicBezTo>
                  <a:cubicBezTo>
                    <a:pt x="5216" y="2894"/>
                    <a:pt x="5208" y="2886"/>
                    <a:pt x="5201" y="2886"/>
                  </a:cubicBezTo>
                  <a:cubicBezTo>
                    <a:pt x="5201" y="2886"/>
                    <a:pt x="5193" y="2886"/>
                    <a:pt x="5193" y="2878"/>
                  </a:cubicBezTo>
                  <a:cubicBezTo>
                    <a:pt x="5193" y="2870"/>
                    <a:pt x="5193" y="2862"/>
                    <a:pt x="5201" y="2854"/>
                  </a:cubicBezTo>
                  <a:cubicBezTo>
                    <a:pt x="5208" y="2846"/>
                    <a:pt x="5216" y="2838"/>
                    <a:pt x="5224" y="2838"/>
                  </a:cubicBezTo>
                  <a:cubicBezTo>
                    <a:pt x="5232" y="2830"/>
                    <a:pt x="5240" y="2830"/>
                    <a:pt x="5248" y="2807"/>
                  </a:cubicBezTo>
                  <a:cubicBezTo>
                    <a:pt x="5272" y="2759"/>
                    <a:pt x="5272" y="2727"/>
                    <a:pt x="5272" y="2720"/>
                  </a:cubicBezTo>
                  <a:cubicBezTo>
                    <a:pt x="5272" y="2712"/>
                    <a:pt x="5272" y="2712"/>
                    <a:pt x="5264" y="2712"/>
                  </a:cubicBezTo>
                  <a:cubicBezTo>
                    <a:pt x="5264" y="2696"/>
                    <a:pt x="5264" y="2672"/>
                    <a:pt x="5272" y="2656"/>
                  </a:cubicBezTo>
                  <a:cubicBezTo>
                    <a:pt x="5272" y="2625"/>
                    <a:pt x="5272" y="2593"/>
                    <a:pt x="5256" y="2561"/>
                  </a:cubicBezTo>
                  <a:cubicBezTo>
                    <a:pt x="5248" y="2554"/>
                    <a:pt x="5240" y="2546"/>
                    <a:pt x="5232" y="2546"/>
                  </a:cubicBezTo>
                  <a:cubicBezTo>
                    <a:pt x="5224" y="2538"/>
                    <a:pt x="5208" y="2538"/>
                    <a:pt x="5208" y="2506"/>
                  </a:cubicBezTo>
                  <a:cubicBezTo>
                    <a:pt x="5216" y="2459"/>
                    <a:pt x="5193" y="2443"/>
                    <a:pt x="5177" y="2427"/>
                  </a:cubicBezTo>
                  <a:lnTo>
                    <a:pt x="5169" y="2419"/>
                  </a:lnTo>
                  <a:cubicBezTo>
                    <a:pt x="5153" y="2411"/>
                    <a:pt x="5145" y="2403"/>
                    <a:pt x="5153" y="2388"/>
                  </a:cubicBezTo>
                  <a:cubicBezTo>
                    <a:pt x="5153" y="2380"/>
                    <a:pt x="5153" y="2372"/>
                    <a:pt x="5153" y="2364"/>
                  </a:cubicBezTo>
                  <a:cubicBezTo>
                    <a:pt x="5161" y="2356"/>
                    <a:pt x="5161" y="2348"/>
                    <a:pt x="5153" y="2324"/>
                  </a:cubicBezTo>
                  <a:cubicBezTo>
                    <a:pt x="5145" y="2301"/>
                    <a:pt x="5129" y="2285"/>
                    <a:pt x="5121" y="2269"/>
                  </a:cubicBezTo>
                  <a:cubicBezTo>
                    <a:pt x="5114" y="2261"/>
                    <a:pt x="5106" y="2253"/>
                    <a:pt x="5098" y="2245"/>
                  </a:cubicBezTo>
                  <a:cubicBezTo>
                    <a:pt x="5082" y="2221"/>
                    <a:pt x="5050" y="2214"/>
                    <a:pt x="5050" y="2214"/>
                  </a:cubicBezTo>
                  <a:cubicBezTo>
                    <a:pt x="5050" y="2206"/>
                    <a:pt x="5050" y="2206"/>
                    <a:pt x="5050" y="2206"/>
                  </a:cubicBezTo>
                  <a:lnTo>
                    <a:pt x="5050" y="2206"/>
                  </a:lnTo>
                  <a:cubicBezTo>
                    <a:pt x="5034" y="1463"/>
                    <a:pt x="5034" y="1463"/>
                    <a:pt x="5034" y="1463"/>
                  </a:cubicBezTo>
                  <a:cubicBezTo>
                    <a:pt x="5034" y="1463"/>
                    <a:pt x="5027" y="1447"/>
                    <a:pt x="5003" y="1447"/>
                  </a:cubicBezTo>
                  <a:cubicBezTo>
                    <a:pt x="4987" y="1447"/>
                    <a:pt x="4971" y="1447"/>
                    <a:pt x="4963" y="1439"/>
                  </a:cubicBezTo>
                  <a:cubicBezTo>
                    <a:pt x="4948" y="1439"/>
                    <a:pt x="4940" y="1439"/>
                    <a:pt x="4940" y="1439"/>
                  </a:cubicBezTo>
                  <a:cubicBezTo>
                    <a:pt x="4940" y="1439"/>
                    <a:pt x="4932" y="1447"/>
                    <a:pt x="4932" y="1455"/>
                  </a:cubicBezTo>
                  <a:cubicBezTo>
                    <a:pt x="4932" y="1463"/>
                    <a:pt x="4924" y="1478"/>
                    <a:pt x="4916" y="1478"/>
                  </a:cubicBezTo>
                  <a:cubicBezTo>
                    <a:pt x="4916" y="1478"/>
                    <a:pt x="4908" y="1471"/>
                    <a:pt x="4900" y="1471"/>
                  </a:cubicBezTo>
                  <a:cubicBezTo>
                    <a:pt x="4892" y="1463"/>
                    <a:pt x="4892" y="1447"/>
                    <a:pt x="4884" y="1431"/>
                  </a:cubicBezTo>
                  <a:cubicBezTo>
                    <a:pt x="4884" y="1415"/>
                    <a:pt x="4884" y="1407"/>
                    <a:pt x="4868" y="1407"/>
                  </a:cubicBezTo>
                  <a:cubicBezTo>
                    <a:pt x="4853" y="1407"/>
                    <a:pt x="4853" y="1407"/>
                    <a:pt x="4845" y="1415"/>
                  </a:cubicBezTo>
                  <a:cubicBezTo>
                    <a:pt x="4837" y="1415"/>
                    <a:pt x="4837" y="1423"/>
                    <a:pt x="4813" y="1423"/>
                  </a:cubicBezTo>
                  <a:cubicBezTo>
                    <a:pt x="4781" y="1423"/>
                    <a:pt x="4758" y="1399"/>
                    <a:pt x="4750" y="1391"/>
                  </a:cubicBezTo>
                  <a:cubicBezTo>
                    <a:pt x="4742" y="1384"/>
                    <a:pt x="4742" y="1384"/>
                    <a:pt x="4734" y="1384"/>
                  </a:cubicBezTo>
                  <a:cubicBezTo>
                    <a:pt x="4718" y="1376"/>
                    <a:pt x="4695" y="1368"/>
                    <a:pt x="4671" y="1336"/>
                  </a:cubicBezTo>
                  <a:cubicBezTo>
                    <a:pt x="4631" y="1289"/>
                    <a:pt x="4608" y="1273"/>
                    <a:pt x="4584" y="1273"/>
                  </a:cubicBezTo>
                  <a:cubicBezTo>
                    <a:pt x="4568" y="1281"/>
                    <a:pt x="4560" y="1289"/>
                    <a:pt x="4552" y="1304"/>
                  </a:cubicBezTo>
                  <a:cubicBezTo>
                    <a:pt x="4544" y="1304"/>
                    <a:pt x="4544" y="1313"/>
                    <a:pt x="4544" y="1313"/>
                  </a:cubicBezTo>
                  <a:cubicBezTo>
                    <a:pt x="4544" y="1313"/>
                    <a:pt x="4544" y="1320"/>
                    <a:pt x="4537" y="1320"/>
                  </a:cubicBezTo>
                  <a:cubicBezTo>
                    <a:pt x="4528" y="1328"/>
                    <a:pt x="4521" y="1344"/>
                    <a:pt x="4505" y="1344"/>
                  </a:cubicBezTo>
                  <a:cubicBezTo>
                    <a:pt x="4497" y="1344"/>
                    <a:pt x="4489" y="1336"/>
                    <a:pt x="4481" y="1328"/>
                  </a:cubicBezTo>
                  <a:cubicBezTo>
                    <a:pt x="4465" y="1320"/>
                    <a:pt x="4457" y="1313"/>
                    <a:pt x="4450" y="1304"/>
                  </a:cubicBezTo>
                  <a:cubicBezTo>
                    <a:pt x="4450" y="1297"/>
                    <a:pt x="4442" y="1289"/>
                    <a:pt x="4434" y="1289"/>
                  </a:cubicBezTo>
                  <a:cubicBezTo>
                    <a:pt x="4418" y="1289"/>
                    <a:pt x="4378" y="1289"/>
                    <a:pt x="4370" y="1313"/>
                  </a:cubicBezTo>
                  <a:cubicBezTo>
                    <a:pt x="4363" y="1336"/>
                    <a:pt x="4355" y="1360"/>
                    <a:pt x="4339" y="1360"/>
                  </a:cubicBezTo>
                  <a:cubicBezTo>
                    <a:pt x="4331" y="1360"/>
                    <a:pt x="4323" y="1360"/>
                    <a:pt x="4315" y="1352"/>
                  </a:cubicBezTo>
                  <a:cubicBezTo>
                    <a:pt x="4307" y="1344"/>
                    <a:pt x="4299" y="1336"/>
                    <a:pt x="4299" y="1328"/>
                  </a:cubicBezTo>
                  <a:cubicBezTo>
                    <a:pt x="4299" y="1320"/>
                    <a:pt x="4291" y="1320"/>
                    <a:pt x="4291" y="1320"/>
                  </a:cubicBezTo>
                  <a:cubicBezTo>
                    <a:pt x="4284" y="1320"/>
                    <a:pt x="4284" y="1320"/>
                    <a:pt x="4276" y="1320"/>
                  </a:cubicBezTo>
                  <a:cubicBezTo>
                    <a:pt x="4236" y="1336"/>
                    <a:pt x="4212" y="1352"/>
                    <a:pt x="4188" y="1376"/>
                  </a:cubicBezTo>
                  <a:cubicBezTo>
                    <a:pt x="4188" y="1384"/>
                    <a:pt x="4188" y="1384"/>
                    <a:pt x="4188" y="1384"/>
                  </a:cubicBezTo>
                  <a:cubicBezTo>
                    <a:pt x="4173" y="1407"/>
                    <a:pt x="4157" y="1423"/>
                    <a:pt x="4141" y="1423"/>
                  </a:cubicBezTo>
                  <a:cubicBezTo>
                    <a:pt x="4133" y="1423"/>
                    <a:pt x="4125" y="1415"/>
                    <a:pt x="4117" y="1415"/>
                  </a:cubicBezTo>
                  <a:cubicBezTo>
                    <a:pt x="4094" y="1391"/>
                    <a:pt x="4078" y="1376"/>
                    <a:pt x="4046" y="1352"/>
                  </a:cubicBezTo>
                  <a:cubicBezTo>
                    <a:pt x="4046" y="1344"/>
                    <a:pt x="4038" y="1344"/>
                    <a:pt x="4038" y="1336"/>
                  </a:cubicBezTo>
                  <a:cubicBezTo>
                    <a:pt x="4023" y="1320"/>
                    <a:pt x="4007" y="1304"/>
                    <a:pt x="4000" y="1304"/>
                  </a:cubicBezTo>
                  <a:cubicBezTo>
                    <a:pt x="4000" y="1304"/>
                    <a:pt x="4000" y="1304"/>
                    <a:pt x="3992" y="1313"/>
                  </a:cubicBezTo>
                  <a:cubicBezTo>
                    <a:pt x="3992" y="1320"/>
                    <a:pt x="3992" y="1320"/>
                    <a:pt x="3992" y="1320"/>
                  </a:cubicBezTo>
                  <a:cubicBezTo>
                    <a:pt x="3984" y="1336"/>
                    <a:pt x="3976" y="1352"/>
                    <a:pt x="3968" y="1352"/>
                  </a:cubicBezTo>
                  <a:cubicBezTo>
                    <a:pt x="3960" y="1352"/>
                    <a:pt x="3960" y="1352"/>
                    <a:pt x="3952" y="1344"/>
                  </a:cubicBezTo>
                  <a:cubicBezTo>
                    <a:pt x="3937" y="1320"/>
                    <a:pt x="3929" y="1313"/>
                    <a:pt x="3913" y="1297"/>
                  </a:cubicBezTo>
                  <a:cubicBezTo>
                    <a:pt x="3905" y="1289"/>
                    <a:pt x="3905" y="1289"/>
                    <a:pt x="3897" y="1281"/>
                  </a:cubicBezTo>
                  <a:cubicBezTo>
                    <a:pt x="3897" y="1273"/>
                    <a:pt x="3897" y="1273"/>
                    <a:pt x="3897" y="1273"/>
                  </a:cubicBezTo>
                  <a:cubicBezTo>
                    <a:pt x="3897" y="1273"/>
                    <a:pt x="3889" y="1273"/>
                    <a:pt x="3889" y="1289"/>
                  </a:cubicBezTo>
                  <a:cubicBezTo>
                    <a:pt x="3881" y="1297"/>
                    <a:pt x="3881" y="1304"/>
                    <a:pt x="3874" y="1313"/>
                  </a:cubicBezTo>
                  <a:cubicBezTo>
                    <a:pt x="3865" y="1320"/>
                    <a:pt x="3865" y="1328"/>
                    <a:pt x="3865" y="1344"/>
                  </a:cubicBezTo>
                  <a:cubicBezTo>
                    <a:pt x="3865" y="1368"/>
                    <a:pt x="3858" y="1407"/>
                    <a:pt x="3842" y="1407"/>
                  </a:cubicBezTo>
                  <a:cubicBezTo>
                    <a:pt x="3842" y="1407"/>
                    <a:pt x="3842" y="1407"/>
                    <a:pt x="3842" y="1399"/>
                  </a:cubicBezTo>
                  <a:cubicBezTo>
                    <a:pt x="3834" y="1399"/>
                    <a:pt x="3834" y="1399"/>
                    <a:pt x="3834" y="1399"/>
                  </a:cubicBezTo>
                  <a:cubicBezTo>
                    <a:pt x="3818" y="1399"/>
                    <a:pt x="3802" y="1391"/>
                    <a:pt x="3802" y="1360"/>
                  </a:cubicBezTo>
                  <a:cubicBezTo>
                    <a:pt x="3810" y="1352"/>
                    <a:pt x="3810" y="1344"/>
                    <a:pt x="3810" y="1336"/>
                  </a:cubicBezTo>
                  <a:cubicBezTo>
                    <a:pt x="3810" y="1328"/>
                    <a:pt x="3818" y="1313"/>
                    <a:pt x="3818" y="1313"/>
                  </a:cubicBezTo>
                  <a:cubicBezTo>
                    <a:pt x="3810" y="1313"/>
                    <a:pt x="3810" y="1313"/>
                    <a:pt x="3810" y="1313"/>
                  </a:cubicBezTo>
                  <a:cubicBezTo>
                    <a:pt x="3810" y="1313"/>
                    <a:pt x="3810" y="1313"/>
                    <a:pt x="3802" y="1313"/>
                  </a:cubicBezTo>
                  <a:cubicBezTo>
                    <a:pt x="3794" y="1313"/>
                    <a:pt x="3786" y="1313"/>
                    <a:pt x="3778" y="1313"/>
                  </a:cubicBezTo>
                  <a:cubicBezTo>
                    <a:pt x="3731" y="1313"/>
                    <a:pt x="3723" y="1320"/>
                    <a:pt x="3723" y="1320"/>
                  </a:cubicBezTo>
                  <a:cubicBezTo>
                    <a:pt x="3723" y="1336"/>
                    <a:pt x="3715" y="1344"/>
                    <a:pt x="3699" y="1344"/>
                  </a:cubicBezTo>
                  <a:cubicBezTo>
                    <a:pt x="3692" y="1344"/>
                    <a:pt x="3684" y="1336"/>
                    <a:pt x="3676" y="1328"/>
                  </a:cubicBezTo>
                  <a:lnTo>
                    <a:pt x="3676" y="1328"/>
                  </a:lnTo>
                  <a:cubicBezTo>
                    <a:pt x="3660" y="1313"/>
                    <a:pt x="3652" y="1297"/>
                    <a:pt x="3628" y="1289"/>
                  </a:cubicBezTo>
                  <a:cubicBezTo>
                    <a:pt x="3597" y="1281"/>
                    <a:pt x="3573" y="1289"/>
                    <a:pt x="3565" y="1304"/>
                  </a:cubicBezTo>
                  <a:cubicBezTo>
                    <a:pt x="3557" y="1320"/>
                    <a:pt x="3534" y="1344"/>
                    <a:pt x="3518" y="1344"/>
                  </a:cubicBezTo>
                  <a:cubicBezTo>
                    <a:pt x="3510" y="1344"/>
                    <a:pt x="3502" y="1344"/>
                    <a:pt x="3502" y="1336"/>
                  </a:cubicBezTo>
                  <a:cubicBezTo>
                    <a:pt x="3502" y="1320"/>
                    <a:pt x="3502" y="1304"/>
                    <a:pt x="3502" y="1297"/>
                  </a:cubicBezTo>
                  <a:cubicBezTo>
                    <a:pt x="3502" y="1281"/>
                    <a:pt x="3502" y="1265"/>
                    <a:pt x="3486" y="1265"/>
                  </a:cubicBezTo>
                  <a:lnTo>
                    <a:pt x="3478" y="1257"/>
                  </a:lnTo>
                  <a:cubicBezTo>
                    <a:pt x="3462" y="1257"/>
                    <a:pt x="3462" y="1257"/>
                    <a:pt x="3462" y="1233"/>
                  </a:cubicBezTo>
                  <a:lnTo>
                    <a:pt x="3462" y="1226"/>
                  </a:lnTo>
                  <a:cubicBezTo>
                    <a:pt x="3462" y="1210"/>
                    <a:pt x="3462" y="1202"/>
                    <a:pt x="3454" y="1202"/>
                  </a:cubicBezTo>
                  <a:lnTo>
                    <a:pt x="3446" y="1194"/>
                  </a:lnTo>
                  <a:cubicBezTo>
                    <a:pt x="3431" y="1194"/>
                    <a:pt x="3423" y="1194"/>
                    <a:pt x="3415" y="1194"/>
                  </a:cubicBezTo>
                  <a:cubicBezTo>
                    <a:pt x="3415" y="1194"/>
                    <a:pt x="3407" y="1194"/>
                    <a:pt x="3399" y="1194"/>
                  </a:cubicBezTo>
                  <a:cubicBezTo>
                    <a:pt x="3391" y="1194"/>
                    <a:pt x="3391" y="1194"/>
                    <a:pt x="3391" y="1202"/>
                  </a:cubicBezTo>
                  <a:lnTo>
                    <a:pt x="3383" y="1210"/>
                  </a:lnTo>
                  <a:cubicBezTo>
                    <a:pt x="3383" y="1210"/>
                    <a:pt x="3375" y="1210"/>
                    <a:pt x="3375" y="1202"/>
                  </a:cubicBezTo>
                  <a:lnTo>
                    <a:pt x="3367" y="1202"/>
                  </a:lnTo>
                  <a:cubicBezTo>
                    <a:pt x="3367" y="1202"/>
                    <a:pt x="3359" y="1202"/>
                    <a:pt x="3359" y="1218"/>
                  </a:cubicBezTo>
                  <a:cubicBezTo>
                    <a:pt x="3352" y="1241"/>
                    <a:pt x="3336" y="1249"/>
                    <a:pt x="3320" y="1249"/>
                  </a:cubicBezTo>
                  <a:cubicBezTo>
                    <a:pt x="3312" y="1249"/>
                    <a:pt x="3304" y="1249"/>
                    <a:pt x="3304" y="1233"/>
                  </a:cubicBezTo>
                  <a:cubicBezTo>
                    <a:pt x="3304" y="1233"/>
                    <a:pt x="3304" y="1233"/>
                    <a:pt x="3304" y="1226"/>
                  </a:cubicBezTo>
                  <a:cubicBezTo>
                    <a:pt x="3304" y="1210"/>
                    <a:pt x="3296" y="1202"/>
                    <a:pt x="3273" y="1202"/>
                  </a:cubicBezTo>
                  <a:lnTo>
                    <a:pt x="3265" y="1202"/>
                  </a:lnTo>
                  <a:cubicBezTo>
                    <a:pt x="3257" y="1202"/>
                    <a:pt x="3241" y="1202"/>
                    <a:pt x="3233" y="1202"/>
                  </a:cubicBezTo>
                  <a:cubicBezTo>
                    <a:pt x="3225" y="1210"/>
                    <a:pt x="3217" y="1210"/>
                    <a:pt x="3209" y="1210"/>
                  </a:cubicBezTo>
                  <a:cubicBezTo>
                    <a:pt x="3194" y="1210"/>
                    <a:pt x="3186" y="1210"/>
                    <a:pt x="3178" y="1202"/>
                  </a:cubicBezTo>
                  <a:lnTo>
                    <a:pt x="3178" y="1202"/>
                  </a:lnTo>
                  <a:lnTo>
                    <a:pt x="3178" y="1202"/>
                  </a:lnTo>
                  <a:cubicBezTo>
                    <a:pt x="3178" y="1202"/>
                    <a:pt x="3170" y="1170"/>
                    <a:pt x="3130" y="1178"/>
                  </a:cubicBezTo>
                  <a:cubicBezTo>
                    <a:pt x="3122" y="1178"/>
                    <a:pt x="3115" y="1178"/>
                    <a:pt x="3115" y="1178"/>
                  </a:cubicBezTo>
                  <a:cubicBezTo>
                    <a:pt x="3091" y="1178"/>
                    <a:pt x="3083" y="1170"/>
                    <a:pt x="3067" y="1162"/>
                  </a:cubicBezTo>
                  <a:cubicBezTo>
                    <a:pt x="3059" y="1162"/>
                    <a:pt x="3051" y="1162"/>
                    <a:pt x="3043" y="1154"/>
                  </a:cubicBezTo>
                  <a:cubicBezTo>
                    <a:pt x="3020" y="1154"/>
                    <a:pt x="3012" y="1131"/>
                    <a:pt x="3012" y="1115"/>
                  </a:cubicBezTo>
                  <a:cubicBezTo>
                    <a:pt x="3012" y="1099"/>
                    <a:pt x="3012" y="1091"/>
                    <a:pt x="3004" y="1083"/>
                  </a:cubicBezTo>
                  <a:cubicBezTo>
                    <a:pt x="3004" y="1075"/>
                    <a:pt x="3004" y="1075"/>
                    <a:pt x="3004" y="1075"/>
                  </a:cubicBezTo>
                  <a:cubicBezTo>
                    <a:pt x="2988" y="1051"/>
                    <a:pt x="2980" y="1028"/>
                    <a:pt x="2964" y="1036"/>
                  </a:cubicBezTo>
                  <a:cubicBezTo>
                    <a:pt x="2956" y="1044"/>
                    <a:pt x="2956" y="1044"/>
                    <a:pt x="2956" y="1051"/>
                  </a:cubicBezTo>
                  <a:cubicBezTo>
                    <a:pt x="2948" y="1067"/>
                    <a:pt x="2948" y="1075"/>
                    <a:pt x="2933" y="1075"/>
                  </a:cubicBezTo>
                  <a:cubicBezTo>
                    <a:pt x="2925" y="1075"/>
                    <a:pt x="2917" y="1075"/>
                    <a:pt x="2917" y="1075"/>
                  </a:cubicBezTo>
                  <a:cubicBezTo>
                    <a:pt x="2909" y="1067"/>
                    <a:pt x="2901" y="1067"/>
                    <a:pt x="2893" y="1067"/>
                  </a:cubicBezTo>
                  <a:cubicBezTo>
                    <a:pt x="2885" y="1067"/>
                    <a:pt x="2885" y="1075"/>
                    <a:pt x="2877" y="1075"/>
                  </a:cubicBezTo>
                  <a:cubicBezTo>
                    <a:pt x="2869" y="1075"/>
                    <a:pt x="2869" y="1075"/>
                    <a:pt x="2862" y="1075"/>
                  </a:cubicBezTo>
                  <a:cubicBezTo>
                    <a:pt x="2854" y="1075"/>
                    <a:pt x="2846" y="1075"/>
                    <a:pt x="2830" y="1060"/>
                  </a:cubicBezTo>
                  <a:cubicBezTo>
                    <a:pt x="2814" y="1051"/>
                    <a:pt x="2798" y="1028"/>
                    <a:pt x="2790" y="1012"/>
                  </a:cubicBezTo>
                  <a:cubicBezTo>
                    <a:pt x="2782" y="996"/>
                    <a:pt x="2775" y="988"/>
                    <a:pt x="2759" y="973"/>
                  </a:cubicBezTo>
                  <a:cubicBezTo>
                    <a:pt x="2719" y="957"/>
                    <a:pt x="2735" y="174"/>
                    <a:pt x="2735" y="71"/>
                  </a:cubicBezTo>
                  <a:cubicBezTo>
                    <a:pt x="1605" y="8"/>
                    <a:pt x="1605" y="8"/>
                    <a:pt x="1605" y="8"/>
                  </a:cubicBezTo>
                  <a:cubicBezTo>
                    <a:pt x="1462" y="2103"/>
                    <a:pt x="1462" y="2103"/>
                    <a:pt x="1462" y="2103"/>
                  </a:cubicBezTo>
                  <a:cubicBezTo>
                    <a:pt x="1462" y="2103"/>
                    <a:pt x="1454" y="2150"/>
                    <a:pt x="1423" y="2150"/>
                  </a:cubicBezTo>
                  <a:cubicBezTo>
                    <a:pt x="1399" y="2150"/>
                    <a:pt x="79" y="2040"/>
                    <a:pt x="23" y="2032"/>
                  </a:cubicBezTo>
                  <a:lnTo>
                    <a:pt x="23" y="2032"/>
                  </a:lnTo>
                  <a:lnTo>
                    <a:pt x="23" y="2032"/>
                  </a:lnTo>
                  <a:lnTo>
                    <a:pt x="16" y="2032"/>
                  </a:lnTo>
                  <a:cubicBezTo>
                    <a:pt x="16" y="2032"/>
                    <a:pt x="8" y="2040"/>
                    <a:pt x="55" y="2135"/>
                  </a:cubicBezTo>
                  <a:cubicBezTo>
                    <a:pt x="79" y="2135"/>
                    <a:pt x="87" y="2135"/>
                    <a:pt x="87" y="2135"/>
                  </a:cubicBezTo>
                  <a:cubicBezTo>
                    <a:pt x="95" y="2135"/>
                    <a:pt x="166" y="2190"/>
                    <a:pt x="166" y="2261"/>
                  </a:cubicBezTo>
                  <a:cubicBezTo>
                    <a:pt x="166" y="2293"/>
                    <a:pt x="174" y="2301"/>
                    <a:pt x="189" y="2301"/>
                  </a:cubicBezTo>
                  <a:cubicBezTo>
                    <a:pt x="197" y="2301"/>
                    <a:pt x="213" y="2301"/>
                    <a:pt x="237" y="2316"/>
                  </a:cubicBezTo>
                  <a:cubicBezTo>
                    <a:pt x="292" y="2356"/>
                    <a:pt x="316" y="2380"/>
                    <a:pt x="355" y="2419"/>
                  </a:cubicBezTo>
                  <a:cubicBezTo>
                    <a:pt x="363" y="2435"/>
                    <a:pt x="371" y="2435"/>
                    <a:pt x="379" y="2443"/>
                  </a:cubicBezTo>
                  <a:cubicBezTo>
                    <a:pt x="403" y="2474"/>
                    <a:pt x="419" y="2482"/>
                    <a:pt x="427" y="2538"/>
                  </a:cubicBezTo>
                  <a:cubicBezTo>
                    <a:pt x="442" y="2569"/>
                    <a:pt x="458" y="2577"/>
                    <a:pt x="482" y="2585"/>
                  </a:cubicBezTo>
                  <a:cubicBezTo>
                    <a:pt x="498" y="2593"/>
                    <a:pt x="513" y="2593"/>
                    <a:pt x="537" y="2609"/>
                  </a:cubicBezTo>
                  <a:cubicBezTo>
                    <a:pt x="545" y="2625"/>
                    <a:pt x="561" y="2633"/>
                    <a:pt x="569" y="2648"/>
                  </a:cubicBezTo>
                  <a:cubicBezTo>
                    <a:pt x="593" y="2672"/>
                    <a:pt x="616" y="2696"/>
                    <a:pt x="656" y="2727"/>
                  </a:cubicBezTo>
                  <a:cubicBezTo>
                    <a:pt x="711" y="2759"/>
                    <a:pt x="711" y="2775"/>
                    <a:pt x="703" y="2791"/>
                  </a:cubicBezTo>
                  <a:cubicBezTo>
                    <a:pt x="703" y="2799"/>
                    <a:pt x="703" y="2807"/>
                    <a:pt x="703" y="2814"/>
                  </a:cubicBezTo>
                  <a:cubicBezTo>
                    <a:pt x="703" y="2822"/>
                    <a:pt x="703" y="2830"/>
                    <a:pt x="703" y="2830"/>
                  </a:cubicBezTo>
                  <a:cubicBezTo>
                    <a:pt x="703" y="2846"/>
                    <a:pt x="695" y="2854"/>
                    <a:pt x="751" y="2917"/>
                  </a:cubicBezTo>
                  <a:cubicBezTo>
                    <a:pt x="775" y="2941"/>
                    <a:pt x="782" y="2957"/>
                    <a:pt x="782" y="2965"/>
                  </a:cubicBezTo>
                  <a:cubicBezTo>
                    <a:pt x="775" y="2980"/>
                    <a:pt x="766" y="2980"/>
                    <a:pt x="759" y="2988"/>
                  </a:cubicBezTo>
                  <a:cubicBezTo>
                    <a:pt x="751" y="2996"/>
                    <a:pt x="735" y="3004"/>
                    <a:pt x="727" y="3020"/>
                  </a:cubicBezTo>
                  <a:cubicBezTo>
                    <a:pt x="719" y="3051"/>
                    <a:pt x="735" y="3091"/>
                    <a:pt x="759" y="3123"/>
                  </a:cubicBezTo>
                  <a:cubicBezTo>
                    <a:pt x="775" y="3147"/>
                    <a:pt x="782" y="3162"/>
                    <a:pt x="790" y="3178"/>
                  </a:cubicBezTo>
                  <a:cubicBezTo>
                    <a:pt x="798" y="3225"/>
                    <a:pt x="822" y="3233"/>
                    <a:pt x="861" y="3241"/>
                  </a:cubicBezTo>
                  <a:cubicBezTo>
                    <a:pt x="869" y="3249"/>
                    <a:pt x="869" y="3249"/>
                    <a:pt x="869" y="3249"/>
                  </a:cubicBezTo>
                  <a:cubicBezTo>
                    <a:pt x="893" y="3257"/>
                    <a:pt x="901" y="3265"/>
                    <a:pt x="901" y="3281"/>
                  </a:cubicBezTo>
                  <a:cubicBezTo>
                    <a:pt x="901" y="3281"/>
                    <a:pt x="909" y="3289"/>
                    <a:pt x="917" y="3304"/>
                  </a:cubicBezTo>
                  <a:cubicBezTo>
                    <a:pt x="941" y="3336"/>
                    <a:pt x="996" y="3368"/>
                    <a:pt x="1028" y="3368"/>
                  </a:cubicBezTo>
                  <a:cubicBezTo>
                    <a:pt x="1051" y="3368"/>
                    <a:pt x="1075" y="3384"/>
                    <a:pt x="1099" y="3407"/>
                  </a:cubicBezTo>
                  <a:cubicBezTo>
                    <a:pt x="1114" y="3423"/>
                    <a:pt x="1130" y="3439"/>
                    <a:pt x="1138" y="3439"/>
                  </a:cubicBezTo>
                  <a:lnTo>
                    <a:pt x="1138" y="3439"/>
                  </a:lnTo>
                  <a:cubicBezTo>
                    <a:pt x="1138" y="3439"/>
                    <a:pt x="1138" y="3431"/>
                    <a:pt x="1146" y="3431"/>
                  </a:cubicBezTo>
                  <a:cubicBezTo>
                    <a:pt x="1162" y="3431"/>
                    <a:pt x="1233" y="3478"/>
                    <a:pt x="1288" y="3518"/>
                  </a:cubicBezTo>
                  <a:cubicBezTo>
                    <a:pt x="1304" y="3534"/>
                    <a:pt x="1320" y="3542"/>
                    <a:pt x="1328" y="3550"/>
                  </a:cubicBezTo>
                  <a:cubicBezTo>
                    <a:pt x="1344" y="3557"/>
                    <a:pt x="1352" y="3557"/>
                    <a:pt x="1359" y="3557"/>
                  </a:cubicBezTo>
                  <a:cubicBezTo>
                    <a:pt x="1367" y="3557"/>
                    <a:pt x="1367" y="3550"/>
                    <a:pt x="1375" y="3534"/>
                  </a:cubicBezTo>
                  <a:cubicBezTo>
                    <a:pt x="1383" y="3518"/>
                    <a:pt x="1391" y="3502"/>
                    <a:pt x="1415" y="3486"/>
                  </a:cubicBezTo>
                  <a:cubicBezTo>
                    <a:pt x="1446" y="3471"/>
                    <a:pt x="1454" y="3439"/>
                    <a:pt x="1462" y="3400"/>
                  </a:cubicBezTo>
                  <a:cubicBezTo>
                    <a:pt x="1462" y="3391"/>
                    <a:pt x="1462" y="3384"/>
                    <a:pt x="1470" y="3368"/>
                  </a:cubicBezTo>
                  <a:cubicBezTo>
                    <a:pt x="1478" y="3344"/>
                    <a:pt x="1494" y="3313"/>
                    <a:pt x="1502" y="3297"/>
                  </a:cubicBezTo>
                  <a:cubicBezTo>
                    <a:pt x="1510" y="3289"/>
                    <a:pt x="1518" y="3281"/>
                    <a:pt x="1518" y="3273"/>
                  </a:cubicBezTo>
                  <a:cubicBezTo>
                    <a:pt x="1518" y="3265"/>
                    <a:pt x="1525" y="3257"/>
                    <a:pt x="1525" y="3249"/>
                  </a:cubicBezTo>
                  <a:cubicBezTo>
                    <a:pt x="1525" y="3225"/>
                    <a:pt x="1533" y="3194"/>
                    <a:pt x="1597" y="3186"/>
                  </a:cubicBezTo>
                  <a:cubicBezTo>
                    <a:pt x="1636" y="3186"/>
                    <a:pt x="1660" y="3170"/>
                    <a:pt x="1676" y="3162"/>
                  </a:cubicBezTo>
                  <a:cubicBezTo>
                    <a:pt x="1692" y="3154"/>
                    <a:pt x="1699" y="3147"/>
                    <a:pt x="1715" y="3147"/>
                  </a:cubicBezTo>
                  <a:cubicBezTo>
                    <a:pt x="1723" y="3147"/>
                    <a:pt x="1723" y="3147"/>
                    <a:pt x="1723" y="3147"/>
                  </a:cubicBezTo>
                  <a:cubicBezTo>
                    <a:pt x="1755" y="3147"/>
                    <a:pt x="1771" y="3162"/>
                    <a:pt x="1778" y="3178"/>
                  </a:cubicBezTo>
                  <a:cubicBezTo>
                    <a:pt x="1794" y="3186"/>
                    <a:pt x="1794" y="3194"/>
                    <a:pt x="1810" y="3194"/>
                  </a:cubicBezTo>
                  <a:cubicBezTo>
                    <a:pt x="1826" y="3194"/>
                    <a:pt x="1834" y="3194"/>
                    <a:pt x="1850" y="3186"/>
                  </a:cubicBezTo>
                  <a:cubicBezTo>
                    <a:pt x="1858" y="3186"/>
                    <a:pt x="1865" y="3186"/>
                    <a:pt x="1873" y="3178"/>
                  </a:cubicBezTo>
                  <a:cubicBezTo>
                    <a:pt x="1881" y="3178"/>
                    <a:pt x="1889" y="3178"/>
                    <a:pt x="1897" y="3178"/>
                  </a:cubicBezTo>
                  <a:cubicBezTo>
                    <a:pt x="1913" y="3178"/>
                    <a:pt x="1921" y="3186"/>
                    <a:pt x="1929" y="3194"/>
                  </a:cubicBezTo>
                  <a:cubicBezTo>
                    <a:pt x="1936" y="3202"/>
                    <a:pt x="1936" y="3202"/>
                    <a:pt x="1936" y="3202"/>
                  </a:cubicBezTo>
                  <a:cubicBezTo>
                    <a:pt x="1945" y="3210"/>
                    <a:pt x="1952" y="3218"/>
                    <a:pt x="1960" y="3218"/>
                  </a:cubicBezTo>
                  <a:cubicBezTo>
                    <a:pt x="1976" y="3218"/>
                    <a:pt x="1992" y="3210"/>
                    <a:pt x="2008" y="3194"/>
                  </a:cubicBezTo>
                  <a:lnTo>
                    <a:pt x="2016" y="3194"/>
                  </a:lnTo>
                  <a:cubicBezTo>
                    <a:pt x="2031" y="3194"/>
                    <a:pt x="2063" y="3233"/>
                    <a:pt x="2111" y="3281"/>
                  </a:cubicBezTo>
                  <a:cubicBezTo>
                    <a:pt x="2126" y="3304"/>
                    <a:pt x="2142" y="3320"/>
                    <a:pt x="2150" y="3336"/>
                  </a:cubicBezTo>
                  <a:cubicBezTo>
                    <a:pt x="2189" y="3376"/>
                    <a:pt x="2269" y="3439"/>
                    <a:pt x="2316" y="3471"/>
                  </a:cubicBezTo>
                  <a:cubicBezTo>
                    <a:pt x="2332" y="3478"/>
                    <a:pt x="2332" y="3494"/>
                    <a:pt x="2340" y="3510"/>
                  </a:cubicBezTo>
                  <a:cubicBezTo>
                    <a:pt x="2340" y="3534"/>
                    <a:pt x="2348" y="3581"/>
                    <a:pt x="2403" y="3668"/>
                  </a:cubicBezTo>
                  <a:cubicBezTo>
                    <a:pt x="2474" y="3763"/>
                    <a:pt x="2482" y="3811"/>
                    <a:pt x="2490" y="3834"/>
                  </a:cubicBezTo>
                  <a:cubicBezTo>
                    <a:pt x="2490" y="3858"/>
                    <a:pt x="2490" y="3866"/>
                    <a:pt x="2506" y="3874"/>
                  </a:cubicBezTo>
                  <a:cubicBezTo>
                    <a:pt x="2522" y="3897"/>
                    <a:pt x="2514" y="3913"/>
                    <a:pt x="2514" y="3921"/>
                  </a:cubicBezTo>
                  <a:cubicBezTo>
                    <a:pt x="2506" y="3929"/>
                    <a:pt x="2506" y="3937"/>
                    <a:pt x="2522" y="3945"/>
                  </a:cubicBezTo>
                  <a:cubicBezTo>
                    <a:pt x="2569" y="3969"/>
                    <a:pt x="2672" y="4103"/>
                    <a:pt x="2695" y="4142"/>
                  </a:cubicBezTo>
                  <a:cubicBezTo>
                    <a:pt x="2703" y="4150"/>
                    <a:pt x="2703" y="4166"/>
                    <a:pt x="2711" y="4174"/>
                  </a:cubicBezTo>
                  <a:cubicBezTo>
                    <a:pt x="2719" y="4198"/>
                    <a:pt x="2727" y="4214"/>
                    <a:pt x="2751" y="4222"/>
                  </a:cubicBezTo>
                  <a:cubicBezTo>
                    <a:pt x="2775" y="4222"/>
                    <a:pt x="2790" y="4237"/>
                    <a:pt x="2806" y="4253"/>
                  </a:cubicBezTo>
                  <a:cubicBezTo>
                    <a:pt x="2814" y="4261"/>
                    <a:pt x="2814" y="4269"/>
                    <a:pt x="2822" y="4277"/>
                  </a:cubicBezTo>
                  <a:cubicBezTo>
                    <a:pt x="2838" y="4293"/>
                    <a:pt x="2838" y="4293"/>
                    <a:pt x="2830" y="4308"/>
                  </a:cubicBezTo>
                  <a:cubicBezTo>
                    <a:pt x="2830" y="4317"/>
                    <a:pt x="2822" y="4324"/>
                    <a:pt x="2822" y="4332"/>
                  </a:cubicBezTo>
                  <a:cubicBezTo>
                    <a:pt x="2822" y="4340"/>
                    <a:pt x="2822" y="4340"/>
                    <a:pt x="2822" y="4348"/>
                  </a:cubicBezTo>
                  <a:cubicBezTo>
                    <a:pt x="2814" y="4372"/>
                    <a:pt x="2806" y="4395"/>
                    <a:pt x="2854" y="4419"/>
                  </a:cubicBezTo>
                  <a:cubicBezTo>
                    <a:pt x="2862" y="4419"/>
                    <a:pt x="2869" y="4427"/>
                    <a:pt x="2869" y="4435"/>
                  </a:cubicBezTo>
                  <a:cubicBezTo>
                    <a:pt x="2869" y="4451"/>
                    <a:pt x="2862" y="4459"/>
                    <a:pt x="2854" y="4475"/>
                  </a:cubicBezTo>
                  <a:cubicBezTo>
                    <a:pt x="2846" y="4490"/>
                    <a:pt x="2838" y="4506"/>
                    <a:pt x="2854" y="4522"/>
                  </a:cubicBezTo>
                  <a:cubicBezTo>
                    <a:pt x="2869" y="4546"/>
                    <a:pt x="2885" y="4577"/>
                    <a:pt x="2909" y="4609"/>
                  </a:cubicBezTo>
                  <a:cubicBezTo>
                    <a:pt x="2925" y="4641"/>
                    <a:pt x="2941" y="4672"/>
                    <a:pt x="2948" y="4680"/>
                  </a:cubicBezTo>
                  <a:cubicBezTo>
                    <a:pt x="2964" y="4696"/>
                    <a:pt x="2956" y="4712"/>
                    <a:pt x="2956" y="4728"/>
                  </a:cubicBezTo>
                  <a:cubicBezTo>
                    <a:pt x="2956" y="4743"/>
                    <a:pt x="2948" y="4759"/>
                    <a:pt x="2964" y="4767"/>
                  </a:cubicBezTo>
                  <a:cubicBezTo>
                    <a:pt x="2972" y="4775"/>
                    <a:pt x="2980" y="4783"/>
                    <a:pt x="2980" y="4799"/>
                  </a:cubicBezTo>
                  <a:cubicBezTo>
                    <a:pt x="2988" y="4807"/>
                    <a:pt x="2988" y="4814"/>
                    <a:pt x="2996" y="4814"/>
                  </a:cubicBezTo>
                  <a:cubicBezTo>
                    <a:pt x="3004" y="4814"/>
                    <a:pt x="3043" y="4822"/>
                    <a:pt x="3106" y="4854"/>
                  </a:cubicBezTo>
                  <a:cubicBezTo>
                    <a:pt x="3122" y="4870"/>
                    <a:pt x="3138" y="4878"/>
                    <a:pt x="3146" y="4886"/>
                  </a:cubicBezTo>
                  <a:cubicBezTo>
                    <a:pt x="3154" y="4894"/>
                    <a:pt x="3154" y="4894"/>
                    <a:pt x="3186" y="4894"/>
                  </a:cubicBezTo>
                  <a:lnTo>
                    <a:pt x="3194" y="4894"/>
                  </a:lnTo>
                  <a:cubicBezTo>
                    <a:pt x="3225" y="4894"/>
                    <a:pt x="3241" y="4901"/>
                    <a:pt x="3265" y="4917"/>
                  </a:cubicBezTo>
                  <a:cubicBezTo>
                    <a:pt x="3273" y="4925"/>
                    <a:pt x="3281" y="4933"/>
                    <a:pt x="3296" y="4941"/>
                  </a:cubicBezTo>
                  <a:cubicBezTo>
                    <a:pt x="3304" y="4949"/>
                    <a:pt x="3312" y="4949"/>
                    <a:pt x="3312" y="4957"/>
                  </a:cubicBezTo>
                  <a:cubicBezTo>
                    <a:pt x="3352" y="4981"/>
                    <a:pt x="3367" y="4988"/>
                    <a:pt x="3407" y="4996"/>
                  </a:cubicBezTo>
                  <a:cubicBezTo>
                    <a:pt x="3423" y="4996"/>
                    <a:pt x="3431" y="4996"/>
                    <a:pt x="3446" y="4996"/>
                  </a:cubicBezTo>
                  <a:cubicBezTo>
                    <a:pt x="3462" y="4996"/>
                    <a:pt x="3470" y="4996"/>
                    <a:pt x="3494" y="4981"/>
                  </a:cubicBezTo>
                  <a:cubicBezTo>
                    <a:pt x="3502" y="4972"/>
                    <a:pt x="3510" y="4972"/>
                    <a:pt x="3518" y="4972"/>
                  </a:cubicBezTo>
                  <a:close/>
                </a:path>
              </a:pathLst>
            </a:custGeom>
            <a:grpFill/>
            <a:ln>
              <a:solidFill>
                <a:schemeClr val="bg1">
                  <a:lumMod val="95000"/>
                </a:schemeClr>
              </a:solidFill>
            </a:ln>
            <a:effectLst/>
          </p:spPr>
          <p:txBody>
            <a:bodyPr wrap="none" anchor="ctr"/>
            <a:lstStyle/>
            <a:p>
              <a:endParaRPr lang="en-US" sz="900"/>
            </a:p>
          </p:txBody>
        </p:sp>
        <p:sp>
          <p:nvSpPr>
            <p:cNvPr id="17" name="Freeform 24"/>
            <p:cNvSpPr>
              <a:spLocks noChangeArrowheads="1"/>
            </p:cNvSpPr>
            <p:nvPr/>
          </p:nvSpPr>
          <p:spPr bwMode="auto">
            <a:xfrm>
              <a:off x="11000710" y="6629895"/>
              <a:ext cx="1704689" cy="876698"/>
            </a:xfrm>
            <a:custGeom>
              <a:avLst/>
              <a:gdLst>
                <a:gd name="T0" fmla="*/ 3233 w 3242"/>
                <a:gd name="T1" fmla="*/ 751 h 1669"/>
                <a:gd name="T2" fmla="*/ 3233 w 3242"/>
                <a:gd name="T3" fmla="*/ 751 h 1669"/>
                <a:gd name="T4" fmla="*/ 3130 w 3242"/>
                <a:gd name="T5" fmla="*/ 71 h 1669"/>
                <a:gd name="T6" fmla="*/ 0 w 3242"/>
                <a:gd name="T7" fmla="*/ 0 h 1669"/>
                <a:gd name="T8" fmla="*/ 0 w 3242"/>
                <a:gd name="T9" fmla="*/ 245 h 1669"/>
                <a:gd name="T10" fmla="*/ 1123 w 3242"/>
                <a:gd name="T11" fmla="*/ 300 h 1669"/>
                <a:gd name="T12" fmla="*/ 1139 w 3242"/>
                <a:gd name="T13" fmla="*/ 1210 h 1669"/>
                <a:gd name="T14" fmla="*/ 1218 w 3242"/>
                <a:gd name="T15" fmla="*/ 1297 h 1669"/>
                <a:gd name="T16" fmla="*/ 1297 w 3242"/>
                <a:gd name="T17" fmla="*/ 1304 h 1669"/>
                <a:gd name="T18" fmla="*/ 1344 w 3242"/>
                <a:gd name="T19" fmla="*/ 1273 h 1669"/>
                <a:gd name="T20" fmla="*/ 1392 w 3242"/>
                <a:gd name="T21" fmla="*/ 1320 h 1669"/>
                <a:gd name="T22" fmla="*/ 1423 w 3242"/>
                <a:gd name="T23" fmla="*/ 1391 h 1669"/>
                <a:gd name="T24" fmla="*/ 1510 w 3242"/>
                <a:gd name="T25" fmla="*/ 1407 h 1669"/>
                <a:gd name="T26" fmla="*/ 1566 w 3242"/>
                <a:gd name="T27" fmla="*/ 1439 h 1669"/>
                <a:gd name="T28" fmla="*/ 1653 w 3242"/>
                <a:gd name="T29" fmla="*/ 1431 h 1669"/>
                <a:gd name="T30" fmla="*/ 1684 w 3242"/>
                <a:gd name="T31" fmla="*/ 1470 h 1669"/>
                <a:gd name="T32" fmla="*/ 1732 w 3242"/>
                <a:gd name="T33" fmla="*/ 1455 h 1669"/>
                <a:gd name="T34" fmla="*/ 1763 w 3242"/>
                <a:gd name="T35" fmla="*/ 1439 h 1669"/>
                <a:gd name="T36" fmla="*/ 1826 w 3242"/>
                <a:gd name="T37" fmla="*/ 1431 h 1669"/>
                <a:gd name="T38" fmla="*/ 1842 w 3242"/>
                <a:gd name="T39" fmla="*/ 1470 h 1669"/>
                <a:gd name="T40" fmla="*/ 1874 w 3242"/>
                <a:gd name="T41" fmla="*/ 1494 h 1669"/>
                <a:gd name="T42" fmla="*/ 1882 w 3242"/>
                <a:gd name="T43" fmla="*/ 1565 h 1669"/>
                <a:gd name="T44" fmla="*/ 1945 w 3242"/>
                <a:gd name="T45" fmla="*/ 1541 h 1669"/>
                <a:gd name="T46" fmla="*/ 2008 w 3242"/>
                <a:gd name="T47" fmla="*/ 1526 h 1669"/>
                <a:gd name="T48" fmla="*/ 2056 w 3242"/>
                <a:gd name="T49" fmla="*/ 1565 h 1669"/>
                <a:gd name="T50" fmla="*/ 2103 w 3242"/>
                <a:gd name="T51" fmla="*/ 1557 h 1669"/>
                <a:gd name="T52" fmla="*/ 2190 w 3242"/>
                <a:gd name="T53" fmla="*/ 1550 h 1669"/>
                <a:gd name="T54" fmla="*/ 2190 w 3242"/>
                <a:gd name="T55" fmla="*/ 1597 h 1669"/>
                <a:gd name="T56" fmla="*/ 2222 w 3242"/>
                <a:gd name="T57" fmla="*/ 1636 h 1669"/>
                <a:gd name="T58" fmla="*/ 2245 w 3242"/>
                <a:gd name="T59" fmla="*/ 1581 h 1669"/>
                <a:gd name="T60" fmla="*/ 2261 w 3242"/>
                <a:gd name="T61" fmla="*/ 1518 h 1669"/>
                <a:gd name="T62" fmla="*/ 2293 w 3242"/>
                <a:gd name="T63" fmla="*/ 1526 h 1669"/>
                <a:gd name="T64" fmla="*/ 2340 w 3242"/>
                <a:gd name="T65" fmla="*/ 1581 h 1669"/>
                <a:gd name="T66" fmla="*/ 2372 w 3242"/>
                <a:gd name="T67" fmla="*/ 1550 h 1669"/>
                <a:gd name="T68" fmla="*/ 2426 w 3242"/>
                <a:gd name="T69" fmla="*/ 1581 h 1669"/>
                <a:gd name="T70" fmla="*/ 2505 w 3242"/>
                <a:gd name="T71" fmla="*/ 1644 h 1669"/>
                <a:gd name="T72" fmla="*/ 2568 w 3242"/>
                <a:gd name="T73" fmla="*/ 1613 h 1669"/>
                <a:gd name="T74" fmla="*/ 2656 w 3242"/>
                <a:gd name="T75" fmla="*/ 1557 h 1669"/>
                <a:gd name="T76" fmla="*/ 2695 w 3242"/>
                <a:gd name="T77" fmla="*/ 1589 h 1669"/>
                <a:gd name="T78" fmla="*/ 2750 w 3242"/>
                <a:gd name="T79" fmla="*/ 1550 h 1669"/>
                <a:gd name="T80" fmla="*/ 2814 w 3242"/>
                <a:gd name="T81" fmla="*/ 1526 h 1669"/>
                <a:gd name="T82" fmla="*/ 2861 w 3242"/>
                <a:gd name="T83" fmla="*/ 1565 h 1669"/>
                <a:gd name="T84" fmla="*/ 2917 w 3242"/>
                <a:gd name="T85" fmla="*/ 1550 h 1669"/>
                <a:gd name="T86" fmla="*/ 2964 w 3242"/>
                <a:gd name="T87" fmla="*/ 1510 h 1669"/>
                <a:gd name="T88" fmla="*/ 3051 w 3242"/>
                <a:gd name="T89" fmla="*/ 1573 h 1669"/>
                <a:gd name="T90" fmla="*/ 3130 w 3242"/>
                <a:gd name="T91" fmla="*/ 1621 h 1669"/>
                <a:gd name="T92" fmla="*/ 3193 w 3242"/>
                <a:gd name="T93" fmla="*/ 1652 h 1669"/>
                <a:gd name="T94" fmla="*/ 3241 w 3242"/>
                <a:gd name="T95" fmla="*/ 1644 h 1669"/>
                <a:gd name="T96" fmla="*/ 3233 w 3242"/>
                <a:gd name="T97" fmla="*/ 751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2" h="1669">
                  <a:moveTo>
                    <a:pt x="3233" y="751"/>
                  </a:moveTo>
                  <a:lnTo>
                    <a:pt x="3233" y="751"/>
                  </a:lnTo>
                  <a:cubicBezTo>
                    <a:pt x="3138" y="380"/>
                    <a:pt x="3130" y="71"/>
                    <a:pt x="3130" y="71"/>
                  </a:cubicBezTo>
                  <a:cubicBezTo>
                    <a:pt x="1953" y="87"/>
                    <a:pt x="909" y="55"/>
                    <a:pt x="0" y="0"/>
                  </a:cubicBezTo>
                  <a:cubicBezTo>
                    <a:pt x="0" y="245"/>
                    <a:pt x="0" y="245"/>
                    <a:pt x="0" y="245"/>
                  </a:cubicBezTo>
                  <a:cubicBezTo>
                    <a:pt x="1123" y="300"/>
                    <a:pt x="1123" y="300"/>
                    <a:pt x="1123" y="300"/>
                  </a:cubicBezTo>
                  <a:cubicBezTo>
                    <a:pt x="1123" y="300"/>
                    <a:pt x="1107" y="1186"/>
                    <a:pt x="1139" y="1210"/>
                  </a:cubicBezTo>
                  <a:cubicBezTo>
                    <a:pt x="1170" y="1233"/>
                    <a:pt x="1178" y="1265"/>
                    <a:pt x="1218" y="1297"/>
                  </a:cubicBezTo>
                  <a:cubicBezTo>
                    <a:pt x="1249" y="1328"/>
                    <a:pt x="1249" y="1297"/>
                    <a:pt x="1297" y="1304"/>
                  </a:cubicBezTo>
                  <a:cubicBezTo>
                    <a:pt x="1336" y="1320"/>
                    <a:pt x="1321" y="1281"/>
                    <a:pt x="1344" y="1273"/>
                  </a:cubicBezTo>
                  <a:cubicBezTo>
                    <a:pt x="1360" y="1265"/>
                    <a:pt x="1376" y="1297"/>
                    <a:pt x="1392" y="1320"/>
                  </a:cubicBezTo>
                  <a:cubicBezTo>
                    <a:pt x="1400" y="1344"/>
                    <a:pt x="1392" y="1383"/>
                    <a:pt x="1423" y="1391"/>
                  </a:cubicBezTo>
                  <a:cubicBezTo>
                    <a:pt x="1455" y="1399"/>
                    <a:pt x="1463" y="1415"/>
                    <a:pt x="1510" y="1407"/>
                  </a:cubicBezTo>
                  <a:cubicBezTo>
                    <a:pt x="1550" y="1407"/>
                    <a:pt x="1566" y="1439"/>
                    <a:pt x="1566" y="1439"/>
                  </a:cubicBezTo>
                  <a:cubicBezTo>
                    <a:pt x="1589" y="1455"/>
                    <a:pt x="1621" y="1431"/>
                    <a:pt x="1653" y="1431"/>
                  </a:cubicBezTo>
                  <a:cubicBezTo>
                    <a:pt x="1684" y="1439"/>
                    <a:pt x="1684" y="1447"/>
                    <a:pt x="1684" y="1470"/>
                  </a:cubicBezTo>
                  <a:cubicBezTo>
                    <a:pt x="1692" y="1494"/>
                    <a:pt x="1724" y="1486"/>
                    <a:pt x="1732" y="1455"/>
                  </a:cubicBezTo>
                  <a:cubicBezTo>
                    <a:pt x="1739" y="1423"/>
                    <a:pt x="1763" y="1447"/>
                    <a:pt x="1763" y="1439"/>
                  </a:cubicBezTo>
                  <a:cubicBezTo>
                    <a:pt x="1771" y="1423"/>
                    <a:pt x="1795" y="1431"/>
                    <a:pt x="1826" y="1431"/>
                  </a:cubicBezTo>
                  <a:cubicBezTo>
                    <a:pt x="1850" y="1431"/>
                    <a:pt x="1842" y="1447"/>
                    <a:pt x="1842" y="1470"/>
                  </a:cubicBezTo>
                  <a:cubicBezTo>
                    <a:pt x="1842" y="1494"/>
                    <a:pt x="1850" y="1486"/>
                    <a:pt x="1874" y="1494"/>
                  </a:cubicBezTo>
                  <a:cubicBezTo>
                    <a:pt x="1890" y="1510"/>
                    <a:pt x="1874" y="1541"/>
                    <a:pt x="1882" y="1565"/>
                  </a:cubicBezTo>
                  <a:cubicBezTo>
                    <a:pt x="1898" y="1597"/>
                    <a:pt x="1929" y="1557"/>
                    <a:pt x="1945" y="1541"/>
                  </a:cubicBezTo>
                  <a:cubicBezTo>
                    <a:pt x="1953" y="1518"/>
                    <a:pt x="1977" y="1518"/>
                    <a:pt x="2008" y="1526"/>
                  </a:cubicBezTo>
                  <a:cubicBezTo>
                    <a:pt x="2040" y="1534"/>
                    <a:pt x="2048" y="1550"/>
                    <a:pt x="2056" y="1565"/>
                  </a:cubicBezTo>
                  <a:cubicBezTo>
                    <a:pt x="2072" y="1581"/>
                    <a:pt x="2103" y="1581"/>
                    <a:pt x="2103" y="1557"/>
                  </a:cubicBezTo>
                  <a:cubicBezTo>
                    <a:pt x="2103" y="1541"/>
                    <a:pt x="2174" y="1550"/>
                    <a:pt x="2190" y="1550"/>
                  </a:cubicBezTo>
                  <a:cubicBezTo>
                    <a:pt x="2206" y="1550"/>
                    <a:pt x="2198" y="1565"/>
                    <a:pt x="2190" y="1597"/>
                  </a:cubicBezTo>
                  <a:cubicBezTo>
                    <a:pt x="2182" y="1628"/>
                    <a:pt x="2206" y="1628"/>
                    <a:pt x="2222" y="1636"/>
                  </a:cubicBezTo>
                  <a:cubicBezTo>
                    <a:pt x="2238" y="1644"/>
                    <a:pt x="2245" y="1605"/>
                    <a:pt x="2245" y="1581"/>
                  </a:cubicBezTo>
                  <a:cubicBezTo>
                    <a:pt x="2245" y="1550"/>
                    <a:pt x="2245" y="1557"/>
                    <a:pt x="2261" y="1518"/>
                  </a:cubicBezTo>
                  <a:cubicBezTo>
                    <a:pt x="2277" y="1486"/>
                    <a:pt x="2277" y="1518"/>
                    <a:pt x="2293" y="1526"/>
                  </a:cubicBezTo>
                  <a:cubicBezTo>
                    <a:pt x="2309" y="1541"/>
                    <a:pt x="2317" y="1557"/>
                    <a:pt x="2340" y="1581"/>
                  </a:cubicBezTo>
                  <a:cubicBezTo>
                    <a:pt x="2356" y="1597"/>
                    <a:pt x="2364" y="1573"/>
                    <a:pt x="2372" y="1550"/>
                  </a:cubicBezTo>
                  <a:cubicBezTo>
                    <a:pt x="2380" y="1526"/>
                    <a:pt x="2403" y="1557"/>
                    <a:pt x="2426" y="1581"/>
                  </a:cubicBezTo>
                  <a:cubicBezTo>
                    <a:pt x="2458" y="1613"/>
                    <a:pt x="2474" y="1628"/>
                    <a:pt x="2505" y="1644"/>
                  </a:cubicBezTo>
                  <a:cubicBezTo>
                    <a:pt x="2529" y="1668"/>
                    <a:pt x="2545" y="1636"/>
                    <a:pt x="2568" y="1613"/>
                  </a:cubicBezTo>
                  <a:cubicBezTo>
                    <a:pt x="2584" y="1589"/>
                    <a:pt x="2616" y="1565"/>
                    <a:pt x="2656" y="1557"/>
                  </a:cubicBezTo>
                  <a:cubicBezTo>
                    <a:pt x="2687" y="1550"/>
                    <a:pt x="2671" y="1565"/>
                    <a:pt x="2695" y="1589"/>
                  </a:cubicBezTo>
                  <a:cubicBezTo>
                    <a:pt x="2727" y="1605"/>
                    <a:pt x="2743" y="1581"/>
                    <a:pt x="2750" y="1550"/>
                  </a:cubicBezTo>
                  <a:cubicBezTo>
                    <a:pt x="2750" y="1526"/>
                    <a:pt x="2798" y="1526"/>
                    <a:pt x="2814" y="1526"/>
                  </a:cubicBezTo>
                  <a:cubicBezTo>
                    <a:pt x="2837" y="1526"/>
                    <a:pt x="2830" y="1541"/>
                    <a:pt x="2861" y="1565"/>
                  </a:cubicBezTo>
                  <a:cubicBezTo>
                    <a:pt x="2893" y="1589"/>
                    <a:pt x="2908" y="1565"/>
                    <a:pt x="2917" y="1550"/>
                  </a:cubicBezTo>
                  <a:cubicBezTo>
                    <a:pt x="2932" y="1534"/>
                    <a:pt x="2940" y="1510"/>
                    <a:pt x="2964" y="1510"/>
                  </a:cubicBezTo>
                  <a:cubicBezTo>
                    <a:pt x="2988" y="1510"/>
                    <a:pt x="3011" y="1526"/>
                    <a:pt x="3051" y="1573"/>
                  </a:cubicBezTo>
                  <a:cubicBezTo>
                    <a:pt x="3090" y="1621"/>
                    <a:pt x="3122" y="1613"/>
                    <a:pt x="3130" y="1621"/>
                  </a:cubicBezTo>
                  <a:cubicBezTo>
                    <a:pt x="3138" y="1636"/>
                    <a:pt x="3161" y="1652"/>
                    <a:pt x="3193" y="1652"/>
                  </a:cubicBezTo>
                  <a:cubicBezTo>
                    <a:pt x="3225" y="1652"/>
                    <a:pt x="3225" y="1644"/>
                    <a:pt x="3241" y="1644"/>
                  </a:cubicBezTo>
                  <a:lnTo>
                    <a:pt x="3233" y="751"/>
                  </a:lnTo>
                </a:path>
              </a:pathLst>
            </a:custGeom>
            <a:grpFill/>
            <a:ln>
              <a:solidFill>
                <a:schemeClr val="bg1">
                  <a:lumMod val="95000"/>
                </a:schemeClr>
              </a:solidFill>
            </a:ln>
            <a:effectLst/>
          </p:spPr>
          <p:txBody>
            <a:bodyPr wrap="none" anchor="ctr"/>
            <a:lstStyle/>
            <a:p>
              <a:endParaRPr lang="en-US" sz="900"/>
            </a:p>
          </p:txBody>
        </p:sp>
        <p:sp>
          <p:nvSpPr>
            <p:cNvPr id="18" name="Freeform 25"/>
            <p:cNvSpPr>
              <a:spLocks noChangeArrowheads="1"/>
            </p:cNvSpPr>
            <p:nvPr/>
          </p:nvSpPr>
          <p:spPr bwMode="auto">
            <a:xfrm>
              <a:off x="10996071" y="6629895"/>
              <a:ext cx="1709328" cy="874378"/>
            </a:xfrm>
            <a:custGeom>
              <a:avLst/>
              <a:gdLst>
                <a:gd name="T0" fmla="*/ 2434 w 3250"/>
                <a:gd name="T1" fmla="*/ 1589 h 1661"/>
                <a:gd name="T2" fmla="*/ 2380 w 3250"/>
                <a:gd name="T3" fmla="*/ 1557 h 1661"/>
                <a:gd name="T4" fmla="*/ 2285 w 3250"/>
                <a:gd name="T5" fmla="*/ 1518 h 1661"/>
                <a:gd name="T6" fmla="*/ 2253 w 3250"/>
                <a:gd name="T7" fmla="*/ 1581 h 1661"/>
                <a:gd name="T8" fmla="*/ 2190 w 3250"/>
                <a:gd name="T9" fmla="*/ 1597 h 1661"/>
                <a:gd name="T10" fmla="*/ 2190 w 3250"/>
                <a:gd name="T11" fmla="*/ 1550 h 1661"/>
                <a:gd name="T12" fmla="*/ 2064 w 3250"/>
                <a:gd name="T13" fmla="*/ 1565 h 1661"/>
                <a:gd name="T14" fmla="*/ 1906 w 3250"/>
                <a:gd name="T15" fmla="*/ 1581 h 1661"/>
                <a:gd name="T16" fmla="*/ 1866 w 3250"/>
                <a:gd name="T17" fmla="*/ 1494 h 1661"/>
                <a:gd name="T18" fmla="*/ 1834 w 3250"/>
                <a:gd name="T19" fmla="*/ 1431 h 1661"/>
                <a:gd name="T20" fmla="*/ 1771 w 3250"/>
                <a:gd name="T21" fmla="*/ 1447 h 1661"/>
                <a:gd name="T22" fmla="*/ 1708 w 3250"/>
                <a:gd name="T23" fmla="*/ 1486 h 1661"/>
                <a:gd name="T24" fmla="*/ 1621 w 3250"/>
                <a:gd name="T25" fmla="*/ 1439 h 1661"/>
                <a:gd name="T26" fmla="*/ 1566 w 3250"/>
                <a:gd name="T27" fmla="*/ 1439 h 1661"/>
                <a:gd name="T28" fmla="*/ 1431 w 3250"/>
                <a:gd name="T29" fmla="*/ 1391 h 1661"/>
                <a:gd name="T30" fmla="*/ 1360 w 3250"/>
                <a:gd name="T31" fmla="*/ 1273 h 1661"/>
                <a:gd name="T32" fmla="*/ 1305 w 3250"/>
                <a:gd name="T33" fmla="*/ 1312 h 1661"/>
                <a:gd name="T34" fmla="*/ 1218 w 3250"/>
                <a:gd name="T35" fmla="*/ 1297 h 1661"/>
                <a:gd name="T36" fmla="*/ 0 w 3250"/>
                <a:gd name="T37" fmla="*/ 245 h 1661"/>
                <a:gd name="T38" fmla="*/ 3138 w 3250"/>
                <a:gd name="T39" fmla="*/ 71 h 1661"/>
                <a:gd name="T40" fmla="*/ 3249 w 3250"/>
                <a:gd name="T41" fmla="*/ 751 h 1661"/>
                <a:gd name="T42" fmla="*/ 3201 w 3250"/>
                <a:gd name="T43" fmla="*/ 1660 h 1661"/>
                <a:gd name="T44" fmla="*/ 2972 w 3250"/>
                <a:gd name="T45" fmla="*/ 1510 h 1661"/>
                <a:gd name="T46" fmla="*/ 2893 w 3250"/>
                <a:gd name="T47" fmla="*/ 1581 h 1661"/>
                <a:gd name="T48" fmla="*/ 2758 w 3250"/>
                <a:gd name="T49" fmla="*/ 1550 h 1661"/>
                <a:gd name="T50" fmla="*/ 2679 w 3250"/>
                <a:gd name="T51" fmla="*/ 1557 h 1661"/>
                <a:gd name="T52" fmla="*/ 2529 w 3250"/>
                <a:gd name="T53" fmla="*/ 1660 h 1661"/>
                <a:gd name="T54" fmla="*/ 2442 w 3250"/>
                <a:gd name="T55" fmla="*/ 1581 h 1661"/>
                <a:gd name="T56" fmla="*/ 2576 w 3250"/>
                <a:gd name="T57" fmla="*/ 1613 h 1661"/>
                <a:gd name="T58" fmla="*/ 2711 w 3250"/>
                <a:gd name="T59" fmla="*/ 1581 h 1661"/>
                <a:gd name="T60" fmla="*/ 2845 w 3250"/>
                <a:gd name="T61" fmla="*/ 1534 h 1661"/>
                <a:gd name="T62" fmla="*/ 2925 w 3250"/>
                <a:gd name="T63" fmla="*/ 1550 h 1661"/>
                <a:gd name="T64" fmla="*/ 3122 w 3250"/>
                <a:gd name="T65" fmla="*/ 1613 h 1661"/>
                <a:gd name="T66" fmla="*/ 3241 w 3250"/>
                <a:gd name="T67" fmla="*/ 1636 h 1661"/>
                <a:gd name="T68" fmla="*/ 16 w 3250"/>
                <a:gd name="T69" fmla="*/ 8 h 1661"/>
                <a:gd name="T70" fmla="*/ 1147 w 3250"/>
                <a:gd name="T71" fmla="*/ 1202 h 1661"/>
                <a:gd name="T72" fmla="*/ 1265 w 3250"/>
                <a:gd name="T73" fmla="*/ 1304 h 1661"/>
                <a:gd name="T74" fmla="*/ 1336 w 3250"/>
                <a:gd name="T75" fmla="*/ 1288 h 1661"/>
                <a:gd name="T76" fmla="*/ 1400 w 3250"/>
                <a:gd name="T77" fmla="*/ 1320 h 1661"/>
                <a:gd name="T78" fmla="*/ 1503 w 3250"/>
                <a:gd name="T79" fmla="*/ 1407 h 1661"/>
                <a:gd name="T80" fmla="*/ 1621 w 3250"/>
                <a:gd name="T81" fmla="*/ 1439 h 1661"/>
                <a:gd name="T82" fmla="*/ 1700 w 3250"/>
                <a:gd name="T83" fmla="*/ 1470 h 1661"/>
                <a:gd name="T84" fmla="*/ 1763 w 3250"/>
                <a:gd name="T85" fmla="*/ 1439 h 1661"/>
                <a:gd name="T86" fmla="*/ 1811 w 3250"/>
                <a:gd name="T87" fmla="*/ 1423 h 1661"/>
                <a:gd name="T88" fmla="*/ 1858 w 3250"/>
                <a:gd name="T89" fmla="*/ 1470 h 1661"/>
                <a:gd name="T90" fmla="*/ 1898 w 3250"/>
                <a:gd name="T91" fmla="*/ 1565 h 1661"/>
                <a:gd name="T92" fmla="*/ 2064 w 3250"/>
                <a:gd name="T93" fmla="*/ 1557 h 1661"/>
                <a:gd name="T94" fmla="*/ 2166 w 3250"/>
                <a:gd name="T95" fmla="*/ 1541 h 1661"/>
                <a:gd name="T96" fmla="*/ 2206 w 3250"/>
                <a:gd name="T97" fmla="*/ 1573 h 1661"/>
                <a:gd name="T98" fmla="*/ 2230 w 3250"/>
                <a:gd name="T99" fmla="*/ 1636 h 1661"/>
                <a:gd name="T100" fmla="*/ 2285 w 3250"/>
                <a:gd name="T101" fmla="*/ 1502 h 1661"/>
                <a:gd name="T102" fmla="*/ 2356 w 3250"/>
                <a:gd name="T103" fmla="*/ 1581 h 1661"/>
                <a:gd name="T104" fmla="*/ 2529 w 3250"/>
                <a:gd name="T105" fmla="*/ 1660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50" h="1661">
                  <a:moveTo>
                    <a:pt x="2529" y="1660"/>
                  </a:moveTo>
                  <a:lnTo>
                    <a:pt x="2529" y="1660"/>
                  </a:lnTo>
                  <a:cubicBezTo>
                    <a:pt x="2521" y="1660"/>
                    <a:pt x="2513" y="1652"/>
                    <a:pt x="2505" y="1652"/>
                  </a:cubicBezTo>
                  <a:cubicBezTo>
                    <a:pt x="2482" y="1628"/>
                    <a:pt x="2466" y="1613"/>
                    <a:pt x="2434" y="1589"/>
                  </a:cubicBezTo>
                  <a:cubicBezTo>
                    <a:pt x="2434" y="1581"/>
                    <a:pt x="2426" y="1581"/>
                    <a:pt x="2426" y="1573"/>
                  </a:cubicBezTo>
                  <a:cubicBezTo>
                    <a:pt x="2411" y="1557"/>
                    <a:pt x="2395" y="1541"/>
                    <a:pt x="2388" y="1541"/>
                  </a:cubicBezTo>
                  <a:cubicBezTo>
                    <a:pt x="2388" y="1541"/>
                    <a:pt x="2388" y="1541"/>
                    <a:pt x="2380" y="1550"/>
                  </a:cubicBezTo>
                  <a:cubicBezTo>
                    <a:pt x="2380" y="1557"/>
                    <a:pt x="2380" y="1557"/>
                    <a:pt x="2380" y="1557"/>
                  </a:cubicBezTo>
                  <a:cubicBezTo>
                    <a:pt x="2372" y="1573"/>
                    <a:pt x="2364" y="1589"/>
                    <a:pt x="2356" y="1589"/>
                  </a:cubicBezTo>
                  <a:cubicBezTo>
                    <a:pt x="2348" y="1589"/>
                    <a:pt x="2348" y="1589"/>
                    <a:pt x="2340" y="1581"/>
                  </a:cubicBezTo>
                  <a:cubicBezTo>
                    <a:pt x="2325" y="1557"/>
                    <a:pt x="2317" y="1550"/>
                    <a:pt x="2301" y="1534"/>
                  </a:cubicBezTo>
                  <a:cubicBezTo>
                    <a:pt x="2293" y="1526"/>
                    <a:pt x="2293" y="1526"/>
                    <a:pt x="2285" y="1518"/>
                  </a:cubicBezTo>
                  <a:cubicBezTo>
                    <a:pt x="2285" y="1510"/>
                    <a:pt x="2285" y="1510"/>
                    <a:pt x="2285" y="1510"/>
                  </a:cubicBezTo>
                  <a:cubicBezTo>
                    <a:pt x="2285" y="1510"/>
                    <a:pt x="2277" y="1510"/>
                    <a:pt x="2277" y="1526"/>
                  </a:cubicBezTo>
                  <a:cubicBezTo>
                    <a:pt x="2269" y="1534"/>
                    <a:pt x="2269" y="1541"/>
                    <a:pt x="2262" y="1550"/>
                  </a:cubicBezTo>
                  <a:cubicBezTo>
                    <a:pt x="2253" y="1557"/>
                    <a:pt x="2253" y="1565"/>
                    <a:pt x="2253" y="1581"/>
                  </a:cubicBezTo>
                  <a:cubicBezTo>
                    <a:pt x="2253" y="1605"/>
                    <a:pt x="2246" y="1644"/>
                    <a:pt x="2230" y="1644"/>
                  </a:cubicBezTo>
                  <a:cubicBezTo>
                    <a:pt x="2230" y="1644"/>
                    <a:pt x="2230" y="1644"/>
                    <a:pt x="2230" y="1636"/>
                  </a:cubicBezTo>
                  <a:cubicBezTo>
                    <a:pt x="2222" y="1636"/>
                    <a:pt x="2222" y="1636"/>
                    <a:pt x="2222" y="1636"/>
                  </a:cubicBezTo>
                  <a:cubicBezTo>
                    <a:pt x="2206" y="1636"/>
                    <a:pt x="2190" y="1628"/>
                    <a:pt x="2190" y="1597"/>
                  </a:cubicBezTo>
                  <a:cubicBezTo>
                    <a:pt x="2198" y="1589"/>
                    <a:pt x="2198" y="1581"/>
                    <a:pt x="2198" y="1573"/>
                  </a:cubicBezTo>
                  <a:cubicBezTo>
                    <a:pt x="2198" y="1565"/>
                    <a:pt x="2206" y="1550"/>
                    <a:pt x="2206" y="1550"/>
                  </a:cubicBezTo>
                  <a:cubicBezTo>
                    <a:pt x="2198" y="1550"/>
                    <a:pt x="2198" y="1550"/>
                    <a:pt x="2198" y="1550"/>
                  </a:cubicBezTo>
                  <a:cubicBezTo>
                    <a:pt x="2198" y="1550"/>
                    <a:pt x="2198" y="1550"/>
                    <a:pt x="2190" y="1550"/>
                  </a:cubicBezTo>
                  <a:cubicBezTo>
                    <a:pt x="2182" y="1550"/>
                    <a:pt x="2174" y="1550"/>
                    <a:pt x="2166" y="1550"/>
                  </a:cubicBezTo>
                  <a:cubicBezTo>
                    <a:pt x="2119" y="1550"/>
                    <a:pt x="2111" y="1557"/>
                    <a:pt x="2111" y="1557"/>
                  </a:cubicBezTo>
                  <a:cubicBezTo>
                    <a:pt x="2111" y="1573"/>
                    <a:pt x="2103" y="1581"/>
                    <a:pt x="2087" y="1581"/>
                  </a:cubicBezTo>
                  <a:cubicBezTo>
                    <a:pt x="2080" y="1581"/>
                    <a:pt x="2072" y="1573"/>
                    <a:pt x="2064" y="1565"/>
                  </a:cubicBezTo>
                  <a:lnTo>
                    <a:pt x="2064" y="1565"/>
                  </a:lnTo>
                  <a:cubicBezTo>
                    <a:pt x="2048" y="1550"/>
                    <a:pt x="2040" y="1534"/>
                    <a:pt x="2016" y="1526"/>
                  </a:cubicBezTo>
                  <a:cubicBezTo>
                    <a:pt x="1985" y="1518"/>
                    <a:pt x="1961" y="1526"/>
                    <a:pt x="1953" y="1541"/>
                  </a:cubicBezTo>
                  <a:cubicBezTo>
                    <a:pt x="1945" y="1557"/>
                    <a:pt x="1922" y="1581"/>
                    <a:pt x="1906" y="1581"/>
                  </a:cubicBezTo>
                  <a:cubicBezTo>
                    <a:pt x="1898" y="1581"/>
                    <a:pt x="1890" y="1581"/>
                    <a:pt x="1890" y="1573"/>
                  </a:cubicBezTo>
                  <a:cubicBezTo>
                    <a:pt x="1890" y="1557"/>
                    <a:pt x="1890" y="1541"/>
                    <a:pt x="1890" y="1534"/>
                  </a:cubicBezTo>
                  <a:cubicBezTo>
                    <a:pt x="1890" y="1518"/>
                    <a:pt x="1890" y="1502"/>
                    <a:pt x="1874" y="1502"/>
                  </a:cubicBezTo>
                  <a:lnTo>
                    <a:pt x="1866" y="1494"/>
                  </a:lnTo>
                  <a:cubicBezTo>
                    <a:pt x="1850" y="1494"/>
                    <a:pt x="1850" y="1494"/>
                    <a:pt x="1850" y="1470"/>
                  </a:cubicBezTo>
                  <a:lnTo>
                    <a:pt x="1850" y="1463"/>
                  </a:lnTo>
                  <a:cubicBezTo>
                    <a:pt x="1850" y="1447"/>
                    <a:pt x="1850" y="1439"/>
                    <a:pt x="1842" y="1439"/>
                  </a:cubicBezTo>
                  <a:lnTo>
                    <a:pt x="1834" y="1431"/>
                  </a:lnTo>
                  <a:cubicBezTo>
                    <a:pt x="1819" y="1431"/>
                    <a:pt x="1811" y="1431"/>
                    <a:pt x="1803" y="1431"/>
                  </a:cubicBezTo>
                  <a:cubicBezTo>
                    <a:pt x="1803" y="1431"/>
                    <a:pt x="1795" y="1431"/>
                    <a:pt x="1787" y="1431"/>
                  </a:cubicBezTo>
                  <a:cubicBezTo>
                    <a:pt x="1779" y="1431"/>
                    <a:pt x="1779" y="1431"/>
                    <a:pt x="1779" y="1439"/>
                  </a:cubicBezTo>
                  <a:lnTo>
                    <a:pt x="1771" y="1447"/>
                  </a:lnTo>
                  <a:cubicBezTo>
                    <a:pt x="1771" y="1447"/>
                    <a:pt x="1763" y="1447"/>
                    <a:pt x="1763" y="1439"/>
                  </a:cubicBezTo>
                  <a:lnTo>
                    <a:pt x="1755" y="1439"/>
                  </a:lnTo>
                  <a:cubicBezTo>
                    <a:pt x="1755" y="1439"/>
                    <a:pt x="1747" y="1439"/>
                    <a:pt x="1747" y="1455"/>
                  </a:cubicBezTo>
                  <a:cubicBezTo>
                    <a:pt x="1740" y="1478"/>
                    <a:pt x="1724" y="1486"/>
                    <a:pt x="1708" y="1486"/>
                  </a:cubicBezTo>
                  <a:cubicBezTo>
                    <a:pt x="1700" y="1486"/>
                    <a:pt x="1692" y="1486"/>
                    <a:pt x="1692" y="1470"/>
                  </a:cubicBezTo>
                  <a:cubicBezTo>
                    <a:pt x="1692" y="1470"/>
                    <a:pt x="1692" y="1470"/>
                    <a:pt x="1692" y="1463"/>
                  </a:cubicBezTo>
                  <a:cubicBezTo>
                    <a:pt x="1692" y="1447"/>
                    <a:pt x="1684" y="1439"/>
                    <a:pt x="1661" y="1439"/>
                  </a:cubicBezTo>
                  <a:cubicBezTo>
                    <a:pt x="1645" y="1431"/>
                    <a:pt x="1637" y="1439"/>
                    <a:pt x="1621" y="1439"/>
                  </a:cubicBezTo>
                  <a:cubicBezTo>
                    <a:pt x="1613" y="1447"/>
                    <a:pt x="1605" y="1447"/>
                    <a:pt x="1597" y="1447"/>
                  </a:cubicBezTo>
                  <a:cubicBezTo>
                    <a:pt x="1582" y="1447"/>
                    <a:pt x="1574" y="1447"/>
                    <a:pt x="1566" y="1439"/>
                  </a:cubicBezTo>
                  <a:lnTo>
                    <a:pt x="1566" y="1439"/>
                  </a:lnTo>
                  <a:lnTo>
                    <a:pt x="1566" y="1439"/>
                  </a:lnTo>
                  <a:cubicBezTo>
                    <a:pt x="1566" y="1439"/>
                    <a:pt x="1558" y="1407"/>
                    <a:pt x="1518" y="1415"/>
                  </a:cubicBezTo>
                  <a:cubicBezTo>
                    <a:pt x="1510" y="1415"/>
                    <a:pt x="1503" y="1415"/>
                    <a:pt x="1503" y="1415"/>
                  </a:cubicBezTo>
                  <a:cubicBezTo>
                    <a:pt x="1479" y="1415"/>
                    <a:pt x="1471" y="1407"/>
                    <a:pt x="1455" y="1399"/>
                  </a:cubicBezTo>
                  <a:cubicBezTo>
                    <a:pt x="1447" y="1399"/>
                    <a:pt x="1439" y="1399"/>
                    <a:pt x="1431" y="1391"/>
                  </a:cubicBezTo>
                  <a:cubicBezTo>
                    <a:pt x="1408" y="1391"/>
                    <a:pt x="1400" y="1368"/>
                    <a:pt x="1400" y="1352"/>
                  </a:cubicBezTo>
                  <a:cubicBezTo>
                    <a:pt x="1400" y="1336"/>
                    <a:pt x="1400" y="1328"/>
                    <a:pt x="1392" y="1320"/>
                  </a:cubicBezTo>
                  <a:cubicBezTo>
                    <a:pt x="1392" y="1312"/>
                    <a:pt x="1392" y="1312"/>
                    <a:pt x="1392" y="1312"/>
                  </a:cubicBezTo>
                  <a:cubicBezTo>
                    <a:pt x="1384" y="1297"/>
                    <a:pt x="1368" y="1273"/>
                    <a:pt x="1360" y="1273"/>
                  </a:cubicBezTo>
                  <a:cubicBezTo>
                    <a:pt x="1352" y="1273"/>
                    <a:pt x="1352" y="1273"/>
                    <a:pt x="1352" y="1273"/>
                  </a:cubicBezTo>
                  <a:cubicBezTo>
                    <a:pt x="1344" y="1281"/>
                    <a:pt x="1344" y="1281"/>
                    <a:pt x="1344" y="1288"/>
                  </a:cubicBezTo>
                  <a:cubicBezTo>
                    <a:pt x="1336" y="1304"/>
                    <a:pt x="1336" y="1312"/>
                    <a:pt x="1321" y="1312"/>
                  </a:cubicBezTo>
                  <a:cubicBezTo>
                    <a:pt x="1313" y="1312"/>
                    <a:pt x="1305" y="1312"/>
                    <a:pt x="1305" y="1312"/>
                  </a:cubicBezTo>
                  <a:cubicBezTo>
                    <a:pt x="1297" y="1304"/>
                    <a:pt x="1289" y="1304"/>
                    <a:pt x="1281" y="1304"/>
                  </a:cubicBezTo>
                  <a:cubicBezTo>
                    <a:pt x="1273" y="1304"/>
                    <a:pt x="1273" y="1312"/>
                    <a:pt x="1265" y="1312"/>
                  </a:cubicBezTo>
                  <a:cubicBezTo>
                    <a:pt x="1257" y="1312"/>
                    <a:pt x="1257" y="1312"/>
                    <a:pt x="1250" y="1312"/>
                  </a:cubicBezTo>
                  <a:cubicBezTo>
                    <a:pt x="1242" y="1312"/>
                    <a:pt x="1234" y="1312"/>
                    <a:pt x="1218" y="1297"/>
                  </a:cubicBezTo>
                  <a:cubicBezTo>
                    <a:pt x="1202" y="1288"/>
                    <a:pt x="1186" y="1265"/>
                    <a:pt x="1178" y="1249"/>
                  </a:cubicBezTo>
                  <a:cubicBezTo>
                    <a:pt x="1170" y="1233"/>
                    <a:pt x="1163" y="1225"/>
                    <a:pt x="1147" y="1210"/>
                  </a:cubicBezTo>
                  <a:cubicBezTo>
                    <a:pt x="1107" y="1194"/>
                    <a:pt x="1123" y="411"/>
                    <a:pt x="1123" y="308"/>
                  </a:cubicBezTo>
                  <a:cubicBezTo>
                    <a:pt x="0" y="245"/>
                    <a:pt x="0" y="245"/>
                    <a:pt x="0" y="245"/>
                  </a:cubicBezTo>
                  <a:cubicBezTo>
                    <a:pt x="8" y="0"/>
                    <a:pt x="8" y="0"/>
                    <a:pt x="8" y="0"/>
                  </a:cubicBezTo>
                  <a:lnTo>
                    <a:pt x="8" y="0"/>
                  </a:lnTo>
                  <a:cubicBezTo>
                    <a:pt x="839" y="47"/>
                    <a:pt x="1692" y="71"/>
                    <a:pt x="2569" y="71"/>
                  </a:cubicBezTo>
                  <a:cubicBezTo>
                    <a:pt x="2758" y="71"/>
                    <a:pt x="2948" y="71"/>
                    <a:pt x="3138" y="71"/>
                  </a:cubicBezTo>
                  <a:cubicBezTo>
                    <a:pt x="3146" y="71"/>
                    <a:pt x="3146" y="71"/>
                    <a:pt x="3146" y="71"/>
                  </a:cubicBezTo>
                  <a:lnTo>
                    <a:pt x="3146" y="71"/>
                  </a:lnTo>
                  <a:cubicBezTo>
                    <a:pt x="3146" y="71"/>
                    <a:pt x="3154" y="380"/>
                    <a:pt x="3249" y="751"/>
                  </a:cubicBezTo>
                  <a:lnTo>
                    <a:pt x="3249" y="751"/>
                  </a:lnTo>
                  <a:cubicBezTo>
                    <a:pt x="3249" y="1644"/>
                    <a:pt x="3249" y="1644"/>
                    <a:pt x="3249" y="1644"/>
                  </a:cubicBezTo>
                  <a:lnTo>
                    <a:pt x="3249" y="1644"/>
                  </a:lnTo>
                  <a:cubicBezTo>
                    <a:pt x="3241" y="1644"/>
                    <a:pt x="3241" y="1644"/>
                    <a:pt x="3233" y="1652"/>
                  </a:cubicBezTo>
                  <a:cubicBezTo>
                    <a:pt x="3225" y="1652"/>
                    <a:pt x="3225" y="1660"/>
                    <a:pt x="3201" y="1660"/>
                  </a:cubicBezTo>
                  <a:cubicBezTo>
                    <a:pt x="3169" y="1660"/>
                    <a:pt x="3146" y="1636"/>
                    <a:pt x="3138" y="1628"/>
                  </a:cubicBezTo>
                  <a:cubicBezTo>
                    <a:pt x="3130" y="1621"/>
                    <a:pt x="3130" y="1621"/>
                    <a:pt x="3122" y="1621"/>
                  </a:cubicBezTo>
                  <a:cubicBezTo>
                    <a:pt x="3106" y="1613"/>
                    <a:pt x="3083" y="1605"/>
                    <a:pt x="3059" y="1573"/>
                  </a:cubicBezTo>
                  <a:cubicBezTo>
                    <a:pt x="3019" y="1526"/>
                    <a:pt x="2996" y="1510"/>
                    <a:pt x="2972" y="1510"/>
                  </a:cubicBezTo>
                  <a:cubicBezTo>
                    <a:pt x="2956" y="1518"/>
                    <a:pt x="2948" y="1526"/>
                    <a:pt x="2940" y="1541"/>
                  </a:cubicBezTo>
                  <a:cubicBezTo>
                    <a:pt x="2932" y="1541"/>
                    <a:pt x="2932" y="1550"/>
                    <a:pt x="2932" y="1550"/>
                  </a:cubicBezTo>
                  <a:cubicBezTo>
                    <a:pt x="2932" y="1550"/>
                    <a:pt x="2932" y="1557"/>
                    <a:pt x="2925" y="1557"/>
                  </a:cubicBezTo>
                  <a:cubicBezTo>
                    <a:pt x="2916" y="1565"/>
                    <a:pt x="2909" y="1581"/>
                    <a:pt x="2893" y="1581"/>
                  </a:cubicBezTo>
                  <a:cubicBezTo>
                    <a:pt x="2885" y="1581"/>
                    <a:pt x="2877" y="1573"/>
                    <a:pt x="2869" y="1565"/>
                  </a:cubicBezTo>
                  <a:cubicBezTo>
                    <a:pt x="2853" y="1557"/>
                    <a:pt x="2845" y="1550"/>
                    <a:pt x="2838" y="1541"/>
                  </a:cubicBezTo>
                  <a:cubicBezTo>
                    <a:pt x="2838" y="1534"/>
                    <a:pt x="2830" y="1526"/>
                    <a:pt x="2822" y="1526"/>
                  </a:cubicBezTo>
                  <a:cubicBezTo>
                    <a:pt x="2806" y="1526"/>
                    <a:pt x="2766" y="1526"/>
                    <a:pt x="2758" y="1550"/>
                  </a:cubicBezTo>
                  <a:cubicBezTo>
                    <a:pt x="2751" y="1573"/>
                    <a:pt x="2743" y="1597"/>
                    <a:pt x="2727" y="1597"/>
                  </a:cubicBezTo>
                  <a:cubicBezTo>
                    <a:pt x="2719" y="1597"/>
                    <a:pt x="2711" y="1597"/>
                    <a:pt x="2703" y="1589"/>
                  </a:cubicBezTo>
                  <a:cubicBezTo>
                    <a:pt x="2695" y="1581"/>
                    <a:pt x="2687" y="1573"/>
                    <a:pt x="2687" y="1565"/>
                  </a:cubicBezTo>
                  <a:cubicBezTo>
                    <a:pt x="2687" y="1557"/>
                    <a:pt x="2679" y="1557"/>
                    <a:pt x="2679" y="1557"/>
                  </a:cubicBezTo>
                  <a:cubicBezTo>
                    <a:pt x="2672" y="1557"/>
                    <a:pt x="2672" y="1557"/>
                    <a:pt x="2664" y="1557"/>
                  </a:cubicBezTo>
                  <a:cubicBezTo>
                    <a:pt x="2624" y="1573"/>
                    <a:pt x="2600" y="1589"/>
                    <a:pt x="2576" y="1613"/>
                  </a:cubicBezTo>
                  <a:cubicBezTo>
                    <a:pt x="2576" y="1621"/>
                    <a:pt x="2576" y="1621"/>
                    <a:pt x="2576" y="1621"/>
                  </a:cubicBezTo>
                  <a:cubicBezTo>
                    <a:pt x="2561" y="1644"/>
                    <a:pt x="2545" y="1660"/>
                    <a:pt x="2529" y="1660"/>
                  </a:cubicBezTo>
                  <a:lnTo>
                    <a:pt x="2388" y="1534"/>
                  </a:lnTo>
                  <a:lnTo>
                    <a:pt x="2388" y="1534"/>
                  </a:lnTo>
                  <a:cubicBezTo>
                    <a:pt x="2395" y="1534"/>
                    <a:pt x="2411" y="1550"/>
                    <a:pt x="2426" y="1565"/>
                  </a:cubicBezTo>
                  <a:cubicBezTo>
                    <a:pt x="2434" y="1573"/>
                    <a:pt x="2434" y="1573"/>
                    <a:pt x="2442" y="1581"/>
                  </a:cubicBezTo>
                  <a:cubicBezTo>
                    <a:pt x="2466" y="1605"/>
                    <a:pt x="2482" y="1628"/>
                    <a:pt x="2513" y="1644"/>
                  </a:cubicBezTo>
                  <a:cubicBezTo>
                    <a:pt x="2521" y="1652"/>
                    <a:pt x="2521" y="1652"/>
                    <a:pt x="2529" y="1652"/>
                  </a:cubicBezTo>
                  <a:cubicBezTo>
                    <a:pt x="2545" y="1652"/>
                    <a:pt x="2553" y="1636"/>
                    <a:pt x="2569" y="1621"/>
                  </a:cubicBezTo>
                  <a:cubicBezTo>
                    <a:pt x="2569" y="1613"/>
                    <a:pt x="2569" y="1613"/>
                    <a:pt x="2576" y="1613"/>
                  </a:cubicBezTo>
                  <a:cubicBezTo>
                    <a:pt x="2592" y="1589"/>
                    <a:pt x="2624" y="1565"/>
                    <a:pt x="2664" y="1557"/>
                  </a:cubicBezTo>
                  <a:cubicBezTo>
                    <a:pt x="2664" y="1550"/>
                    <a:pt x="2672" y="1550"/>
                    <a:pt x="2679" y="1550"/>
                  </a:cubicBezTo>
                  <a:cubicBezTo>
                    <a:pt x="2687" y="1550"/>
                    <a:pt x="2687" y="1557"/>
                    <a:pt x="2695" y="1565"/>
                  </a:cubicBezTo>
                  <a:cubicBezTo>
                    <a:pt x="2695" y="1565"/>
                    <a:pt x="2703" y="1573"/>
                    <a:pt x="2711" y="1581"/>
                  </a:cubicBezTo>
                  <a:cubicBezTo>
                    <a:pt x="2711" y="1589"/>
                    <a:pt x="2719" y="1589"/>
                    <a:pt x="2727" y="1589"/>
                  </a:cubicBezTo>
                  <a:cubicBezTo>
                    <a:pt x="2735" y="1589"/>
                    <a:pt x="2751" y="1565"/>
                    <a:pt x="2751" y="1550"/>
                  </a:cubicBezTo>
                  <a:cubicBezTo>
                    <a:pt x="2758" y="1518"/>
                    <a:pt x="2798" y="1518"/>
                    <a:pt x="2822" y="1518"/>
                  </a:cubicBezTo>
                  <a:cubicBezTo>
                    <a:pt x="2838" y="1518"/>
                    <a:pt x="2838" y="1526"/>
                    <a:pt x="2845" y="1534"/>
                  </a:cubicBezTo>
                  <a:cubicBezTo>
                    <a:pt x="2853" y="1541"/>
                    <a:pt x="2853" y="1550"/>
                    <a:pt x="2869" y="1565"/>
                  </a:cubicBezTo>
                  <a:cubicBezTo>
                    <a:pt x="2877" y="1573"/>
                    <a:pt x="2885" y="1573"/>
                    <a:pt x="2893" y="1573"/>
                  </a:cubicBezTo>
                  <a:cubicBezTo>
                    <a:pt x="2909" y="1573"/>
                    <a:pt x="2916" y="1557"/>
                    <a:pt x="2925" y="1550"/>
                  </a:cubicBezTo>
                  <a:lnTo>
                    <a:pt x="2925" y="1550"/>
                  </a:lnTo>
                  <a:cubicBezTo>
                    <a:pt x="2925" y="1541"/>
                    <a:pt x="2932" y="1541"/>
                    <a:pt x="2932" y="1541"/>
                  </a:cubicBezTo>
                  <a:cubicBezTo>
                    <a:pt x="2940" y="1526"/>
                    <a:pt x="2956" y="1510"/>
                    <a:pt x="2972" y="1502"/>
                  </a:cubicBezTo>
                  <a:cubicBezTo>
                    <a:pt x="2996" y="1502"/>
                    <a:pt x="3019" y="1518"/>
                    <a:pt x="3059" y="1565"/>
                  </a:cubicBezTo>
                  <a:cubicBezTo>
                    <a:pt x="3091" y="1605"/>
                    <a:pt x="3106" y="1605"/>
                    <a:pt x="3122" y="1613"/>
                  </a:cubicBezTo>
                  <a:cubicBezTo>
                    <a:pt x="3130" y="1613"/>
                    <a:pt x="3138" y="1613"/>
                    <a:pt x="3138" y="1621"/>
                  </a:cubicBezTo>
                  <a:cubicBezTo>
                    <a:pt x="3154" y="1628"/>
                    <a:pt x="3169" y="1652"/>
                    <a:pt x="3201" y="1652"/>
                  </a:cubicBezTo>
                  <a:cubicBezTo>
                    <a:pt x="3217" y="1652"/>
                    <a:pt x="3225" y="1644"/>
                    <a:pt x="3233" y="1644"/>
                  </a:cubicBezTo>
                  <a:lnTo>
                    <a:pt x="3241" y="1636"/>
                  </a:lnTo>
                  <a:cubicBezTo>
                    <a:pt x="3241" y="751"/>
                    <a:pt x="3241" y="751"/>
                    <a:pt x="3241" y="751"/>
                  </a:cubicBezTo>
                  <a:cubicBezTo>
                    <a:pt x="3154" y="403"/>
                    <a:pt x="3138" y="111"/>
                    <a:pt x="3138" y="71"/>
                  </a:cubicBezTo>
                  <a:cubicBezTo>
                    <a:pt x="2948" y="79"/>
                    <a:pt x="2751" y="79"/>
                    <a:pt x="2569" y="79"/>
                  </a:cubicBezTo>
                  <a:cubicBezTo>
                    <a:pt x="1700" y="79"/>
                    <a:pt x="839" y="55"/>
                    <a:pt x="16" y="8"/>
                  </a:cubicBezTo>
                  <a:cubicBezTo>
                    <a:pt x="8" y="245"/>
                    <a:pt x="8" y="245"/>
                    <a:pt x="8" y="245"/>
                  </a:cubicBezTo>
                  <a:cubicBezTo>
                    <a:pt x="1131" y="300"/>
                    <a:pt x="1131" y="300"/>
                    <a:pt x="1131" y="300"/>
                  </a:cubicBezTo>
                  <a:lnTo>
                    <a:pt x="1131" y="300"/>
                  </a:lnTo>
                  <a:cubicBezTo>
                    <a:pt x="1123" y="656"/>
                    <a:pt x="1123" y="1186"/>
                    <a:pt x="1147" y="1202"/>
                  </a:cubicBezTo>
                  <a:cubicBezTo>
                    <a:pt x="1163" y="1217"/>
                    <a:pt x="1178" y="1233"/>
                    <a:pt x="1186" y="1249"/>
                  </a:cubicBezTo>
                  <a:cubicBezTo>
                    <a:pt x="1194" y="1265"/>
                    <a:pt x="1210" y="1281"/>
                    <a:pt x="1226" y="1297"/>
                  </a:cubicBezTo>
                  <a:cubicBezTo>
                    <a:pt x="1234" y="1304"/>
                    <a:pt x="1242" y="1304"/>
                    <a:pt x="1250" y="1304"/>
                  </a:cubicBezTo>
                  <a:cubicBezTo>
                    <a:pt x="1257" y="1304"/>
                    <a:pt x="1257" y="1304"/>
                    <a:pt x="1265" y="1304"/>
                  </a:cubicBezTo>
                  <a:cubicBezTo>
                    <a:pt x="1273" y="1304"/>
                    <a:pt x="1273" y="1297"/>
                    <a:pt x="1281" y="1297"/>
                  </a:cubicBezTo>
                  <a:cubicBezTo>
                    <a:pt x="1289" y="1297"/>
                    <a:pt x="1297" y="1297"/>
                    <a:pt x="1305" y="1304"/>
                  </a:cubicBezTo>
                  <a:cubicBezTo>
                    <a:pt x="1313" y="1304"/>
                    <a:pt x="1313" y="1304"/>
                    <a:pt x="1321" y="1304"/>
                  </a:cubicBezTo>
                  <a:cubicBezTo>
                    <a:pt x="1329" y="1304"/>
                    <a:pt x="1329" y="1297"/>
                    <a:pt x="1336" y="1288"/>
                  </a:cubicBezTo>
                  <a:cubicBezTo>
                    <a:pt x="1336" y="1281"/>
                    <a:pt x="1336" y="1273"/>
                    <a:pt x="1352" y="1265"/>
                  </a:cubicBezTo>
                  <a:cubicBezTo>
                    <a:pt x="1352" y="1265"/>
                    <a:pt x="1352" y="1265"/>
                    <a:pt x="1360" y="1265"/>
                  </a:cubicBezTo>
                  <a:cubicBezTo>
                    <a:pt x="1376" y="1265"/>
                    <a:pt x="1384" y="1288"/>
                    <a:pt x="1400" y="1312"/>
                  </a:cubicBezTo>
                  <a:cubicBezTo>
                    <a:pt x="1400" y="1320"/>
                    <a:pt x="1400" y="1320"/>
                    <a:pt x="1400" y="1320"/>
                  </a:cubicBezTo>
                  <a:cubicBezTo>
                    <a:pt x="1408" y="1328"/>
                    <a:pt x="1408" y="1336"/>
                    <a:pt x="1408" y="1344"/>
                  </a:cubicBezTo>
                  <a:cubicBezTo>
                    <a:pt x="1408" y="1368"/>
                    <a:pt x="1416" y="1383"/>
                    <a:pt x="1431" y="1383"/>
                  </a:cubicBezTo>
                  <a:cubicBezTo>
                    <a:pt x="1439" y="1391"/>
                    <a:pt x="1455" y="1391"/>
                    <a:pt x="1455" y="1399"/>
                  </a:cubicBezTo>
                  <a:cubicBezTo>
                    <a:pt x="1471" y="1399"/>
                    <a:pt x="1479" y="1407"/>
                    <a:pt x="1503" y="1407"/>
                  </a:cubicBezTo>
                  <a:cubicBezTo>
                    <a:pt x="1503" y="1407"/>
                    <a:pt x="1510" y="1407"/>
                    <a:pt x="1518" y="1407"/>
                  </a:cubicBezTo>
                  <a:cubicBezTo>
                    <a:pt x="1558" y="1399"/>
                    <a:pt x="1574" y="1431"/>
                    <a:pt x="1574" y="1431"/>
                  </a:cubicBezTo>
                  <a:cubicBezTo>
                    <a:pt x="1582" y="1439"/>
                    <a:pt x="1589" y="1439"/>
                    <a:pt x="1597" y="1439"/>
                  </a:cubicBezTo>
                  <a:cubicBezTo>
                    <a:pt x="1605" y="1439"/>
                    <a:pt x="1613" y="1439"/>
                    <a:pt x="1621" y="1439"/>
                  </a:cubicBezTo>
                  <a:cubicBezTo>
                    <a:pt x="1629" y="1431"/>
                    <a:pt x="1637" y="1431"/>
                    <a:pt x="1653" y="1431"/>
                  </a:cubicBezTo>
                  <a:lnTo>
                    <a:pt x="1661" y="1431"/>
                  </a:lnTo>
                  <a:cubicBezTo>
                    <a:pt x="1692" y="1431"/>
                    <a:pt x="1692" y="1447"/>
                    <a:pt x="1700" y="1463"/>
                  </a:cubicBezTo>
                  <a:cubicBezTo>
                    <a:pt x="1700" y="1470"/>
                    <a:pt x="1700" y="1470"/>
                    <a:pt x="1700" y="1470"/>
                  </a:cubicBezTo>
                  <a:cubicBezTo>
                    <a:pt x="1700" y="1478"/>
                    <a:pt x="1700" y="1478"/>
                    <a:pt x="1708" y="1478"/>
                  </a:cubicBezTo>
                  <a:cubicBezTo>
                    <a:pt x="1716" y="1478"/>
                    <a:pt x="1732" y="1470"/>
                    <a:pt x="1740" y="1455"/>
                  </a:cubicBezTo>
                  <a:cubicBezTo>
                    <a:pt x="1740" y="1439"/>
                    <a:pt x="1747" y="1431"/>
                    <a:pt x="1755" y="1431"/>
                  </a:cubicBezTo>
                  <a:cubicBezTo>
                    <a:pt x="1755" y="1431"/>
                    <a:pt x="1763" y="1431"/>
                    <a:pt x="1763" y="1439"/>
                  </a:cubicBezTo>
                  <a:lnTo>
                    <a:pt x="1771" y="1439"/>
                  </a:lnTo>
                  <a:lnTo>
                    <a:pt x="1771" y="1439"/>
                  </a:lnTo>
                  <a:cubicBezTo>
                    <a:pt x="1771" y="1423"/>
                    <a:pt x="1787" y="1423"/>
                    <a:pt x="1787" y="1423"/>
                  </a:cubicBezTo>
                  <a:cubicBezTo>
                    <a:pt x="1795" y="1423"/>
                    <a:pt x="1803" y="1423"/>
                    <a:pt x="1811" y="1423"/>
                  </a:cubicBezTo>
                  <a:cubicBezTo>
                    <a:pt x="1811" y="1423"/>
                    <a:pt x="1827" y="1423"/>
                    <a:pt x="1834" y="1423"/>
                  </a:cubicBezTo>
                  <a:cubicBezTo>
                    <a:pt x="1842" y="1423"/>
                    <a:pt x="1850" y="1431"/>
                    <a:pt x="1850" y="1431"/>
                  </a:cubicBezTo>
                  <a:cubicBezTo>
                    <a:pt x="1858" y="1439"/>
                    <a:pt x="1858" y="1447"/>
                    <a:pt x="1858" y="1463"/>
                  </a:cubicBezTo>
                  <a:lnTo>
                    <a:pt x="1858" y="1470"/>
                  </a:lnTo>
                  <a:cubicBezTo>
                    <a:pt x="1858" y="1486"/>
                    <a:pt x="1858" y="1486"/>
                    <a:pt x="1866" y="1486"/>
                  </a:cubicBezTo>
                  <a:cubicBezTo>
                    <a:pt x="1874" y="1494"/>
                    <a:pt x="1874" y="1494"/>
                    <a:pt x="1882" y="1494"/>
                  </a:cubicBezTo>
                  <a:cubicBezTo>
                    <a:pt x="1898" y="1502"/>
                    <a:pt x="1898" y="1518"/>
                    <a:pt x="1898" y="1534"/>
                  </a:cubicBezTo>
                  <a:cubicBezTo>
                    <a:pt x="1898" y="1541"/>
                    <a:pt x="1890" y="1557"/>
                    <a:pt x="1898" y="1565"/>
                  </a:cubicBezTo>
                  <a:cubicBezTo>
                    <a:pt x="1898" y="1573"/>
                    <a:pt x="1906" y="1573"/>
                    <a:pt x="1906" y="1573"/>
                  </a:cubicBezTo>
                  <a:cubicBezTo>
                    <a:pt x="1914" y="1573"/>
                    <a:pt x="1937" y="1557"/>
                    <a:pt x="1945" y="1541"/>
                  </a:cubicBezTo>
                  <a:cubicBezTo>
                    <a:pt x="1961" y="1518"/>
                    <a:pt x="1985" y="1510"/>
                    <a:pt x="2016" y="1518"/>
                  </a:cubicBezTo>
                  <a:cubicBezTo>
                    <a:pt x="2048" y="1526"/>
                    <a:pt x="2056" y="1541"/>
                    <a:pt x="2064" y="1557"/>
                  </a:cubicBezTo>
                  <a:cubicBezTo>
                    <a:pt x="2072" y="1565"/>
                    <a:pt x="2072" y="1565"/>
                    <a:pt x="2072" y="1565"/>
                  </a:cubicBezTo>
                  <a:cubicBezTo>
                    <a:pt x="2072" y="1573"/>
                    <a:pt x="2080" y="1573"/>
                    <a:pt x="2087" y="1573"/>
                  </a:cubicBezTo>
                  <a:cubicBezTo>
                    <a:pt x="2095" y="1573"/>
                    <a:pt x="2103" y="1573"/>
                    <a:pt x="2103" y="1557"/>
                  </a:cubicBezTo>
                  <a:cubicBezTo>
                    <a:pt x="2103" y="1550"/>
                    <a:pt x="2127" y="1541"/>
                    <a:pt x="2166" y="1541"/>
                  </a:cubicBezTo>
                  <a:cubicBezTo>
                    <a:pt x="2174" y="1541"/>
                    <a:pt x="2182" y="1541"/>
                    <a:pt x="2190" y="1541"/>
                  </a:cubicBezTo>
                  <a:cubicBezTo>
                    <a:pt x="2198" y="1541"/>
                    <a:pt x="2198" y="1541"/>
                    <a:pt x="2198" y="1541"/>
                  </a:cubicBezTo>
                  <a:cubicBezTo>
                    <a:pt x="2206" y="1541"/>
                    <a:pt x="2206" y="1541"/>
                    <a:pt x="2206" y="1550"/>
                  </a:cubicBezTo>
                  <a:cubicBezTo>
                    <a:pt x="2214" y="1550"/>
                    <a:pt x="2206" y="1557"/>
                    <a:pt x="2206" y="1573"/>
                  </a:cubicBezTo>
                  <a:cubicBezTo>
                    <a:pt x="2206" y="1581"/>
                    <a:pt x="2206" y="1589"/>
                    <a:pt x="2198" y="1597"/>
                  </a:cubicBezTo>
                  <a:cubicBezTo>
                    <a:pt x="2198" y="1621"/>
                    <a:pt x="2206" y="1628"/>
                    <a:pt x="2222" y="1628"/>
                  </a:cubicBezTo>
                  <a:cubicBezTo>
                    <a:pt x="2222" y="1628"/>
                    <a:pt x="2230" y="1628"/>
                    <a:pt x="2230" y="1636"/>
                  </a:cubicBezTo>
                  <a:lnTo>
                    <a:pt x="2230" y="1636"/>
                  </a:lnTo>
                  <a:cubicBezTo>
                    <a:pt x="2238" y="1636"/>
                    <a:pt x="2246" y="1605"/>
                    <a:pt x="2246" y="1581"/>
                  </a:cubicBezTo>
                  <a:cubicBezTo>
                    <a:pt x="2246" y="1557"/>
                    <a:pt x="2253" y="1557"/>
                    <a:pt x="2253" y="1541"/>
                  </a:cubicBezTo>
                  <a:cubicBezTo>
                    <a:pt x="2262" y="1534"/>
                    <a:pt x="2262" y="1534"/>
                    <a:pt x="2269" y="1518"/>
                  </a:cubicBezTo>
                  <a:cubicBezTo>
                    <a:pt x="2269" y="1510"/>
                    <a:pt x="2277" y="1502"/>
                    <a:pt x="2285" y="1502"/>
                  </a:cubicBezTo>
                  <a:lnTo>
                    <a:pt x="2293" y="1510"/>
                  </a:lnTo>
                  <a:cubicBezTo>
                    <a:pt x="2301" y="1518"/>
                    <a:pt x="2301" y="1526"/>
                    <a:pt x="2301" y="1526"/>
                  </a:cubicBezTo>
                  <a:cubicBezTo>
                    <a:pt x="2317" y="1541"/>
                    <a:pt x="2333" y="1550"/>
                    <a:pt x="2348" y="1573"/>
                  </a:cubicBezTo>
                  <a:cubicBezTo>
                    <a:pt x="2348" y="1581"/>
                    <a:pt x="2356" y="1581"/>
                    <a:pt x="2356" y="1581"/>
                  </a:cubicBezTo>
                  <a:cubicBezTo>
                    <a:pt x="2364" y="1581"/>
                    <a:pt x="2372" y="1565"/>
                    <a:pt x="2372" y="1550"/>
                  </a:cubicBezTo>
                  <a:lnTo>
                    <a:pt x="2372" y="1550"/>
                  </a:lnTo>
                  <a:cubicBezTo>
                    <a:pt x="2380" y="1541"/>
                    <a:pt x="2380" y="1534"/>
                    <a:pt x="2388" y="1534"/>
                  </a:cubicBezTo>
                  <a:lnTo>
                    <a:pt x="2529" y="1660"/>
                  </a:lnTo>
                </a:path>
              </a:pathLst>
            </a:custGeom>
            <a:grpFill/>
            <a:ln>
              <a:solidFill>
                <a:schemeClr val="bg1">
                  <a:lumMod val="95000"/>
                </a:schemeClr>
              </a:solidFill>
            </a:ln>
            <a:effectLst/>
          </p:spPr>
          <p:txBody>
            <a:bodyPr wrap="none" anchor="ctr"/>
            <a:lstStyle/>
            <a:p>
              <a:endParaRPr lang="en-US" sz="900"/>
            </a:p>
          </p:txBody>
        </p:sp>
        <p:sp>
          <p:nvSpPr>
            <p:cNvPr id="19" name="Freeform 47"/>
            <p:cNvSpPr>
              <a:spLocks noChangeArrowheads="1"/>
            </p:cNvSpPr>
            <p:nvPr/>
          </p:nvSpPr>
          <p:spPr bwMode="auto">
            <a:xfrm>
              <a:off x="9636958" y="6520887"/>
              <a:ext cx="1363752" cy="1435651"/>
            </a:xfrm>
            <a:custGeom>
              <a:avLst/>
              <a:gdLst>
                <a:gd name="T0" fmla="*/ 2230 w 2594"/>
                <a:gd name="T1" fmla="*/ 182 h 2729"/>
                <a:gd name="T2" fmla="*/ 2230 w 2594"/>
                <a:gd name="T3" fmla="*/ 182 h 2729"/>
                <a:gd name="T4" fmla="*/ 340 w 2594"/>
                <a:gd name="T5" fmla="*/ 0 h 2729"/>
                <a:gd name="T6" fmla="*/ 0 w 2594"/>
                <a:gd name="T7" fmla="*/ 2664 h 2729"/>
                <a:gd name="T8" fmla="*/ 293 w 2594"/>
                <a:gd name="T9" fmla="*/ 2704 h 2729"/>
                <a:gd name="T10" fmla="*/ 356 w 2594"/>
                <a:gd name="T11" fmla="*/ 2672 h 2729"/>
                <a:gd name="T12" fmla="*/ 372 w 2594"/>
                <a:gd name="T13" fmla="*/ 2546 h 2729"/>
                <a:gd name="T14" fmla="*/ 443 w 2594"/>
                <a:gd name="T15" fmla="*/ 2506 h 2729"/>
                <a:gd name="T16" fmla="*/ 1028 w 2594"/>
                <a:gd name="T17" fmla="*/ 2578 h 2729"/>
                <a:gd name="T18" fmla="*/ 996 w 2594"/>
                <a:gd name="T19" fmla="*/ 2475 h 2729"/>
                <a:gd name="T20" fmla="*/ 2396 w 2594"/>
                <a:gd name="T21" fmla="*/ 2593 h 2729"/>
                <a:gd name="T22" fmla="*/ 2427 w 2594"/>
                <a:gd name="T23" fmla="*/ 2546 h 2729"/>
                <a:gd name="T24" fmla="*/ 2570 w 2594"/>
                <a:gd name="T25" fmla="*/ 451 h 2729"/>
                <a:gd name="T26" fmla="*/ 2593 w 2594"/>
                <a:gd name="T27" fmla="*/ 451 h 2729"/>
                <a:gd name="T28" fmla="*/ 2593 w 2594"/>
                <a:gd name="T29" fmla="*/ 206 h 2729"/>
                <a:gd name="T30" fmla="*/ 2238 w 2594"/>
                <a:gd name="T31" fmla="*/ 182 h 2729"/>
                <a:gd name="T32" fmla="*/ 2230 w 2594"/>
                <a:gd name="T33" fmla="*/ 182 h 2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4" h="2729">
                  <a:moveTo>
                    <a:pt x="2230" y="182"/>
                  </a:moveTo>
                  <a:lnTo>
                    <a:pt x="2230" y="182"/>
                  </a:lnTo>
                  <a:cubicBezTo>
                    <a:pt x="1495" y="135"/>
                    <a:pt x="862" y="72"/>
                    <a:pt x="340" y="0"/>
                  </a:cubicBezTo>
                  <a:cubicBezTo>
                    <a:pt x="0" y="2664"/>
                    <a:pt x="0" y="2664"/>
                    <a:pt x="0" y="2664"/>
                  </a:cubicBezTo>
                  <a:cubicBezTo>
                    <a:pt x="143" y="2672"/>
                    <a:pt x="277" y="2688"/>
                    <a:pt x="293" y="2704"/>
                  </a:cubicBezTo>
                  <a:cubicBezTo>
                    <a:pt x="348" y="2728"/>
                    <a:pt x="356" y="2672"/>
                    <a:pt x="356" y="2672"/>
                  </a:cubicBezTo>
                  <a:cubicBezTo>
                    <a:pt x="356" y="2672"/>
                    <a:pt x="364" y="2601"/>
                    <a:pt x="372" y="2546"/>
                  </a:cubicBezTo>
                  <a:cubicBezTo>
                    <a:pt x="388" y="2483"/>
                    <a:pt x="443" y="2506"/>
                    <a:pt x="443" y="2506"/>
                  </a:cubicBezTo>
                  <a:cubicBezTo>
                    <a:pt x="443" y="2506"/>
                    <a:pt x="894" y="2562"/>
                    <a:pt x="1028" y="2578"/>
                  </a:cubicBezTo>
                  <a:cubicBezTo>
                    <a:pt x="957" y="2435"/>
                    <a:pt x="996" y="2475"/>
                    <a:pt x="996" y="2475"/>
                  </a:cubicBezTo>
                  <a:cubicBezTo>
                    <a:pt x="996" y="2475"/>
                    <a:pt x="2372" y="2593"/>
                    <a:pt x="2396" y="2593"/>
                  </a:cubicBezTo>
                  <a:cubicBezTo>
                    <a:pt x="2427" y="2593"/>
                    <a:pt x="2427" y="2546"/>
                    <a:pt x="2427" y="2546"/>
                  </a:cubicBezTo>
                  <a:cubicBezTo>
                    <a:pt x="2570" y="451"/>
                    <a:pt x="2570" y="451"/>
                    <a:pt x="2570" y="451"/>
                  </a:cubicBezTo>
                  <a:cubicBezTo>
                    <a:pt x="2593" y="451"/>
                    <a:pt x="2593" y="451"/>
                    <a:pt x="2593" y="451"/>
                  </a:cubicBezTo>
                  <a:cubicBezTo>
                    <a:pt x="2593" y="206"/>
                    <a:pt x="2593" y="206"/>
                    <a:pt x="2593" y="206"/>
                  </a:cubicBezTo>
                  <a:cubicBezTo>
                    <a:pt x="2475" y="198"/>
                    <a:pt x="2356" y="190"/>
                    <a:pt x="2238" y="182"/>
                  </a:cubicBezTo>
                  <a:lnTo>
                    <a:pt x="2230" y="182"/>
                  </a:lnTo>
                </a:path>
              </a:pathLst>
            </a:custGeom>
            <a:grpFill/>
            <a:ln>
              <a:solidFill>
                <a:schemeClr val="bg1">
                  <a:lumMod val="95000"/>
                </a:schemeClr>
              </a:solidFill>
            </a:ln>
            <a:effectLst/>
          </p:spPr>
          <p:txBody>
            <a:bodyPr wrap="none" anchor="ctr"/>
            <a:lstStyle/>
            <a:p>
              <a:endParaRPr lang="en-US" sz="900"/>
            </a:p>
          </p:txBody>
        </p:sp>
        <p:sp>
          <p:nvSpPr>
            <p:cNvPr id="20" name="Freeform 48"/>
            <p:cNvSpPr>
              <a:spLocks noChangeArrowheads="1"/>
            </p:cNvSpPr>
            <p:nvPr/>
          </p:nvSpPr>
          <p:spPr bwMode="auto">
            <a:xfrm>
              <a:off x="7094999" y="4725744"/>
              <a:ext cx="1618875" cy="2681118"/>
            </a:xfrm>
            <a:custGeom>
              <a:avLst/>
              <a:gdLst>
                <a:gd name="T0" fmla="*/ 1692 w 3076"/>
                <a:gd name="T1" fmla="*/ 364 h 5099"/>
                <a:gd name="T2" fmla="*/ 277 w 3076"/>
                <a:gd name="T3" fmla="*/ 40 h 5099"/>
                <a:gd name="T4" fmla="*/ 293 w 3076"/>
                <a:gd name="T5" fmla="*/ 182 h 5099"/>
                <a:gd name="T6" fmla="*/ 253 w 3076"/>
                <a:gd name="T7" fmla="*/ 301 h 5099"/>
                <a:gd name="T8" fmla="*/ 198 w 3076"/>
                <a:gd name="T9" fmla="*/ 435 h 5099"/>
                <a:gd name="T10" fmla="*/ 142 w 3076"/>
                <a:gd name="T11" fmla="*/ 546 h 5099"/>
                <a:gd name="T12" fmla="*/ 24 w 3076"/>
                <a:gd name="T13" fmla="*/ 696 h 5099"/>
                <a:gd name="T14" fmla="*/ 79 w 3076"/>
                <a:gd name="T15" fmla="*/ 878 h 5099"/>
                <a:gd name="T16" fmla="*/ 127 w 3076"/>
                <a:gd name="T17" fmla="*/ 1083 h 5099"/>
                <a:gd name="T18" fmla="*/ 87 w 3076"/>
                <a:gd name="T19" fmla="*/ 1234 h 5099"/>
                <a:gd name="T20" fmla="*/ 63 w 3076"/>
                <a:gd name="T21" fmla="*/ 1408 h 5099"/>
                <a:gd name="T22" fmla="*/ 119 w 3076"/>
                <a:gd name="T23" fmla="*/ 1581 h 5099"/>
                <a:gd name="T24" fmla="*/ 198 w 3076"/>
                <a:gd name="T25" fmla="*/ 1708 h 5099"/>
                <a:gd name="T26" fmla="*/ 245 w 3076"/>
                <a:gd name="T27" fmla="*/ 1819 h 5099"/>
                <a:gd name="T28" fmla="*/ 213 w 3076"/>
                <a:gd name="T29" fmla="*/ 1945 h 5099"/>
                <a:gd name="T30" fmla="*/ 340 w 3076"/>
                <a:gd name="T31" fmla="*/ 2064 h 5099"/>
                <a:gd name="T32" fmla="*/ 380 w 3076"/>
                <a:gd name="T33" fmla="*/ 1985 h 5099"/>
                <a:gd name="T34" fmla="*/ 459 w 3076"/>
                <a:gd name="T35" fmla="*/ 1961 h 5099"/>
                <a:gd name="T36" fmla="*/ 403 w 3076"/>
                <a:gd name="T37" fmla="*/ 2048 h 5099"/>
                <a:gd name="T38" fmla="*/ 459 w 3076"/>
                <a:gd name="T39" fmla="*/ 2198 h 5099"/>
                <a:gd name="T40" fmla="*/ 411 w 3076"/>
                <a:gd name="T41" fmla="*/ 2230 h 5099"/>
                <a:gd name="T42" fmla="*/ 332 w 3076"/>
                <a:gd name="T43" fmla="*/ 2167 h 5099"/>
                <a:gd name="T44" fmla="*/ 308 w 3076"/>
                <a:gd name="T45" fmla="*/ 2325 h 5099"/>
                <a:gd name="T46" fmla="*/ 380 w 3076"/>
                <a:gd name="T47" fmla="*/ 2498 h 5099"/>
                <a:gd name="T48" fmla="*/ 482 w 3076"/>
                <a:gd name="T49" fmla="*/ 2578 h 5099"/>
                <a:gd name="T50" fmla="*/ 403 w 3076"/>
                <a:gd name="T51" fmla="*/ 2712 h 5099"/>
                <a:gd name="T52" fmla="*/ 451 w 3076"/>
                <a:gd name="T53" fmla="*/ 2933 h 5099"/>
                <a:gd name="T54" fmla="*/ 514 w 3076"/>
                <a:gd name="T55" fmla="*/ 3067 h 5099"/>
                <a:gd name="T56" fmla="*/ 553 w 3076"/>
                <a:gd name="T57" fmla="*/ 3169 h 5099"/>
                <a:gd name="T58" fmla="*/ 617 w 3076"/>
                <a:gd name="T59" fmla="*/ 3296 h 5099"/>
                <a:gd name="T60" fmla="*/ 640 w 3076"/>
                <a:gd name="T61" fmla="*/ 3438 h 5099"/>
                <a:gd name="T62" fmla="*/ 672 w 3076"/>
                <a:gd name="T63" fmla="*/ 3580 h 5099"/>
                <a:gd name="T64" fmla="*/ 640 w 3076"/>
                <a:gd name="T65" fmla="*/ 3731 h 5099"/>
                <a:gd name="T66" fmla="*/ 743 w 3076"/>
                <a:gd name="T67" fmla="*/ 3818 h 5099"/>
                <a:gd name="T68" fmla="*/ 972 w 3076"/>
                <a:gd name="T69" fmla="*/ 3913 h 5099"/>
                <a:gd name="T70" fmla="*/ 1139 w 3076"/>
                <a:gd name="T71" fmla="*/ 4063 h 5099"/>
                <a:gd name="T72" fmla="*/ 1352 w 3076"/>
                <a:gd name="T73" fmla="*/ 4173 h 5099"/>
                <a:gd name="T74" fmla="*/ 1439 w 3076"/>
                <a:gd name="T75" fmla="*/ 4355 h 5099"/>
                <a:gd name="T76" fmla="*/ 1676 w 3076"/>
                <a:gd name="T77" fmla="*/ 4561 h 5099"/>
                <a:gd name="T78" fmla="*/ 1731 w 3076"/>
                <a:gd name="T79" fmla="*/ 4980 h 5099"/>
                <a:gd name="T80" fmla="*/ 2696 w 3076"/>
                <a:gd name="T81" fmla="*/ 5098 h 5099"/>
                <a:gd name="T82" fmla="*/ 2799 w 3076"/>
                <a:gd name="T83" fmla="*/ 5067 h 5099"/>
                <a:gd name="T84" fmla="*/ 2799 w 3076"/>
                <a:gd name="T85" fmla="*/ 4956 h 5099"/>
                <a:gd name="T86" fmla="*/ 2767 w 3076"/>
                <a:gd name="T87" fmla="*/ 4885 h 5099"/>
                <a:gd name="T88" fmla="*/ 2822 w 3076"/>
                <a:gd name="T89" fmla="*/ 4766 h 5099"/>
                <a:gd name="T90" fmla="*/ 2909 w 3076"/>
                <a:gd name="T91" fmla="*/ 4529 h 5099"/>
                <a:gd name="T92" fmla="*/ 3067 w 3076"/>
                <a:gd name="T93" fmla="*/ 4411 h 5099"/>
                <a:gd name="T94" fmla="*/ 2996 w 3076"/>
                <a:gd name="T95" fmla="*/ 4237 h 5099"/>
                <a:gd name="T96" fmla="*/ 2933 w 3076"/>
                <a:gd name="T97" fmla="*/ 4086 h 5099"/>
                <a:gd name="T98" fmla="*/ 1344 w 3076"/>
                <a:gd name="T99" fmla="*/ 1763 h 5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6" h="5099">
                  <a:moveTo>
                    <a:pt x="1692" y="364"/>
                  </a:moveTo>
                  <a:lnTo>
                    <a:pt x="1692" y="364"/>
                  </a:lnTo>
                  <a:cubicBezTo>
                    <a:pt x="1036" y="206"/>
                    <a:pt x="530" y="64"/>
                    <a:pt x="308" y="0"/>
                  </a:cubicBezTo>
                  <a:cubicBezTo>
                    <a:pt x="316" y="32"/>
                    <a:pt x="277" y="40"/>
                    <a:pt x="277" y="40"/>
                  </a:cubicBezTo>
                  <a:cubicBezTo>
                    <a:pt x="277" y="40"/>
                    <a:pt x="229" y="64"/>
                    <a:pt x="253" y="103"/>
                  </a:cubicBezTo>
                  <a:cubicBezTo>
                    <a:pt x="277" y="151"/>
                    <a:pt x="308" y="151"/>
                    <a:pt x="293" y="182"/>
                  </a:cubicBezTo>
                  <a:cubicBezTo>
                    <a:pt x="285" y="214"/>
                    <a:pt x="269" y="214"/>
                    <a:pt x="261" y="246"/>
                  </a:cubicBezTo>
                  <a:cubicBezTo>
                    <a:pt x="261" y="285"/>
                    <a:pt x="277" y="285"/>
                    <a:pt x="253" y="301"/>
                  </a:cubicBezTo>
                  <a:cubicBezTo>
                    <a:pt x="237" y="317"/>
                    <a:pt x="213" y="333"/>
                    <a:pt x="206" y="364"/>
                  </a:cubicBezTo>
                  <a:cubicBezTo>
                    <a:pt x="198" y="396"/>
                    <a:pt x="213" y="404"/>
                    <a:pt x="198" y="435"/>
                  </a:cubicBezTo>
                  <a:cubicBezTo>
                    <a:pt x="182" y="475"/>
                    <a:pt x="182" y="459"/>
                    <a:pt x="166" y="491"/>
                  </a:cubicBezTo>
                  <a:cubicBezTo>
                    <a:pt x="158" y="522"/>
                    <a:pt x="158" y="530"/>
                    <a:pt x="142" y="546"/>
                  </a:cubicBezTo>
                  <a:cubicBezTo>
                    <a:pt x="127" y="562"/>
                    <a:pt x="79" y="601"/>
                    <a:pt x="71" y="625"/>
                  </a:cubicBezTo>
                  <a:cubicBezTo>
                    <a:pt x="55" y="649"/>
                    <a:pt x="24" y="641"/>
                    <a:pt x="24" y="696"/>
                  </a:cubicBezTo>
                  <a:cubicBezTo>
                    <a:pt x="24" y="751"/>
                    <a:pt x="0" y="751"/>
                    <a:pt x="32" y="799"/>
                  </a:cubicBezTo>
                  <a:cubicBezTo>
                    <a:pt x="63" y="846"/>
                    <a:pt x="71" y="823"/>
                    <a:pt x="79" y="878"/>
                  </a:cubicBezTo>
                  <a:cubicBezTo>
                    <a:pt x="95" y="925"/>
                    <a:pt x="111" y="917"/>
                    <a:pt x="119" y="981"/>
                  </a:cubicBezTo>
                  <a:cubicBezTo>
                    <a:pt x="134" y="1036"/>
                    <a:pt x="127" y="1036"/>
                    <a:pt x="127" y="1083"/>
                  </a:cubicBezTo>
                  <a:cubicBezTo>
                    <a:pt x="127" y="1131"/>
                    <a:pt x="150" y="1147"/>
                    <a:pt x="119" y="1178"/>
                  </a:cubicBezTo>
                  <a:cubicBezTo>
                    <a:pt x="87" y="1202"/>
                    <a:pt x="71" y="1194"/>
                    <a:pt x="87" y="1234"/>
                  </a:cubicBezTo>
                  <a:cubicBezTo>
                    <a:pt x="103" y="1273"/>
                    <a:pt x="103" y="1273"/>
                    <a:pt x="87" y="1313"/>
                  </a:cubicBezTo>
                  <a:cubicBezTo>
                    <a:pt x="71" y="1360"/>
                    <a:pt x="55" y="1384"/>
                    <a:pt x="63" y="1408"/>
                  </a:cubicBezTo>
                  <a:cubicBezTo>
                    <a:pt x="71" y="1431"/>
                    <a:pt x="16" y="1392"/>
                    <a:pt x="71" y="1471"/>
                  </a:cubicBezTo>
                  <a:cubicBezTo>
                    <a:pt x="127" y="1542"/>
                    <a:pt x="95" y="1550"/>
                    <a:pt x="119" y="1581"/>
                  </a:cubicBezTo>
                  <a:cubicBezTo>
                    <a:pt x="142" y="1613"/>
                    <a:pt x="158" y="1613"/>
                    <a:pt x="166" y="1653"/>
                  </a:cubicBezTo>
                  <a:cubicBezTo>
                    <a:pt x="174" y="1692"/>
                    <a:pt x="182" y="1684"/>
                    <a:pt x="198" y="1708"/>
                  </a:cubicBezTo>
                  <a:cubicBezTo>
                    <a:pt x="222" y="1724"/>
                    <a:pt x="213" y="1724"/>
                    <a:pt x="222" y="1763"/>
                  </a:cubicBezTo>
                  <a:cubicBezTo>
                    <a:pt x="229" y="1803"/>
                    <a:pt x="237" y="1779"/>
                    <a:pt x="245" y="1819"/>
                  </a:cubicBezTo>
                  <a:cubicBezTo>
                    <a:pt x="253" y="1850"/>
                    <a:pt x="245" y="1890"/>
                    <a:pt x="229" y="1898"/>
                  </a:cubicBezTo>
                  <a:cubicBezTo>
                    <a:pt x="213" y="1914"/>
                    <a:pt x="174" y="1937"/>
                    <a:pt x="213" y="1945"/>
                  </a:cubicBezTo>
                  <a:cubicBezTo>
                    <a:pt x="245" y="1945"/>
                    <a:pt x="261" y="1921"/>
                    <a:pt x="285" y="1977"/>
                  </a:cubicBezTo>
                  <a:cubicBezTo>
                    <a:pt x="308" y="2032"/>
                    <a:pt x="324" y="2056"/>
                    <a:pt x="340" y="2064"/>
                  </a:cubicBezTo>
                  <a:cubicBezTo>
                    <a:pt x="348" y="2072"/>
                    <a:pt x="380" y="2072"/>
                    <a:pt x="380" y="2040"/>
                  </a:cubicBezTo>
                  <a:cubicBezTo>
                    <a:pt x="380" y="2008"/>
                    <a:pt x="364" y="2016"/>
                    <a:pt x="380" y="1985"/>
                  </a:cubicBezTo>
                  <a:cubicBezTo>
                    <a:pt x="403" y="1953"/>
                    <a:pt x="387" y="1921"/>
                    <a:pt x="403" y="1929"/>
                  </a:cubicBezTo>
                  <a:cubicBezTo>
                    <a:pt x="427" y="1937"/>
                    <a:pt x="435" y="1945"/>
                    <a:pt x="459" y="1961"/>
                  </a:cubicBezTo>
                  <a:cubicBezTo>
                    <a:pt x="474" y="1977"/>
                    <a:pt x="451" y="2008"/>
                    <a:pt x="435" y="2008"/>
                  </a:cubicBezTo>
                  <a:cubicBezTo>
                    <a:pt x="411" y="2008"/>
                    <a:pt x="403" y="2024"/>
                    <a:pt x="403" y="2048"/>
                  </a:cubicBezTo>
                  <a:cubicBezTo>
                    <a:pt x="411" y="2064"/>
                    <a:pt x="427" y="2056"/>
                    <a:pt x="435" y="2087"/>
                  </a:cubicBezTo>
                  <a:cubicBezTo>
                    <a:pt x="443" y="2119"/>
                    <a:pt x="451" y="2158"/>
                    <a:pt x="459" y="2198"/>
                  </a:cubicBezTo>
                  <a:cubicBezTo>
                    <a:pt x="459" y="2238"/>
                    <a:pt x="482" y="2269"/>
                    <a:pt x="459" y="2269"/>
                  </a:cubicBezTo>
                  <a:cubicBezTo>
                    <a:pt x="435" y="2269"/>
                    <a:pt x="443" y="2293"/>
                    <a:pt x="411" y="2230"/>
                  </a:cubicBezTo>
                  <a:cubicBezTo>
                    <a:pt x="380" y="2158"/>
                    <a:pt x="380" y="2158"/>
                    <a:pt x="364" y="2143"/>
                  </a:cubicBezTo>
                  <a:cubicBezTo>
                    <a:pt x="340" y="2127"/>
                    <a:pt x="332" y="2135"/>
                    <a:pt x="332" y="2167"/>
                  </a:cubicBezTo>
                  <a:cubicBezTo>
                    <a:pt x="332" y="2206"/>
                    <a:pt x="348" y="2214"/>
                    <a:pt x="332" y="2253"/>
                  </a:cubicBezTo>
                  <a:cubicBezTo>
                    <a:pt x="324" y="2293"/>
                    <a:pt x="308" y="2285"/>
                    <a:pt x="308" y="2325"/>
                  </a:cubicBezTo>
                  <a:cubicBezTo>
                    <a:pt x="308" y="2364"/>
                    <a:pt x="300" y="2411"/>
                    <a:pt x="332" y="2443"/>
                  </a:cubicBezTo>
                  <a:cubicBezTo>
                    <a:pt x="356" y="2475"/>
                    <a:pt x="348" y="2451"/>
                    <a:pt x="380" y="2498"/>
                  </a:cubicBezTo>
                  <a:cubicBezTo>
                    <a:pt x="419" y="2538"/>
                    <a:pt x="403" y="2514"/>
                    <a:pt x="443" y="2522"/>
                  </a:cubicBezTo>
                  <a:cubicBezTo>
                    <a:pt x="490" y="2530"/>
                    <a:pt x="498" y="2522"/>
                    <a:pt x="482" y="2578"/>
                  </a:cubicBezTo>
                  <a:cubicBezTo>
                    <a:pt x="474" y="2633"/>
                    <a:pt x="474" y="2664"/>
                    <a:pt x="427" y="2672"/>
                  </a:cubicBezTo>
                  <a:cubicBezTo>
                    <a:pt x="372" y="2680"/>
                    <a:pt x="403" y="2672"/>
                    <a:pt x="403" y="2712"/>
                  </a:cubicBezTo>
                  <a:cubicBezTo>
                    <a:pt x="395" y="2759"/>
                    <a:pt x="387" y="2846"/>
                    <a:pt x="411" y="2870"/>
                  </a:cubicBezTo>
                  <a:cubicBezTo>
                    <a:pt x="435" y="2894"/>
                    <a:pt x="443" y="2902"/>
                    <a:pt x="451" y="2933"/>
                  </a:cubicBezTo>
                  <a:cubicBezTo>
                    <a:pt x="466" y="2972"/>
                    <a:pt x="482" y="2996"/>
                    <a:pt x="498" y="3003"/>
                  </a:cubicBezTo>
                  <a:cubicBezTo>
                    <a:pt x="522" y="3011"/>
                    <a:pt x="506" y="3035"/>
                    <a:pt x="514" y="3067"/>
                  </a:cubicBezTo>
                  <a:cubicBezTo>
                    <a:pt x="514" y="3098"/>
                    <a:pt x="522" y="3106"/>
                    <a:pt x="530" y="3114"/>
                  </a:cubicBezTo>
                  <a:cubicBezTo>
                    <a:pt x="546" y="3130"/>
                    <a:pt x="538" y="3130"/>
                    <a:pt x="553" y="3169"/>
                  </a:cubicBezTo>
                  <a:cubicBezTo>
                    <a:pt x="561" y="3209"/>
                    <a:pt x="561" y="3177"/>
                    <a:pt x="569" y="3217"/>
                  </a:cubicBezTo>
                  <a:cubicBezTo>
                    <a:pt x="585" y="3249"/>
                    <a:pt x="585" y="3280"/>
                    <a:pt x="617" y="3296"/>
                  </a:cubicBezTo>
                  <a:cubicBezTo>
                    <a:pt x="640" y="3312"/>
                    <a:pt x="672" y="3336"/>
                    <a:pt x="656" y="3359"/>
                  </a:cubicBezTo>
                  <a:cubicBezTo>
                    <a:pt x="633" y="3391"/>
                    <a:pt x="617" y="3422"/>
                    <a:pt x="640" y="3438"/>
                  </a:cubicBezTo>
                  <a:cubicBezTo>
                    <a:pt x="664" y="3454"/>
                    <a:pt x="696" y="3454"/>
                    <a:pt x="696" y="3509"/>
                  </a:cubicBezTo>
                  <a:cubicBezTo>
                    <a:pt x="696" y="3557"/>
                    <a:pt x="664" y="3541"/>
                    <a:pt x="672" y="3580"/>
                  </a:cubicBezTo>
                  <a:cubicBezTo>
                    <a:pt x="672" y="3620"/>
                    <a:pt x="656" y="3620"/>
                    <a:pt x="648" y="3660"/>
                  </a:cubicBezTo>
                  <a:cubicBezTo>
                    <a:pt x="648" y="3691"/>
                    <a:pt x="625" y="3707"/>
                    <a:pt x="640" y="3731"/>
                  </a:cubicBezTo>
                  <a:cubicBezTo>
                    <a:pt x="664" y="3754"/>
                    <a:pt x="680" y="3747"/>
                    <a:pt x="680" y="3778"/>
                  </a:cubicBezTo>
                  <a:cubicBezTo>
                    <a:pt x="680" y="3818"/>
                    <a:pt x="704" y="3818"/>
                    <a:pt x="743" y="3818"/>
                  </a:cubicBezTo>
                  <a:cubicBezTo>
                    <a:pt x="791" y="3818"/>
                    <a:pt x="830" y="3818"/>
                    <a:pt x="846" y="3849"/>
                  </a:cubicBezTo>
                  <a:cubicBezTo>
                    <a:pt x="862" y="3881"/>
                    <a:pt x="925" y="3920"/>
                    <a:pt x="972" y="3913"/>
                  </a:cubicBezTo>
                  <a:cubicBezTo>
                    <a:pt x="1028" y="3897"/>
                    <a:pt x="1043" y="3936"/>
                    <a:pt x="1059" y="3952"/>
                  </a:cubicBezTo>
                  <a:cubicBezTo>
                    <a:pt x="1075" y="3960"/>
                    <a:pt x="1115" y="4007"/>
                    <a:pt x="1139" y="4063"/>
                  </a:cubicBezTo>
                  <a:cubicBezTo>
                    <a:pt x="1154" y="4118"/>
                    <a:pt x="1194" y="4118"/>
                    <a:pt x="1217" y="4126"/>
                  </a:cubicBezTo>
                  <a:cubicBezTo>
                    <a:pt x="1233" y="4142"/>
                    <a:pt x="1273" y="4189"/>
                    <a:pt x="1352" y="4173"/>
                  </a:cubicBezTo>
                  <a:cubicBezTo>
                    <a:pt x="1423" y="4158"/>
                    <a:pt x="1392" y="4205"/>
                    <a:pt x="1392" y="4229"/>
                  </a:cubicBezTo>
                  <a:cubicBezTo>
                    <a:pt x="1399" y="4244"/>
                    <a:pt x="1376" y="4355"/>
                    <a:pt x="1439" y="4355"/>
                  </a:cubicBezTo>
                  <a:cubicBezTo>
                    <a:pt x="1494" y="4347"/>
                    <a:pt x="1510" y="4324"/>
                    <a:pt x="1526" y="4379"/>
                  </a:cubicBezTo>
                  <a:cubicBezTo>
                    <a:pt x="1550" y="4434"/>
                    <a:pt x="1621" y="4529"/>
                    <a:pt x="1676" y="4561"/>
                  </a:cubicBezTo>
                  <a:cubicBezTo>
                    <a:pt x="1739" y="4600"/>
                    <a:pt x="1747" y="4814"/>
                    <a:pt x="1747" y="4877"/>
                  </a:cubicBezTo>
                  <a:cubicBezTo>
                    <a:pt x="1739" y="4940"/>
                    <a:pt x="1708" y="4956"/>
                    <a:pt x="1731" y="4980"/>
                  </a:cubicBezTo>
                  <a:cubicBezTo>
                    <a:pt x="1929" y="5003"/>
                    <a:pt x="2640" y="5083"/>
                    <a:pt x="2672" y="5090"/>
                  </a:cubicBezTo>
                  <a:cubicBezTo>
                    <a:pt x="2688" y="5090"/>
                    <a:pt x="2696" y="5098"/>
                    <a:pt x="2696" y="5098"/>
                  </a:cubicBezTo>
                  <a:cubicBezTo>
                    <a:pt x="2712" y="5098"/>
                    <a:pt x="2727" y="5098"/>
                    <a:pt x="2735" y="5098"/>
                  </a:cubicBezTo>
                  <a:cubicBezTo>
                    <a:pt x="2759" y="5098"/>
                    <a:pt x="2799" y="5090"/>
                    <a:pt x="2799" y="5067"/>
                  </a:cubicBezTo>
                  <a:cubicBezTo>
                    <a:pt x="2799" y="5035"/>
                    <a:pt x="2838" y="5051"/>
                    <a:pt x="2830" y="5011"/>
                  </a:cubicBezTo>
                  <a:cubicBezTo>
                    <a:pt x="2830" y="4972"/>
                    <a:pt x="2830" y="4972"/>
                    <a:pt x="2799" y="4956"/>
                  </a:cubicBezTo>
                  <a:cubicBezTo>
                    <a:pt x="2775" y="4940"/>
                    <a:pt x="2751" y="4956"/>
                    <a:pt x="2751" y="4932"/>
                  </a:cubicBezTo>
                  <a:cubicBezTo>
                    <a:pt x="2759" y="4901"/>
                    <a:pt x="2767" y="4924"/>
                    <a:pt x="2767" y="4885"/>
                  </a:cubicBezTo>
                  <a:cubicBezTo>
                    <a:pt x="2775" y="4845"/>
                    <a:pt x="2735" y="4837"/>
                    <a:pt x="2759" y="4806"/>
                  </a:cubicBezTo>
                  <a:cubicBezTo>
                    <a:pt x="2775" y="4774"/>
                    <a:pt x="2806" y="4782"/>
                    <a:pt x="2822" y="4766"/>
                  </a:cubicBezTo>
                  <a:cubicBezTo>
                    <a:pt x="2838" y="4743"/>
                    <a:pt x="2886" y="4679"/>
                    <a:pt x="2893" y="4632"/>
                  </a:cubicBezTo>
                  <a:cubicBezTo>
                    <a:pt x="2901" y="4584"/>
                    <a:pt x="2870" y="4553"/>
                    <a:pt x="2909" y="4529"/>
                  </a:cubicBezTo>
                  <a:cubicBezTo>
                    <a:pt x="2949" y="4506"/>
                    <a:pt x="2965" y="4466"/>
                    <a:pt x="3004" y="4442"/>
                  </a:cubicBezTo>
                  <a:cubicBezTo>
                    <a:pt x="3044" y="4426"/>
                    <a:pt x="3052" y="4434"/>
                    <a:pt x="3067" y="4411"/>
                  </a:cubicBezTo>
                  <a:cubicBezTo>
                    <a:pt x="3075" y="4387"/>
                    <a:pt x="3067" y="4355"/>
                    <a:pt x="3044" y="4339"/>
                  </a:cubicBezTo>
                  <a:cubicBezTo>
                    <a:pt x="3020" y="4324"/>
                    <a:pt x="3004" y="4260"/>
                    <a:pt x="2996" y="4237"/>
                  </a:cubicBezTo>
                  <a:cubicBezTo>
                    <a:pt x="2996" y="4213"/>
                    <a:pt x="2980" y="4197"/>
                    <a:pt x="2965" y="4158"/>
                  </a:cubicBezTo>
                  <a:cubicBezTo>
                    <a:pt x="2949" y="4126"/>
                    <a:pt x="2925" y="4126"/>
                    <a:pt x="2933" y="4086"/>
                  </a:cubicBezTo>
                  <a:cubicBezTo>
                    <a:pt x="2933" y="4063"/>
                    <a:pt x="2933" y="4055"/>
                    <a:pt x="2933" y="4039"/>
                  </a:cubicBezTo>
                  <a:cubicBezTo>
                    <a:pt x="1344" y="1763"/>
                    <a:pt x="1344" y="1763"/>
                    <a:pt x="1344" y="1763"/>
                  </a:cubicBezTo>
                  <a:lnTo>
                    <a:pt x="1692" y="364"/>
                  </a:lnTo>
                </a:path>
              </a:pathLst>
            </a:custGeom>
            <a:solidFill>
              <a:schemeClr val="accent2"/>
            </a:solidFill>
            <a:ln>
              <a:solidFill>
                <a:schemeClr val="bg1">
                  <a:lumMod val="95000"/>
                </a:schemeClr>
              </a:solidFill>
            </a:ln>
            <a:effectLst/>
          </p:spPr>
          <p:txBody>
            <a:bodyPr wrap="none" anchor="ctr"/>
            <a:lstStyle/>
            <a:p>
              <a:endParaRPr lang="en-US" sz="900"/>
            </a:p>
          </p:txBody>
        </p:sp>
        <p:sp>
          <p:nvSpPr>
            <p:cNvPr id="21" name="Freeform 49"/>
            <p:cNvSpPr>
              <a:spLocks noChangeArrowheads="1"/>
            </p:cNvSpPr>
            <p:nvPr/>
          </p:nvSpPr>
          <p:spPr bwMode="auto">
            <a:xfrm>
              <a:off x="7099638" y="4725744"/>
              <a:ext cx="1614237" cy="2685756"/>
            </a:xfrm>
            <a:custGeom>
              <a:avLst/>
              <a:gdLst>
                <a:gd name="T0" fmla="*/ 1723 w 3068"/>
                <a:gd name="T1" fmla="*/ 4988 h 5107"/>
                <a:gd name="T2" fmla="*/ 1431 w 3068"/>
                <a:gd name="T3" fmla="*/ 4355 h 5107"/>
                <a:gd name="T4" fmla="*/ 1312 w 3068"/>
                <a:gd name="T5" fmla="*/ 4181 h 5107"/>
                <a:gd name="T6" fmla="*/ 988 w 3068"/>
                <a:gd name="T7" fmla="*/ 3913 h 5107"/>
                <a:gd name="T8" fmla="*/ 632 w 3068"/>
                <a:gd name="T9" fmla="*/ 3731 h 5107"/>
                <a:gd name="T10" fmla="*/ 648 w 3068"/>
                <a:gd name="T11" fmla="*/ 3454 h 5107"/>
                <a:gd name="T12" fmla="*/ 553 w 3068"/>
                <a:gd name="T13" fmla="*/ 3193 h 5107"/>
                <a:gd name="T14" fmla="*/ 443 w 3068"/>
                <a:gd name="T15" fmla="*/ 2933 h 5107"/>
                <a:gd name="T16" fmla="*/ 466 w 3068"/>
                <a:gd name="T17" fmla="*/ 2601 h 5107"/>
                <a:gd name="T18" fmla="*/ 403 w 3068"/>
                <a:gd name="T19" fmla="*/ 2530 h 5107"/>
                <a:gd name="T20" fmla="*/ 324 w 3068"/>
                <a:gd name="T21" fmla="*/ 2253 h 5107"/>
                <a:gd name="T22" fmla="*/ 427 w 3068"/>
                <a:gd name="T23" fmla="*/ 2269 h 5107"/>
                <a:gd name="T24" fmla="*/ 419 w 3068"/>
                <a:gd name="T25" fmla="*/ 2087 h 5107"/>
                <a:gd name="T26" fmla="*/ 395 w 3068"/>
                <a:gd name="T27" fmla="*/ 1929 h 5107"/>
                <a:gd name="T28" fmla="*/ 269 w 3068"/>
                <a:gd name="T29" fmla="*/ 1977 h 5107"/>
                <a:gd name="T30" fmla="*/ 229 w 3068"/>
                <a:gd name="T31" fmla="*/ 1819 h 5107"/>
                <a:gd name="T32" fmla="*/ 126 w 3068"/>
                <a:gd name="T33" fmla="*/ 1597 h 5107"/>
                <a:gd name="T34" fmla="*/ 55 w 3068"/>
                <a:gd name="T35" fmla="*/ 1408 h 5107"/>
                <a:gd name="T36" fmla="*/ 119 w 3068"/>
                <a:gd name="T37" fmla="*/ 1123 h 5107"/>
                <a:gd name="T38" fmla="*/ 24 w 3068"/>
                <a:gd name="T39" fmla="*/ 799 h 5107"/>
                <a:gd name="T40" fmla="*/ 150 w 3068"/>
                <a:gd name="T41" fmla="*/ 514 h 5107"/>
                <a:gd name="T42" fmla="*/ 245 w 3068"/>
                <a:gd name="T43" fmla="*/ 301 h 5107"/>
                <a:gd name="T44" fmla="*/ 237 w 3068"/>
                <a:gd name="T45" fmla="*/ 71 h 5107"/>
                <a:gd name="T46" fmla="*/ 1684 w 3068"/>
                <a:gd name="T47" fmla="*/ 364 h 5107"/>
                <a:gd name="T48" fmla="*/ 2965 w 3068"/>
                <a:gd name="T49" fmla="*/ 4158 h 5107"/>
                <a:gd name="T50" fmla="*/ 2996 w 3068"/>
                <a:gd name="T51" fmla="*/ 4450 h 5107"/>
                <a:gd name="T52" fmla="*/ 2783 w 3068"/>
                <a:gd name="T53" fmla="*/ 4782 h 5107"/>
                <a:gd name="T54" fmla="*/ 2798 w 3068"/>
                <a:gd name="T55" fmla="*/ 4956 h 5107"/>
                <a:gd name="T56" fmla="*/ 1723 w 3068"/>
                <a:gd name="T57" fmla="*/ 4980 h 5107"/>
                <a:gd name="T58" fmla="*/ 2822 w 3068"/>
                <a:gd name="T59" fmla="*/ 5011 h 5107"/>
                <a:gd name="T60" fmla="*/ 2751 w 3068"/>
                <a:gd name="T61" fmla="*/ 4845 h 5107"/>
                <a:gd name="T62" fmla="*/ 2901 w 3068"/>
                <a:gd name="T63" fmla="*/ 4521 h 5107"/>
                <a:gd name="T64" fmla="*/ 2988 w 3068"/>
                <a:gd name="T65" fmla="*/ 4237 h 5107"/>
                <a:gd name="T66" fmla="*/ 1684 w 3068"/>
                <a:gd name="T67" fmla="*/ 372 h 5107"/>
                <a:gd name="T68" fmla="*/ 292 w 3068"/>
                <a:gd name="T69" fmla="*/ 182 h 5107"/>
                <a:gd name="T70" fmla="*/ 198 w 3068"/>
                <a:gd name="T71" fmla="*/ 396 h 5107"/>
                <a:gd name="T72" fmla="*/ 63 w 3068"/>
                <a:gd name="T73" fmla="*/ 633 h 5107"/>
                <a:gd name="T74" fmla="*/ 95 w 3068"/>
                <a:gd name="T75" fmla="*/ 917 h 5107"/>
                <a:gd name="T76" fmla="*/ 79 w 3068"/>
                <a:gd name="T77" fmla="*/ 1234 h 5107"/>
                <a:gd name="T78" fmla="*/ 47 w 3068"/>
                <a:gd name="T79" fmla="*/ 1423 h 5107"/>
                <a:gd name="T80" fmla="*/ 198 w 3068"/>
                <a:gd name="T81" fmla="*/ 1700 h 5107"/>
                <a:gd name="T82" fmla="*/ 190 w 3068"/>
                <a:gd name="T83" fmla="*/ 1937 h 5107"/>
                <a:gd name="T84" fmla="*/ 364 w 3068"/>
                <a:gd name="T85" fmla="*/ 2040 h 5107"/>
                <a:gd name="T86" fmla="*/ 458 w 3068"/>
                <a:gd name="T87" fmla="*/ 1985 h 5107"/>
                <a:gd name="T88" fmla="*/ 451 w 3068"/>
                <a:gd name="T89" fmla="*/ 2198 h 5107"/>
                <a:gd name="T90" fmla="*/ 379 w 3068"/>
                <a:gd name="T91" fmla="*/ 2182 h 5107"/>
                <a:gd name="T92" fmla="*/ 308 w 3068"/>
                <a:gd name="T93" fmla="*/ 2325 h 5107"/>
                <a:gd name="T94" fmla="*/ 419 w 3068"/>
                <a:gd name="T95" fmla="*/ 2522 h 5107"/>
                <a:gd name="T96" fmla="*/ 403 w 3068"/>
                <a:gd name="T97" fmla="*/ 2680 h 5107"/>
                <a:gd name="T98" fmla="*/ 506 w 3068"/>
                <a:gd name="T99" fmla="*/ 3043 h 5107"/>
                <a:gd name="T100" fmla="*/ 577 w 3068"/>
                <a:gd name="T101" fmla="*/ 3241 h 5107"/>
                <a:gd name="T102" fmla="*/ 672 w 3068"/>
                <a:gd name="T103" fmla="*/ 3549 h 5107"/>
                <a:gd name="T104" fmla="*/ 680 w 3068"/>
                <a:gd name="T105" fmla="*/ 3778 h 5107"/>
                <a:gd name="T106" fmla="*/ 1051 w 3068"/>
                <a:gd name="T107" fmla="*/ 3944 h 5107"/>
                <a:gd name="T108" fmla="*/ 1391 w 3068"/>
                <a:gd name="T109" fmla="*/ 4173 h 5107"/>
                <a:gd name="T110" fmla="*/ 1486 w 3068"/>
                <a:gd name="T111" fmla="*/ 4339 h 5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8" h="5107">
                  <a:moveTo>
                    <a:pt x="2688" y="5106"/>
                  </a:moveTo>
                  <a:lnTo>
                    <a:pt x="2688" y="5106"/>
                  </a:lnTo>
                  <a:lnTo>
                    <a:pt x="2688" y="5106"/>
                  </a:lnTo>
                  <a:cubicBezTo>
                    <a:pt x="2688" y="5098"/>
                    <a:pt x="2680" y="5098"/>
                    <a:pt x="2664" y="5090"/>
                  </a:cubicBezTo>
                  <a:cubicBezTo>
                    <a:pt x="2632" y="5083"/>
                    <a:pt x="1874" y="5003"/>
                    <a:pt x="1723" y="4988"/>
                  </a:cubicBezTo>
                  <a:lnTo>
                    <a:pt x="1723" y="4988"/>
                  </a:lnTo>
                  <a:lnTo>
                    <a:pt x="1723" y="4988"/>
                  </a:lnTo>
                  <a:cubicBezTo>
                    <a:pt x="1708" y="4964"/>
                    <a:pt x="1715" y="4956"/>
                    <a:pt x="1723" y="4940"/>
                  </a:cubicBezTo>
                  <a:cubicBezTo>
                    <a:pt x="1723" y="4924"/>
                    <a:pt x="1731" y="4908"/>
                    <a:pt x="1731" y="4877"/>
                  </a:cubicBezTo>
                  <a:cubicBezTo>
                    <a:pt x="1739" y="4814"/>
                    <a:pt x="1723" y="4600"/>
                    <a:pt x="1668" y="4569"/>
                  </a:cubicBezTo>
                  <a:cubicBezTo>
                    <a:pt x="1613" y="4529"/>
                    <a:pt x="1534" y="4434"/>
                    <a:pt x="1518" y="4379"/>
                  </a:cubicBezTo>
                  <a:cubicBezTo>
                    <a:pt x="1510" y="4355"/>
                    <a:pt x="1502" y="4347"/>
                    <a:pt x="1486" y="4347"/>
                  </a:cubicBezTo>
                  <a:cubicBezTo>
                    <a:pt x="1478" y="4347"/>
                    <a:pt x="1470" y="4347"/>
                    <a:pt x="1462" y="4347"/>
                  </a:cubicBezTo>
                  <a:cubicBezTo>
                    <a:pt x="1455" y="4355"/>
                    <a:pt x="1439" y="4355"/>
                    <a:pt x="1431" y="4355"/>
                  </a:cubicBezTo>
                  <a:cubicBezTo>
                    <a:pt x="1415" y="4355"/>
                    <a:pt x="1407" y="4355"/>
                    <a:pt x="1399" y="4347"/>
                  </a:cubicBezTo>
                  <a:cubicBezTo>
                    <a:pt x="1375" y="4324"/>
                    <a:pt x="1384" y="4276"/>
                    <a:pt x="1384" y="4253"/>
                  </a:cubicBezTo>
                  <a:cubicBezTo>
                    <a:pt x="1384" y="4237"/>
                    <a:pt x="1384" y="4229"/>
                    <a:pt x="1384" y="4229"/>
                  </a:cubicBezTo>
                  <a:cubicBezTo>
                    <a:pt x="1384" y="4221"/>
                    <a:pt x="1384" y="4213"/>
                    <a:pt x="1384" y="4205"/>
                  </a:cubicBezTo>
                  <a:cubicBezTo>
                    <a:pt x="1384" y="4197"/>
                    <a:pt x="1391" y="4181"/>
                    <a:pt x="1384" y="4181"/>
                  </a:cubicBezTo>
                  <a:cubicBezTo>
                    <a:pt x="1375" y="4173"/>
                    <a:pt x="1368" y="4173"/>
                    <a:pt x="1344" y="4173"/>
                  </a:cubicBezTo>
                  <a:cubicBezTo>
                    <a:pt x="1336" y="4181"/>
                    <a:pt x="1320" y="4181"/>
                    <a:pt x="1312" y="4181"/>
                  </a:cubicBezTo>
                  <a:cubicBezTo>
                    <a:pt x="1265" y="4181"/>
                    <a:pt x="1233" y="4158"/>
                    <a:pt x="1217" y="4142"/>
                  </a:cubicBezTo>
                  <a:cubicBezTo>
                    <a:pt x="1209" y="4142"/>
                    <a:pt x="1209" y="4134"/>
                    <a:pt x="1202" y="4134"/>
                  </a:cubicBezTo>
                  <a:cubicBezTo>
                    <a:pt x="1202" y="4126"/>
                    <a:pt x="1194" y="4126"/>
                    <a:pt x="1186" y="4126"/>
                  </a:cubicBezTo>
                  <a:cubicBezTo>
                    <a:pt x="1162" y="4118"/>
                    <a:pt x="1138" y="4110"/>
                    <a:pt x="1122" y="4063"/>
                  </a:cubicBezTo>
                  <a:cubicBezTo>
                    <a:pt x="1099" y="4015"/>
                    <a:pt x="1059" y="3960"/>
                    <a:pt x="1051" y="3952"/>
                  </a:cubicBezTo>
                  <a:cubicBezTo>
                    <a:pt x="1044" y="3952"/>
                    <a:pt x="1044" y="3944"/>
                    <a:pt x="1035" y="3944"/>
                  </a:cubicBezTo>
                  <a:cubicBezTo>
                    <a:pt x="1028" y="3928"/>
                    <a:pt x="1012" y="3913"/>
                    <a:pt x="988" y="3913"/>
                  </a:cubicBezTo>
                  <a:cubicBezTo>
                    <a:pt x="980" y="3913"/>
                    <a:pt x="972" y="3913"/>
                    <a:pt x="972" y="3913"/>
                  </a:cubicBezTo>
                  <a:cubicBezTo>
                    <a:pt x="964" y="3920"/>
                    <a:pt x="957" y="3920"/>
                    <a:pt x="949" y="3920"/>
                  </a:cubicBezTo>
                  <a:cubicBezTo>
                    <a:pt x="901" y="3920"/>
                    <a:pt x="854" y="3881"/>
                    <a:pt x="838" y="3849"/>
                  </a:cubicBezTo>
                  <a:cubicBezTo>
                    <a:pt x="822" y="3826"/>
                    <a:pt x="783" y="3826"/>
                    <a:pt x="735" y="3826"/>
                  </a:cubicBezTo>
                  <a:cubicBezTo>
                    <a:pt x="696" y="3826"/>
                    <a:pt x="672" y="3818"/>
                    <a:pt x="672" y="3778"/>
                  </a:cubicBezTo>
                  <a:cubicBezTo>
                    <a:pt x="664" y="3762"/>
                    <a:pt x="664" y="3754"/>
                    <a:pt x="648" y="3747"/>
                  </a:cubicBezTo>
                  <a:cubicBezTo>
                    <a:pt x="648" y="3739"/>
                    <a:pt x="640" y="3739"/>
                    <a:pt x="632" y="3731"/>
                  </a:cubicBezTo>
                  <a:cubicBezTo>
                    <a:pt x="617" y="3715"/>
                    <a:pt x="625" y="3707"/>
                    <a:pt x="632" y="3691"/>
                  </a:cubicBezTo>
                  <a:cubicBezTo>
                    <a:pt x="632" y="3683"/>
                    <a:pt x="640" y="3667"/>
                    <a:pt x="640" y="3660"/>
                  </a:cubicBezTo>
                  <a:cubicBezTo>
                    <a:pt x="640" y="3644"/>
                    <a:pt x="648" y="3628"/>
                    <a:pt x="648" y="3620"/>
                  </a:cubicBezTo>
                  <a:cubicBezTo>
                    <a:pt x="656" y="3612"/>
                    <a:pt x="664" y="3596"/>
                    <a:pt x="656" y="3580"/>
                  </a:cubicBezTo>
                  <a:cubicBezTo>
                    <a:pt x="656" y="3557"/>
                    <a:pt x="664" y="3549"/>
                    <a:pt x="672" y="3549"/>
                  </a:cubicBezTo>
                  <a:cubicBezTo>
                    <a:pt x="672" y="3541"/>
                    <a:pt x="680" y="3533"/>
                    <a:pt x="680" y="3509"/>
                  </a:cubicBezTo>
                  <a:cubicBezTo>
                    <a:pt x="688" y="3470"/>
                    <a:pt x="664" y="3462"/>
                    <a:pt x="648" y="3454"/>
                  </a:cubicBezTo>
                  <a:cubicBezTo>
                    <a:pt x="640" y="3454"/>
                    <a:pt x="632" y="3446"/>
                    <a:pt x="625" y="3446"/>
                  </a:cubicBezTo>
                  <a:cubicBezTo>
                    <a:pt x="601" y="3422"/>
                    <a:pt x="625" y="3391"/>
                    <a:pt x="648" y="3359"/>
                  </a:cubicBezTo>
                  <a:cubicBezTo>
                    <a:pt x="648" y="3351"/>
                    <a:pt x="648" y="3343"/>
                    <a:pt x="648" y="3343"/>
                  </a:cubicBezTo>
                  <a:cubicBezTo>
                    <a:pt x="648" y="3320"/>
                    <a:pt x="617" y="3304"/>
                    <a:pt x="601" y="3296"/>
                  </a:cubicBezTo>
                  <a:cubicBezTo>
                    <a:pt x="585" y="3288"/>
                    <a:pt x="577" y="3272"/>
                    <a:pt x="569" y="3249"/>
                  </a:cubicBezTo>
                  <a:cubicBezTo>
                    <a:pt x="569" y="3233"/>
                    <a:pt x="569" y="3225"/>
                    <a:pt x="561" y="3217"/>
                  </a:cubicBezTo>
                  <a:cubicBezTo>
                    <a:pt x="553" y="3201"/>
                    <a:pt x="553" y="3193"/>
                    <a:pt x="553" y="3193"/>
                  </a:cubicBezTo>
                  <a:cubicBezTo>
                    <a:pt x="545" y="3193"/>
                    <a:pt x="545" y="3185"/>
                    <a:pt x="538" y="3169"/>
                  </a:cubicBezTo>
                  <a:cubicBezTo>
                    <a:pt x="538" y="3154"/>
                    <a:pt x="530" y="3146"/>
                    <a:pt x="530" y="3138"/>
                  </a:cubicBezTo>
                  <a:cubicBezTo>
                    <a:pt x="530" y="3130"/>
                    <a:pt x="530" y="3130"/>
                    <a:pt x="522" y="3122"/>
                  </a:cubicBezTo>
                  <a:cubicBezTo>
                    <a:pt x="506" y="3106"/>
                    <a:pt x="506" y="3106"/>
                    <a:pt x="498" y="3067"/>
                  </a:cubicBezTo>
                  <a:cubicBezTo>
                    <a:pt x="498" y="3059"/>
                    <a:pt x="498" y="3051"/>
                    <a:pt x="498" y="3043"/>
                  </a:cubicBezTo>
                  <a:cubicBezTo>
                    <a:pt x="498" y="3019"/>
                    <a:pt x="498" y="3011"/>
                    <a:pt x="490" y="3003"/>
                  </a:cubicBezTo>
                  <a:cubicBezTo>
                    <a:pt x="474" y="3003"/>
                    <a:pt x="458" y="2980"/>
                    <a:pt x="443" y="2933"/>
                  </a:cubicBezTo>
                  <a:cubicBezTo>
                    <a:pt x="435" y="2902"/>
                    <a:pt x="427" y="2894"/>
                    <a:pt x="403" y="2870"/>
                  </a:cubicBezTo>
                  <a:cubicBezTo>
                    <a:pt x="372" y="2846"/>
                    <a:pt x="387" y="2744"/>
                    <a:pt x="387" y="2712"/>
                  </a:cubicBezTo>
                  <a:cubicBezTo>
                    <a:pt x="387" y="2696"/>
                    <a:pt x="387" y="2688"/>
                    <a:pt x="387" y="2680"/>
                  </a:cubicBezTo>
                  <a:cubicBezTo>
                    <a:pt x="387" y="2680"/>
                    <a:pt x="379" y="2680"/>
                    <a:pt x="387" y="2672"/>
                  </a:cubicBezTo>
                  <a:cubicBezTo>
                    <a:pt x="387" y="2672"/>
                    <a:pt x="387" y="2672"/>
                    <a:pt x="403" y="2672"/>
                  </a:cubicBezTo>
                  <a:cubicBezTo>
                    <a:pt x="403" y="2672"/>
                    <a:pt x="411" y="2672"/>
                    <a:pt x="419" y="2672"/>
                  </a:cubicBezTo>
                  <a:cubicBezTo>
                    <a:pt x="458" y="2664"/>
                    <a:pt x="458" y="2641"/>
                    <a:pt x="466" y="2601"/>
                  </a:cubicBezTo>
                  <a:cubicBezTo>
                    <a:pt x="466" y="2593"/>
                    <a:pt x="474" y="2585"/>
                    <a:pt x="474" y="2578"/>
                  </a:cubicBezTo>
                  <a:cubicBezTo>
                    <a:pt x="482" y="2554"/>
                    <a:pt x="482" y="2546"/>
                    <a:pt x="474" y="2538"/>
                  </a:cubicBezTo>
                  <a:cubicBezTo>
                    <a:pt x="474" y="2538"/>
                    <a:pt x="466" y="2530"/>
                    <a:pt x="451" y="2530"/>
                  </a:cubicBezTo>
                  <a:cubicBezTo>
                    <a:pt x="451" y="2530"/>
                    <a:pt x="443" y="2530"/>
                    <a:pt x="435" y="2530"/>
                  </a:cubicBezTo>
                  <a:cubicBezTo>
                    <a:pt x="427" y="2530"/>
                    <a:pt x="419" y="2530"/>
                    <a:pt x="419" y="2530"/>
                  </a:cubicBezTo>
                  <a:cubicBezTo>
                    <a:pt x="411" y="2530"/>
                    <a:pt x="411" y="2530"/>
                    <a:pt x="411" y="2530"/>
                  </a:cubicBezTo>
                  <a:cubicBezTo>
                    <a:pt x="403" y="2530"/>
                    <a:pt x="403" y="2530"/>
                    <a:pt x="403" y="2530"/>
                  </a:cubicBezTo>
                  <a:cubicBezTo>
                    <a:pt x="395" y="2530"/>
                    <a:pt x="387" y="2522"/>
                    <a:pt x="372" y="2498"/>
                  </a:cubicBezTo>
                  <a:cubicBezTo>
                    <a:pt x="356" y="2475"/>
                    <a:pt x="348" y="2475"/>
                    <a:pt x="340" y="2467"/>
                  </a:cubicBezTo>
                  <a:cubicBezTo>
                    <a:pt x="332" y="2459"/>
                    <a:pt x="332" y="2459"/>
                    <a:pt x="316" y="2443"/>
                  </a:cubicBezTo>
                  <a:cubicBezTo>
                    <a:pt x="292" y="2420"/>
                    <a:pt x="300" y="2388"/>
                    <a:pt x="300" y="2356"/>
                  </a:cubicBezTo>
                  <a:cubicBezTo>
                    <a:pt x="300" y="2348"/>
                    <a:pt x="300" y="2340"/>
                    <a:pt x="300" y="2325"/>
                  </a:cubicBezTo>
                  <a:cubicBezTo>
                    <a:pt x="300" y="2301"/>
                    <a:pt x="300" y="2293"/>
                    <a:pt x="308" y="2285"/>
                  </a:cubicBezTo>
                  <a:cubicBezTo>
                    <a:pt x="316" y="2277"/>
                    <a:pt x="316" y="2269"/>
                    <a:pt x="324" y="2253"/>
                  </a:cubicBezTo>
                  <a:cubicBezTo>
                    <a:pt x="332" y="2230"/>
                    <a:pt x="332" y="2214"/>
                    <a:pt x="324" y="2198"/>
                  </a:cubicBezTo>
                  <a:cubicBezTo>
                    <a:pt x="324" y="2190"/>
                    <a:pt x="324" y="2182"/>
                    <a:pt x="324" y="2167"/>
                  </a:cubicBezTo>
                  <a:cubicBezTo>
                    <a:pt x="324" y="2151"/>
                    <a:pt x="324" y="2135"/>
                    <a:pt x="332" y="2135"/>
                  </a:cubicBezTo>
                  <a:cubicBezTo>
                    <a:pt x="340" y="2135"/>
                    <a:pt x="348" y="2135"/>
                    <a:pt x="356" y="2143"/>
                  </a:cubicBezTo>
                  <a:cubicBezTo>
                    <a:pt x="372" y="2151"/>
                    <a:pt x="372" y="2158"/>
                    <a:pt x="387" y="2182"/>
                  </a:cubicBezTo>
                  <a:cubicBezTo>
                    <a:pt x="387" y="2190"/>
                    <a:pt x="395" y="2206"/>
                    <a:pt x="403" y="2222"/>
                  </a:cubicBezTo>
                  <a:cubicBezTo>
                    <a:pt x="419" y="2245"/>
                    <a:pt x="427" y="2269"/>
                    <a:pt x="427" y="2269"/>
                  </a:cubicBezTo>
                  <a:cubicBezTo>
                    <a:pt x="427" y="2269"/>
                    <a:pt x="427" y="2269"/>
                    <a:pt x="435" y="2269"/>
                  </a:cubicBezTo>
                  <a:cubicBezTo>
                    <a:pt x="435" y="2261"/>
                    <a:pt x="443" y="2261"/>
                    <a:pt x="451" y="2261"/>
                  </a:cubicBezTo>
                  <a:cubicBezTo>
                    <a:pt x="458" y="2261"/>
                    <a:pt x="458" y="2261"/>
                    <a:pt x="458" y="2261"/>
                  </a:cubicBezTo>
                  <a:cubicBezTo>
                    <a:pt x="458" y="2253"/>
                    <a:pt x="458" y="2245"/>
                    <a:pt x="451" y="2230"/>
                  </a:cubicBezTo>
                  <a:cubicBezTo>
                    <a:pt x="451" y="2222"/>
                    <a:pt x="451" y="2206"/>
                    <a:pt x="443" y="2198"/>
                  </a:cubicBezTo>
                  <a:cubicBezTo>
                    <a:pt x="443" y="2174"/>
                    <a:pt x="435" y="2151"/>
                    <a:pt x="435" y="2127"/>
                  </a:cubicBezTo>
                  <a:cubicBezTo>
                    <a:pt x="427" y="2111"/>
                    <a:pt x="427" y="2095"/>
                    <a:pt x="419" y="2087"/>
                  </a:cubicBezTo>
                  <a:cubicBezTo>
                    <a:pt x="419" y="2072"/>
                    <a:pt x="411" y="2064"/>
                    <a:pt x="411" y="2064"/>
                  </a:cubicBezTo>
                  <a:cubicBezTo>
                    <a:pt x="403" y="2056"/>
                    <a:pt x="395" y="2056"/>
                    <a:pt x="395" y="2048"/>
                  </a:cubicBezTo>
                  <a:cubicBezTo>
                    <a:pt x="387" y="2032"/>
                    <a:pt x="395" y="2024"/>
                    <a:pt x="403" y="2016"/>
                  </a:cubicBezTo>
                  <a:cubicBezTo>
                    <a:pt x="403" y="2008"/>
                    <a:pt x="419" y="2000"/>
                    <a:pt x="427" y="2000"/>
                  </a:cubicBezTo>
                  <a:cubicBezTo>
                    <a:pt x="435" y="2000"/>
                    <a:pt x="451" y="1993"/>
                    <a:pt x="451" y="1985"/>
                  </a:cubicBezTo>
                  <a:cubicBezTo>
                    <a:pt x="451" y="1977"/>
                    <a:pt x="451" y="1969"/>
                    <a:pt x="443" y="1961"/>
                  </a:cubicBezTo>
                  <a:cubicBezTo>
                    <a:pt x="427" y="1945"/>
                    <a:pt x="419" y="1937"/>
                    <a:pt x="395" y="1929"/>
                  </a:cubicBezTo>
                  <a:cubicBezTo>
                    <a:pt x="387" y="1929"/>
                    <a:pt x="387" y="1929"/>
                    <a:pt x="387" y="1945"/>
                  </a:cubicBezTo>
                  <a:cubicBezTo>
                    <a:pt x="387" y="1953"/>
                    <a:pt x="387" y="1969"/>
                    <a:pt x="379" y="1985"/>
                  </a:cubicBezTo>
                  <a:cubicBezTo>
                    <a:pt x="364" y="2000"/>
                    <a:pt x="372" y="2008"/>
                    <a:pt x="372" y="2016"/>
                  </a:cubicBezTo>
                  <a:cubicBezTo>
                    <a:pt x="372" y="2024"/>
                    <a:pt x="372" y="2032"/>
                    <a:pt x="372" y="2040"/>
                  </a:cubicBezTo>
                  <a:cubicBezTo>
                    <a:pt x="372" y="2064"/>
                    <a:pt x="356" y="2072"/>
                    <a:pt x="348" y="2072"/>
                  </a:cubicBezTo>
                  <a:cubicBezTo>
                    <a:pt x="340" y="2072"/>
                    <a:pt x="332" y="2072"/>
                    <a:pt x="332" y="2064"/>
                  </a:cubicBezTo>
                  <a:cubicBezTo>
                    <a:pt x="308" y="2056"/>
                    <a:pt x="292" y="2032"/>
                    <a:pt x="269" y="1977"/>
                  </a:cubicBezTo>
                  <a:cubicBezTo>
                    <a:pt x="261" y="1945"/>
                    <a:pt x="253" y="1945"/>
                    <a:pt x="245" y="1945"/>
                  </a:cubicBezTo>
                  <a:cubicBezTo>
                    <a:pt x="237" y="1945"/>
                    <a:pt x="237" y="1945"/>
                    <a:pt x="229" y="1945"/>
                  </a:cubicBezTo>
                  <a:cubicBezTo>
                    <a:pt x="221" y="1945"/>
                    <a:pt x="214" y="1945"/>
                    <a:pt x="198" y="1945"/>
                  </a:cubicBezTo>
                  <a:cubicBezTo>
                    <a:pt x="198" y="1945"/>
                    <a:pt x="182" y="1945"/>
                    <a:pt x="182" y="1937"/>
                  </a:cubicBezTo>
                  <a:cubicBezTo>
                    <a:pt x="182" y="1929"/>
                    <a:pt x="190" y="1921"/>
                    <a:pt x="214" y="1905"/>
                  </a:cubicBezTo>
                  <a:lnTo>
                    <a:pt x="214" y="1898"/>
                  </a:lnTo>
                  <a:cubicBezTo>
                    <a:pt x="229" y="1890"/>
                    <a:pt x="237" y="1850"/>
                    <a:pt x="229" y="1819"/>
                  </a:cubicBezTo>
                  <a:cubicBezTo>
                    <a:pt x="229" y="1803"/>
                    <a:pt x="229" y="1803"/>
                    <a:pt x="221" y="1795"/>
                  </a:cubicBezTo>
                  <a:cubicBezTo>
                    <a:pt x="221" y="1795"/>
                    <a:pt x="214" y="1787"/>
                    <a:pt x="214" y="1763"/>
                  </a:cubicBezTo>
                  <a:cubicBezTo>
                    <a:pt x="205" y="1755"/>
                    <a:pt x="205" y="1740"/>
                    <a:pt x="205" y="1740"/>
                  </a:cubicBezTo>
                  <a:cubicBezTo>
                    <a:pt x="205" y="1724"/>
                    <a:pt x="205" y="1724"/>
                    <a:pt x="190" y="1708"/>
                  </a:cubicBezTo>
                  <a:cubicBezTo>
                    <a:pt x="182" y="1708"/>
                    <a:pt x="182" y="1700"/>
                    <a:pt x="174" y="1700"/>
                  </a:cubicBezTo>
                  <a:cubicBezTo>
                    <a:pt x="166" y="1692"/>
                    <a:pt x="158" y="1684"/>
                    <a:pt x="150" y="1653"/>
                  </a:cubicBezTo>
                  <a:cubicBezTo>
                    <a:pt x="150" y="1621"/>
                    <a:pt x="142" y="1613"/>
                    <a:pt x="126" y="1597"/>
                  </a:cubicBezTo>
                  <a:cubicBezTo>
                    <a:pt x="119" y="1597"/>
                    <a:pt x="111" y="1589"/>
                    <a:pt x="111" y="1581"/>
                  </a:cubicBezTo>
                  <a:cubicBezTo>
                    <a:pt x="95" y="1574"/>
                    <a:pt x="95" y="1566"/>
                    <a:pt x="95" y="1550"/>
                  </a:cubicBezTo>
                  <a:cubicBezTo>
                    <a:pt x="95" y="1534"/>
                    <a:pt x="95" y="1510"/>
                    <a:pt x="63" y="1471"/>
                  </a:cubicBezTo>
                  <a:cubicBezTo>
                    <a:pt x="39" y="1439"/>
                    <a:pt x="39" y="1423"/>
                    <a:pt x="39" y="1423"/>
                  </a:cubicBezTo>
                  <a:cubicBezTo>
                    <a:pt x="39" y="1415"/>
                    <a:pt x="47" y="1415"/>
                    <a:pt x="47" y="1415"/>
                  </a:cubicBezTo>
                  <a:lnTo>
                    <a:pt x="55" y="1415"/>
                  </a:lnTo>
                  <a:lnTo>
                    <a:pt x="55" y="1408"/>
                  </a:lnTo>
                  <a:cubicBezTo>
                    <a:pt x="47" y="1384"/>
                    <a:pt x="55" y="1360"/>
                    <a:pt x="71" y="1328"/>
                  </a:cubicBezTo>
                  <a:cubicBezTo>
                    <a:pt x="71" y="1313"/>
                    <a:pt x="71" y="1313"/>
                    <a:pt x="71" y="1313"/>
                  </a:cubicBezTo>
                  <a:cubicBezTo>
                    <a:pt x="87" y="1281"/>
                    <a:pt x="87" y="1273"/>
                    <a:pt x="79" y="1241"/>
                  </a:cubicBezTo>
                  <a:cubicBezTo>
                    <a:pt x="71" y="1234"/>
                    <a:pt x="71" y="1234"/>
                    <a:pt x="71" y="1234"/>
                  </a:cubicBezTo>
                  <a:cubicBezTo>
                    <a:pt x="63" y="1202"/>
                    <a:pt x="71" y="1202"/>
                    <a:pt x="87" y="1186"/>
                  </a:cubicBezTo>
                  <a:cubicBezTo>
                    <a:pt x="95" y="1186"/>
                    <a:pt x="103" y="1178"/>
                    <a:pt x="111" y="1170"/>
                  </a:cubicBezTo>
                  <a:cubicBezTo>
                    <a:pt x="126" y="1155"/>
                    <a:pt x="126" y="1147"/>
                    <a:pt x="119" y="1123"/>
                  </a:cubicBezTo>
                  <a:cubicBezTo>
                    <a:pt x="119" y="1115"/>
                    <a:pt x="119" y="1099"/>
                    <a:pt x="119" y="1083"/>
                  </a:cubicBezTo>
                  <a:cubicBezTo>
                    <a:pt x="119" y="1076"/>
                    <a:pt x="119" y="1068"/>
                    <a:pt x="119" y="1060"/>
                  </a:cubicBezTo>
                  <a:cubicBezTo>
                    <a:pt x="119" y="1036"/>
                    <a:pt x="119" y="1028"/>
                    <a:pt x="111" y="981"/>
                  </a:cubicBezTo>
                  <a:cubicBezTo>
                    <a:pt x="103" y="949"/>
                    <a:pt x="95" y="933"/>
                    <a:pt x="87" y="925"/>
                  </a:cubicBezTo>
                  <a:cubicBezTo>
                    <a:pt x="87" y="910"/>
                    <a:pt x="79" y="902"/>
                    <a:pt x="71" y="878"/>
                  </a:cubicBezTo>
                  <a:cubicBezTo>
                    <a:pt x="63" y="846"/>
                    <a:pt x="55" y="846"/>
                    <a:pt x="47" y="838"/>
                  </a:cubicBezTo>
                  <a:cubicBezTo>
                    <a:pt x="39" y="830"/>
                    <a:pt x="32" y="823"/>
                    <a:pt x="24" y="799"/>
                  </a:cubicBezTo>
                  <a:cubicBezTo>
                    <a:pt x="0" y="767"/>
                    <a:pt x="0" y="759"/>
                    <a:pt x="8" y="736"/>
                  </a:cubicBezTo>
                  <a:cubicBezTo>
                    <a:pt x="8" y="728"/>
                    <a:pt x="16" y="712"/>
                    <a:pt x="16" y="696"/>
                  </a:cubicBezTo>
                  <a:cubicBezTo>
                    <a:pt x="16" y="657"/>
                    <a:pt x="24" y="649"/>
                    <a:pt x="39" y="641"/>
                  </a:cubicBezTo>
                  <a:cubicBezTo>
                    <a:pt x="47" y="633"/>
                    <a:pt x="55" y="633"/>
                    <a:pt x="55" y="625"/>
                  </a:cubicBezTo>
                  <a:cubicBezTo>
                    <a:pt x="71" y="609"/>
                    <a:pt x="95" y="577"/>
                    <a:pt x="119" y="562"/>
                  </a:cubicBezTo>
                  <a:cubicBezTo>
                    <a:pt x="126" y="554"/>
                    <a:pt x="126" y="546"/>
                    <a:pt x="134" y="546"/>
                  </a:cubicBezTo>
                  <a:cubicBezTo>
                    <a:pt x="142" y="538"/>
                    <a:pt x="142" y="530"/>
                    <a:pt x="150" y="514"/>
                  </a:cubicBezTo>
                  <a:cubicBezTo>
                    <a:pt x="150" y="506"/>
                    <a:pt x="150" y="498"/>
                    <a:pt x="158" y="491"/>
                  </a:cubicBezTo>
                  <a:cubicBezTo>
                    <a:pt x="158" y="467"/>
                    <a:pt x="166" y="467"/>
                    <a:pt x="174" y="459"/>
                  </a:cubicBezTo>
                  <a:cubicBezTo>
                    <a:pt x="174" y="459"/>
                    <a:pt x="182" y="451"/>
                    <a:pt x="190" y="435"/>
                  </a:cubicBezTo>
                  <a:cubicBezTo>
                    <a:pt x="198" y="419"/>
                    <a:pt x="198" y="404"/>
                    <a:pt x="190" y="396"/>
                  </a:cubicBezTo>
                  <a:cubicBezTo>
                    <a:pt x="190" y="388"/>
                    <a:pt x="190" y="372"/>
                    <a:pt x="190" y="364"/>
                  </a:cubicBezTo>
                  <a:cubicBezTo>
                    <a:pt x="198" y="340"/>
                    <a:pt x="221" y="324"/>
                    <a:pt x="237" y="309"/>
                  </a:cubicBezTo>
                  <a:cubicBezTo>
                    <a:pt x="237" y="301"/>
                    <a:pt x="245" y="301"/>
                    <a:pt x="245" y="301"/>
                  </a:cubicBezTo>
                  <a:cubicBezTo>
                    <a:pt x="253" y="293"/>
                    <a:pt x="253" y="285"/>
                    <a:pt x="253" y="277"/>
                  </a:cubicBezTo>
                  <a:cubicBezTo>
                    <a:pt x="253" y="277"/>
                    <a:pt x="253" y="261"/>
                    <a:pt x="253" y="246"/>
                  </a:cubicBezTo>
                  <a:cubicBezTo>
                    <a:pt x="253" y="222"/>
                    <a:pt x="261" y="214"/>
                    <a:pt x="269" y="206"/>
                  </a:cubicBezTo>
                  <a:cubicBezTo>
                    <a:pt x="277" y="198"/>
                    <a:pt x="277" y="190"/>
                    <a:pt x="285" y="182"/>
                  </a:cubicBezTo>
                  <a:cubicBezTo>
                    <a:pt x="292" y="158"/>
                    <a:pt x="285" y="151"/>
                    <a:pt x="269" y="143"/>
                  </a:cubicBezTo>
                  <a:cubicBezTo>
                    <a:pt x="261" y="135"/>
                    <a:pt x="253" y="119"/>
                    <a:pt x="245" y="103"/>
                  </a:cubicBezTo>
                  <a:cubicBezTo>
                    <a:pt x="237" y="95"/>
                    <a:pt x="229" y="80"/>
                    <a:pt x="237" y="71"/>
                  </a:cubicBezTo>
                  <a:cubicBezTo>
                    <a:pt x="245" y="48"/>
                    <a:pt x="269" y="32"/>
                    <a:pt x="269" y="32"/>
                  </a:cubicBezTo>
                  <a:lnTo>
                    <a:pt x="269" y="32"/>
                  </a:lnTo>
                  <a:cubicBezTo>
                    <a:pt x="269" y="32"/>
                    <a:pt x="285" y="32"/>
                    <a:pt x="292" y="24"/>
                  </a:cubicBezTo>
                  <a:cubicBezTo>
                    <a:pt x="300" y="16"/>
                    <a:pt x="300" y="8"/>
                    <a:pt x="300" y="8"/>
                  </a:cubicBezTo>
                  <a:cubicBezTo>
                    <a:pt x="292" y="0"/>
                    <a:pt x="292" y="0"/>
                    <a:pt x="292" y="0"/>
                  </a:cubicBezTo>
                  <a:cubicBezTo>
                    <a:pt x="300" y="0"/>
                    <a:pt x="300" y="0"/>
                    <a:pt x="300" y="0"/>
                  </a:cubicBezTo>
                  <a:cubicBezTo>
                    <a:pt x="538" y="71"/>
                    <a:pt x="1035" y="206"/>
                    <a:pt x="1684" y="364"/>
                  </a:cubicBezTo>
                  <a:cubicBezTo>
                    <a:pt x="1692" y="364"/>
                    <a:pt x="1692" y="364"/>
                    <a:pt x="1692" y="364"/>
                  </a:cubicBezTo>
                  <a:cubicBezTo>
                    <a:pt x="1336" y="1755"/>
                    <a:pt x="1336" y="1755"/>
                    <a:pt x="1336" y="1755"/>
                  </a:cubicBezTo>
                  <a:cubicBezTo>
                    <a:pt x="2933" y="4039"/>
                    <a:pt x="2933" y="4039"/>
                    <a:pt x="2933" y="4039"/>
                  </a:cubicBezTo>
                  <a:lnTo>
                    <a:pt x="2933" y="4039"/>
                  </a:lnTo>
                  <a:cubicBezTo>
                    <a:pt x="2933" y="4055"/>
                    <a:pt x="2933" y="4063"/>
                    <a:pt x="2925" y="4086"/>
                  </a:cubicBezTo>
                  <a:cubicBezTo>
                    <a:pt x="2925" y="4110"/>
                    <a:pt x="2933" y="4118"/>
                    <a:pt x="2941" y="4134"/>
                  </a:cubicBezTo>
                  <a:cubicBezTo>
                    <a:pt x="2949" y="4142"/>
                    <a:pt x="2957" y="4150"/>
                    <a:pt x="2965" y="4158"/>
                  </a:cubicBezTo>
                  <a:cubicBezTo>
                    <a:pt x="2965" y="4166"/>
                    <a:pt x="2972" y="4173"/>
                    <a:pt x="2972" y="4181"/>
                  </a:cubicBezTo>
                  <a:cubicBezTo>
                    <a:pt x="2980" y="4197"/>
                    <a:pt x="2988" y="4213"/>
                    <a:pt x="2996" y="4237"/>
                  </a:cubicBezTo>
                  <a:cubicBezTo>
                    <a:pt x="2996" y="4260"/>
                    <a:pt x="3020" y="4324"/>
                    <a:pt x="3044" y="4339"/>
                  </a:cubicBezTo>
                  <a:cubicBezTo>
                    <a:pt x="3051" y="4339"/>
                    <a:pt x="3059" y="4355"/>
                    <a:pt x="3067" y="4371"/>
                  </a:cubicBezTo>
                  <a:cubicBezTo>
                    <a:pt x="3067" y="4387"/>
                    <a:pt x="3067" y="4403"/>
                    <a:pt x="3059" y="4411"/>
                  </a:cubicBezTo>
                  <a:cubicBezTo>
                    <a:pt x="3051" y="4426"/>
                    <a:pt x="3044" y="4426"/>
                    <a:pt x="3036" y="4434"/>
                  </a:cubicBezTo>
                  <a:cubicBezTo>
                    <a:pt x="3028" y="4434"/>
                    <a:pt x="3012" y="4442"/>
                    <a:pt x="2996" y="4450"/>
                  </a:cubicBezTo>
                  <a:cubicBezTo>
                    <a:pt x="2980" y="4458"/>
                    <a:pt x="2965" y="4474"/>
                    <a:pt x="2957" y="4490"/>
                  </a:cubicBezTo>
                  <a:cubicBezTo>
                    <a:pt x="2941" y="4506"/>
                    <a:pt x="2925" y="4521"/>
                    <a:pt x="2901" y="4529"/>
                  </a:cubicBezTo>
                  <a:cubicBezTo>
                    <a:pt x="2878" y="4545"/>
                    <a:pt x="2885" y="4561"/>
                    <a:pt x="2885" y="4584"/>
                  </a:cubicBezTo>
                  <a:cubicBezTo>
                    <a:pt x="2885" y="4592"/>
                    <a:pt x="2893" y="4608"/>
                    <a:pt x="2885" y="4632"/>
                  </a:cubicBezTo>
                  <a:cubicBezTo>
                    <a:pt x="2878" y="4671"/>
                    <a:pt x="2846" y="4719"/>
                    <a:pt x="2830" y="4750"/>
                  </a:cubicBezTo>
                  <a:cubicBezTo>
                    <a:pt x="2822" y="4758"/>
                    <a:pt x="2822" y="4758"/>
                    <a:pt x="2814" y="4766"/>
                  </a:cubicBezTo>
                  <a:cubicBezTo>
                    <a:pt x="2807" y="4774"/>
                    <a:pt x="2798" y="4782"/>
                    <a:pt x="2783" y="4782"/>
                  </a:cubicBezTo>
                  <a:cubicBezTo>
                    <a:pt x="2775" y="4790"/>
                    <a:pt x="2759" y="4790"/>
                    <a:pt x="2751" y="4806"/>
                  </a:cubicBezTo>
                  <a:cubicBezTo>
                    <a:pt x="2743" y="4822"/>
                    <a:pt x="2751" y="4830"/>
                    <a:pt x="2751" y="4845"/>
                  </a:cubicBezTo>
                  <a:cubicBezTo>
                    <a:pt x="2759" y="4853"/>
                    <a:pt x="2767" y="4869"/>
                    <a:pt x="2767" y="4885"/>
                  </a:cubicBezTo>
                  <a:cubicBezTo>
                    <a:pt x="2767" y="4908"/>
                    <a:pt x="2759" y="4908"/>
                    <a:pt x="2751" y="4917"/>
                  </a:cubicBezTo>
                  <a:cubicBezTo>
                    <a:pt x="2751" y="4917"/>
                    <a:pt x="2751" y="4917"/>
                    <a:pt x="2751" y="4932"/>
                  </a:cubicBezTo>
                  <a:cubicBezTo>
                    <a:pt x="2751" y="4940"/>
                    <a:pt x="2751" y="4948"/>
                    <a:pt x="2767" y="4948"/>
                  </a:cubicBezTo>
                  <a:cubicBezTo>
                    <a:pt x="2775" y="4948"/>
                    <a:pt x="2783" y="4948"/>
                    <a:pt x="2798" y="4956"/>
                  </a:cubicBezTo>
                  <a:cubicBezTo>
                    <a:pt x="2822" y="4964"/>
                    <a:pt x="2822" y="4972"/>
                    <a:pt x="2830" y="5011"/>
                  </a:cubicBezTo>
                  <a:lnTo>
                    <a:pt x="2830" y="5011"/>
                  </a:lnTo>
                  <a:cubicBezTo>
                    <a:pt x="2830" y="5035"/>
                    <a:pt x="2822" y="5043"/>
                    <a:pt x="2807" y="5043"/>
                  </a:cubicBezTo>
                  <a:cubicBezTo>
                    <a:pt x="2798" y="5051"/>
                    <a:pt x="2798" y="5051"/>
                    <a:pt x="2791" y="5067"/>
                  </a:cubicBezTo>
                  <a:cubicBezTo>
                    <a:pt x="2791" y="5098"/>
                    <a:pt x="2743" y="5098"/>
                    <a:pt x="2727" y="5098"/>
                  </a:cubicBezTo>
                  <a:cubicBezTo>
                    <a:pt x="2719" y="5098"/>
                    <a:pt x="2704" y="5106"/>
                    <a:pt x="2688" y="5106"/>
                  </a:cubicBezTo>
                  <a:close/>
                  <a:moveTo>
                    <a:pt x="1723" y="4980"/>
                  </a:moveTo>
                  <a:lnTo>
                    <a:pt x="1723" y="4980"/>
                  </a:lnTo>
                  <a:cubicBezTo>
                    <a:pt x="1881" y="4996"/>
                    <a:pt x="2632" y="5083"/>
                    <a:pt x="2672" y="5083"/>
                  </a:cubicBezTo>
                  <a:cubicBezTo>
                    <a:pt x="2680" y="5090"/>
                    <a:pt x="2688" y="5090"/>
                    <a:pt x="2696" y="5098"/>
                  </a:cubicBezTo>
                  <a:cubicBezTo>
                    <a:pt x="2704" y="5098"/>
                    <a:pt x="2719" y="5090"/>
                    <a:pt x="2727" y="5090"/>
                  </a:cubicBezTo>
                  <a:cubicBezTo>
                    <a:pt x="2743" y="5090"/>
                    <a:pt x="2783" y="5090"/>
                    <a:pt x="2783" y="5067"/>
                  </a:cubicBezTo>
                  <a:cubicBezTo>
                    <a:pt x="2791" y="5051"/>
                    <a:pt x="2798" y="5043"/>
                    <a:pt x="2807" y="5043"/>
                  </a:cubicBezTo>
                  <a:cubicBezTo>
                    <a:pt x="2814" y="5035"/>
                    <a:pt x="2822" y="5035"/>
                    <a:pt x="2822" y="5011"/>
                  </a:cubicBezTo>
                  <a:lnTo>
                    <a:pt x="2822" y="5011"/>
                  </a:lnTo>
                  <a:cubicBezTo>
                    <a:pt x="2814" y="4972"/>
                    <a:pt x="2814" y="4972"/>
                    <a:pt x="2791" y="4956"/>
                  </a:cubicBezTo>
                  <a:cubicBezTo>
                    <a:pt x="2783" y="4956"/>
                    <a:pt x="2775" y="4956"/>
                    <a:pt x="2767" y="4956"/>
                  </a:cubicBezTo>
                  <a:cubicBezTo>
                    <a:pt x="2751" y="4948"/>
                    <a:pt x="2743" y="4948"/>
                    <a:pt x="2743" y="4932"/>
                  </a:cubicBezTo>
                  <a:cubicBezTo>
                    <a:pt x="2743" y="4917"/>
                    <a:pt x="2743" y="4917"/>
                    <a:pt x="2751" y="4908"/>
                  </a:cubicBezTo>
                  <a:cubicBezTo>
                    <a:pt x="2751" y="4908"/>
                    <a:pt x="2759" y="4901"/>
                    <a:pt x="2759" y="4885"/>
                  </a:cubicBezTo>
                  <a:cubicBezTo>
                    <a:pt x="2759" y="4869"/>
                    <a:pt x="2751" y="4861"/>
                    <a:pt x="2751" y="4845"/>
                  </a:cubicBezTo>
                  <a:cubicBezTo>
                    <a:pt x="2743" y="4830"/>
                    <a:pt x="2735" y="4822"/>
                    <a:pt x="2743" y="4806"/>
                  </a:cubicBezTo>
                  <a:cubicBezTo>
                    <a:pt x="2751" y="4782"/>
                    <a:pt x="2767" y="4782"/>
                    <a:pt x="2783" y="4774"/>
                  </a:cubicBezTo>
                  <a:cubicBezTo>
                    <a:pt x="2798" y="4774"/>
                    <a:pt x="2807" y="4766"/>
                    <a:pt x="2814" y="4758"/>
                  </a:cubicBezTo>
                  <a:cubicBezTo>
                    <a:pt x="2814" y="4758"/>
                    <a:pt x="2814" y="4750"/>
                    <a:pt x="2822" y="4743"/>
                  </a:cubicBezTo>
                  <a:cubicBezTo>
                    <a:pt x="2838" y="4711"/>
                    <a:pt x="2870" y="4664"/>
                    <a:pt x="2878" y="4632"/>
                  </a:cubicBezTo>
                  <a:cubicBezTo>
                    <a:pt x="2885" y="4608"/>
                    <a:pt x="2878" y="4600"/>
                    <a:pt x="2878" y="4584"/>
                  </a:cubicBezTo>
                  <a:cubicBezTo>
                    <a:pt x="2878" y="4561"/>
                    <a:pt x="2870" y="4537"/>
                    <a:pt x="2901" y="4521"/>
                  </a:cubicBezTo>
                  <a:cubicBezTo>
                    <a:pt x="2917" y="4513"/>
                    <a:pt x="2933" y="4497"/>
                    <a:pt x="2949" y="4482"/>
                  </a:cubicBezTo>
                  <a:cubicBezTo>
                    <a:pt x="2965" y="4466"/>
                    <a:pt x="2980" y="4450"/>
                    <a:pt x="2996" y="4442"/>
                  </a:cubicBezTo>
                  <a:cubicBezTo>
                    <a:pt x="3012" y="4434"/>
                    <a:pt x="3020" y="4426"/>
                    <a:pt x="3028" y="4426"/>
                  </a:cubicBezTo>
                  <a:cubicBezTo>
                    <a:pt x="3044" y="4418"/>
                    <a:pt x="3051" y="4418"/>
                    <a:pt x="3051" y="4411"/>
                  </a:cubicBezTo>
                  <a:cubicBezTo>
                    <a:pt x="3059" y="4403"/>
                    <a:pt x="3059" y="4387"/>
                    <a:pt x="3059" y="4371"/>
                  </a:cubicBezTo>
                  <a:cubicBezTo>
                    <a:pt x="3051" y="4355"/>
                    <a:pt x="3044" y="4347"/>
                    <a:pt x="3036" y="4339"/>
                  </a:cubicBezTo>
                  <a:cubicBezTo>
                    <a:pt x="3012" y="4331"/>
                    <a:pt x="2988" y="4260"/>
                    <a:pt x="2988" y="4237"/>
                  </a:cubicBezTo>
                  <a:cubicBezTo>
                    <a:pt x="2980" y="4213"/>
                    <a:pt x="2980" y="4205"/>
                    <a:pt x="2965" y="4181"/>
                  </a:cubicBezTo>
                  <a:cubicBezTo>
                    <a:pt x="2965" y="4181"/>
                    <a:pt x="2957" y="4173"/>
                    <a:pt x="2957" y="4166"/>
                  </a:cubicBezTo>
                  <a:cubicBezTo>
                    <a:pt x="2949" y="4150"/>
                    <a:pt x="2941" y="4142"/>
                    <a:pt x="2933" y="4134"/>
                  </a:cubicBezTo>
                  <a:cubicBezTo>
                    <a:pt x="2925" y="4126"/>
                    <a:pt x="2917" y="4110"/>
                    <a:pt x="2917" y="4078"/>
                  </a:cubicBezTo>
                  <a:cubicBezTo>
                    <a:pt x="2925" y="4063"/>
                    <a:pt x="2925" y="4055"/>
                    <a:pt x="2925" y="4039"/>
                  </a:cubicBezTo>
                  <a:cubicBezTo>
                    <a:pt x="1328" y="1763"/>
                    <a:pt x="1328" y="1763"/>
                    <a:pt x="1328" y="1763"/>
                  </a:cubicBezTo>
                  <a:cubicBezTo>
                    <a:pt x="1684" y="372"/>
                    <a:pt x="1684" y="372"/>
                    <a:pt x="1684" y="372"/>
                  </a:cubicBezTo>
                  <a:cubicBezTo>
                    <a:pt x="1035" y="214"/>
                    <a:pt x="545" y="80"/>
                    <a:pt x="308" y="8"/>
                  </a:cubicBezTo>
                  <a:cubicBezTo>
                    <a:pt x="308" y="16"/>
                    <a:pt x="300" y="24"/>
                    <a:pt x="300" y="24"/>
                  </a:cubicBezTo>
                  <a:cubicBezTo>
                    <a:pt x="292" y="40"/>
                    <a:pt x="277" y="40"/>
                    <a:pt x="269" y="40"/>
                  </a:cubicBezTo>
                  <a:cubicBezTo>
                    <a:pt x="269" y="40"/>
                    <a:pt x="245" y="56"/>
                    <a:pt x="245" y="71"/>
                  </a:cubicBezTo>
                  <a:cubicBezTo>
                    <a:pt x="237" y="80"/>
                    <a:pt x="245" y="95"/>
                    <a:pt x="245" y="103"/>
                  </a:cubicBezTo>
                  <a:cubicBezTo>
                    <a:pt x="261" y="119"/>
                    <a:pt x="269" y="127"/>
                    <a:pt x="277" y="135"/>
                  </a:cubicBezTo>
                  <a:cubicBezTo>
                    <a:pt x="292" y="151"/>
                    <a:pt x="300" y="158"/>
                    <a:pt x="292" y="182"/>
                  </a:cubicBezTo>
                  <a:cubicBezTo>
                    <a:pt x="285" y="198"/>
                    <a:pt x="277" y="206"/>
                    <a:pt x="277" y="214"/>
                  </a:cubicBezTo>
                  <a:cubicBezTo>
                    <a:pt x="269" y="222"/>
                    <a:pt x="261" y="230"/>
                    <a:pt x="261" y="246"/>
                  </a:cubicBezTo>
                  <a:cubicBezTo>
                    <a:pt x="261" y="261"/>
                    <a:pt x="261" y="269"/>
                    <a:pt x="261" y="277"/>
                  </a:cubicBezTo>
                  <a:cubicBezTo>
                    <a:pt x="261" y="285"/>
                    <a:pt x="261" y="293"/>
                    <a:pt x="253" y="309"/>
                  </a:cubicBezTo>
                  <a:cubicBezTo>
                    <a:pt x="245" y="309"/>
                    <a:pt x="245" y="309"/>
                    <a:pt x="237" y="309"/>
                  </a:cubicBezTo>
                  <a:cubicBezTo>
                    <a:pt x="221" y="324"/>
                    <a:pt x="205" y="340"/>
                    <a:pt x="198" y="364"/>
                  </a:cubicBezTo>
                  <a:cubicBezTo>
                    <a:pt x="198" y="372"/>
                    <a:pt x="198" y="380"/>
                    <a:pt x="198" y="396"/>
                  </a:cubicBezTo>
                  <a:cubicBezTo>
                    <a:pt x="205" y="404"/>
                    <a:pt x="205" y="419"/>
                    <a:pt x="198" y="443"/>
                  </a:cubicBezTo>
                  <a:cubicBezTo>
                    <a:pt x="182" y="459"/>
                    <a:pt x="182" y="459"/>
                    <a:pt x="174" y="467"/>
                  </a:cubicBezTo>
                  <a:cubicBezTo>
                    <a:pt x="174" y="467"/>
                    <a:pt x="166" y="475"/>
                    <a:pt x="166" y="491"/>
                  </a:cubicBezTo>
                  <a:cubicBezTo>
                    <a:pt x="158" y="498"/>
                    <a:pt x="158" y="506"/>
                    <a:pt x="158" y="514"/>
                  </a:cubicBezTo>
                  <a:cubicBezTo>
                    <a:pt x="150" y="530"/>
                    <a:pt x="150" y="538"/>
                    <a:pt x="142" y="554"/>
                  </a:cubicBezTo>
                  <a:cubicBezTo>
                    <a:pt x="134" y="554"/>
                    <a:pt x="126" y="562"/>
                    <a:pt x="119" y="570"/>
                  </a:cubicBezTo>
                  <a:cubicBezTo>
                    <a:pt x="103" y="586"/>
                    <a:pt x="71" y="609"/>
                    <a:pt x="63" y="633"/>
                  </a:cubicBezTo>
                  <a:cubicBezTo>
                    <a:pt x="55" y="641"/>
                    <a:pt x="47" y="641"/>
                    <a:pt x="47" y="649"/>
                  </a:cubicBezTo>
                  <a:cubicBezTo>
                    <a:pt x="32" y="657"/>
                    <a:pt x="24" y="664"/>
                    <a:pt x="24" y="696"/>
                  </a:cubicBezTo>
                  <a:cubicBezTo>
                    <a:pt x="24" y="712"/>
                    <a:pt x="16" y="728"/>
                    <a:pt x="16" y="736"/>
                  </a:cubicBezTo>
                  <a:cubicBezTo>
                    <a:pt x="8" y="759"/>
                    <a:pt x="8" y="767"/>
                    <a:pt x="24" y="799"/>
                  </a:cubicBezTo>
                  <a:cubicBezTo>
                    <a:pt x="39" y="815"/>
                    <a:pt x="47" y="823"/>
                    <a:pt x="55" y="830"/>
                  </a:cubicBezTo>
                  <a:cubicBezTo>
                    <a:pt x="63" y="838"/>
                    <a:pt x="71" y="846"/>
                    <a:pt x="79" y="878"/>
                  </a:cubicBezTo>
                  <a:cubicBezTo>
                    <a:pt x="87" y="894"/>
                    <a:pt x="87" y="910"/>
                    <a:pt x="95" y="917"/>
                  </a:cubicBezTo>
                  <a:cubicBezTo>
                    <a:pt x="103" y="933"/>
                    <a:pt x="111" y="941"/>
                    <a:pt x="119" y="973"/>
                  </a:cubicBezTo>
                  <a:cubicBezTo>
                    <a:pt x="126" y="1028"/>
                    <a:pt x="126" y="1036"/>
                    <a:pt x="126" y="1060"/>
                  </a:cubicBezTo>
                  <a:cubicBezTo>
                    <a:pt x="126" y="1068"/>
                    <a:pt x="126" y="1076"/>
                    <a:pt x="126" y="1083"/>
                  </a:cubicBezTo>
                  <a:cubicBezTo>
                    <a:pt x="119" y="1099"/>
                    <a:pt x="126" y="1115"/>
                    <a:pt x="126" y="1123"/>
                  </a:cubicBezTo>
                  <a:cubicBezTo>
                    <a:pt x="134" y="1147"/>
                    <a:pt x="134" y="1163"/>
                    <a:pt x="111" y="1178"/>
                  </a:cubicBezTo>
                  <a:cubicBezTo>
                    <a:pt x="103" y="1186"/>
                    <a:pt x="95" y="1186"/>
                    <a:pt x="95" y="1194"/>
                  </a:cubicBezTo>
                  <a:cubicBezTo>
                    <a:pt x="79" y="1202"/>
                    <a:pt x="71" y="1210"/>
                    <a:pt x="79" y="1234"/>
                  </a:cubicBezTo>
                  <a:cubicBezTo>
                    <a:pt x="87" y="1241"/>
                    <a:pt x="87" y="1241"/>
                    <a:pt x="87" y="1241"/>
                  </a:cubicBezTo>
                  <a:cubicBezTo>
                    <a:pt x="95" y="1273"/>
                    <a:pt x="95" y="1281"/>
                    <a:pt x="79" y="1321"/>
                  </a:cubicBezTo>
                  <a:cubicBezTo>
                    <a:pt x="79" y="1328"/>
                    <a:pt x="79" y="1328"/>
                    <a:pt x="79" y="1328"/>
                  </a:cubicBezTo>
                  <a:cubicBezTo>
                    <a:pt x="63" y="1360"/>
                    <a:pt x="55" y="1384"/>
                    <a:pt x="63" y="1408"/>
                  </a:cubicBezTo>
                  <a:lnTo>
                    <a:pt x="63" y="1415"/>
                  </a:lnTo>
                  <a:cubicBezTo>
                    <a:pt x="55" y="1423"/>
                    <a:pt x="55" y="1423"/>
                    <a:pt x="47" y="1423"/>
                  </a:cubicBezTo>
                  <a:lnTo>
                    <a:pt x="47" y="1423"/>
                  </a:lnTo>
                  <a:cubicBezTo>
                    <a:pt x="47" y="1423"/>
                    <a:pt x="47" y="1439"/>
                    <a:pt x="71" y="1463"/>
                  </a:cubicBezTo>
                  <a:cubicBezTo>
                    <a:pt x="103" y="1510"/>
                    <a:pt x="103" y="1534"/>
                    <a:pt x="103" y="1550"/>
                  </a:cubicBezTo>
                  <a:cubicBezTo>
                    <a:pt x="103" y="1558"/>
                    <a:pt x="103" y="1566"/>
                    <a:pt x="111" y="1581"/>
                  </a:cubicBezTo>
                  <a:cubicBezTo>
                    <a:pt x="119" y="1589"/>
                    <a:pt x="126" y="1589"/>
                    <a:pt x="126" y="1597"/>
                  </a:cubicBezTo>
                  <a:cubicBezTo>
                    <a:pt x="142" y="1613"/>
                    <a:pt x="150" y="1621"/>
                    <a:pt x="158" y="1653"/>
                  </a:cubicBezTo>
                  <a:cubicBezTo>
                    <a:pt x="166" y="1684"/>
                    <a:pt x="174" y="1684"/>
                    <a:pt x="182" y="1692"/>
                  </a:cubicBezTo>
                  <a:cubicBezTo>
                    <a:pt x="182" y="1692"/>
                    <a:pt x="190" y="1700"/>
                    <a:pt x="198" y="1700"/>
                  </a:cubicBezTo>
                  <a:cubicBezTo>
                    <a:pt x="214" y="1716"/>
                    <a:pt x="214" y="1724"/>
                    <a:pt x="214" y="1740"/>
                  </a:cubicBezTo>
                  <a:cubicBezTo>
                    <a:pt x="214" y="1740"/>
                    <a:pt x="214" y="1747"/>
                    <a:pt x="214" y="1763"/>
                  </a:cubicBezTo>
                  <a:cubicBezTo>
                    <a:pt x="221" y="1787"/>
                    <a:pt x="221" y="1787"/>
                    <a:pt x="229" y="1787"/>
                  </a:cubicBezTo>
                  <a:cubicBezTo>
                    <a:pt x="237" y="1795"/>
                    <a:pt x="237" y="1803"/>
                    <a:pt x="237" y="1819"/>
                  </a:cubicBezTo>
                  <a:cubicBezTo>
                    <a:pt x="245" y="1850"/>
                    <a:pt x="237" y="1890"/>
                    <a:pt x="221" y="1905"/>
                  </a:cubicBezTo>
                  <a:lnTo>
                    <a:pt x="214" y="1905"/>
                  </a:lnTo>
                  <a:cubicBezTo>
                    <a:pt x="205" y="1914"/>
                    <a:pt x="190" y="1929"/>
                    <a:pt x="190" y="1937"/>
                  </a:cubicBezTo>
                  <a:cubicBezTo>
                    <a:pt x="190" y="1937"/>
                    <a:pt x="190" y="1937"/>
                    <a:pt x="205" y="1937"/>
                  </a:cubicBezTo>
                  <a:cubicBezTo>
                    <a:pt x="214" y="1937"/>
                    <a:pt x="221" y="1937"/>
                    <a:pt x="229" y="1937"/>
                  </a:cubicBezTo>
                  <a:cubicBezTo>
                    <a:pt x="237" y="1937"/>
                    <a:pt x="237" y="1937"/>
                    <a:pt x="245" y="1937"/>
                  </a:cubicBezTo>
                  <a:cubicBezTo>
                    <a:pt x="261" y="1937"/>
                    <a:pt x="269" y="1945"/>
                    <a:pt x="277" y="1977"/>
                  </a:cubicBezTo>
                  <a:cubicBezTo>
                    <a:pt x="300" y="2024"/>
                    <a:pt x="316" y="2056"/>
                    <a:pt x="332" y="2056"/>
                  </a:cubicBezTo>
                  <a:cubicBezTo>
                    <a:pt x="332" y="2064"/>
                    <a:pt x="340" y="2064"/>
                    <a:pt x="348" y="2064"/>
                  </a:cubicBezTo>
                  <a:cubicBezTo>
                    <a:pt x="356" y="2064"/>
                    <a:pt x="364" y="2064"/>
                    <a:pt x="364" y="2040"/>
                  </a:cubicBezTo>
                  <a:cubicBezTo>
                    <a:pt x="364" y="2032"/>
                    <a:pt x="364" y="2024"/>
                    <a:pt x="364" y="2024"/>
                  </a:cubicBezTo>
                  <a:cubicBezTo>
                    <a:pt x="364" y="2008"/>
                    <a:pt x="364" y="2000"/>
                    <a:pt x="372" y="1985"/>
                  </a:cubicBezTo>
                  <a:cubicBezTo>
                    <a:pt x="379" y="1969"/>
                    <a:pt x="379" y="1953"/>
                    <a:pt x="379" y="1945"/>
                  </a:cubicBezTo>
                  <a:cubicBezTo>
                    <a:pt x="379" y="1937"/>
                    <a:pt x="379" y="1921"/>
                    <a:pt x="395" y="1921"/>
                  </a:cubicBezTo>
                  <a:cubicBezTo>
                    <a:pt x="395" y="1921"/>
                    <a:pt x="395" y="1921"/>
                    <a:pt x="395" y="1929"/>
                  </a:cubicBezTo>
                  <a:cubicBezTo>
                    <a:pt x="419" y="1929"/>
                    <a:pt x="427" y="1937"/>
                    <a:pt x="451" y="1961"/>
                  </a:cubicBezTo>
                  <a:cubicBezTo>
                    <a:pt x="458" y="1969"/>
                    <a:pt x="458" y="1977"/>
                    <a:pt x="458" y="1985"/>
                  </a:cubicBezTo>
                  <a:cubicBezTo>
                    <a:pt x="451" y="2000"/>
                    <a:pt x="443" y="2008"/>
                    <a:pt x="427" y="2008"/>
                  </a:cubicBezTo>
                  <a:cubicBezTo>
                    <a:pt x="419" y="2008"/>
                    <a:pt x="411" y="2016"/>
                    <a:pt x="403" y="2016"/>
                  </a:cubicBezTo>
                  <a:cubicBezTo>
                    <a:pt x="403" y="2024"/>
                    <a:pt x="395" y="2032"/>
                    <a:pt x="403" y="2048"/>
                  </a:cubicBezTo>
                  <a:cubicBezTo>
                    <a:pt x="403" y="2048"/>
                    <a:pt x="403" y="2056"/>
                    <a:pt x="411" y="2056"/>
                  </a:cubicBezTo>
                  <a:cubicBezTo>
                    <a:pt x="419" y="2064"/>
                    <a:pt x="427" y="2064"/>
                    <a:pt x="427" y="2087"/>
                  </a:cubicBezTo>
                  <a:cubicBezTo>
                    <a:pt x="435" y="2095"/>
                    <a:pt x="435" y="2111"/>
                    <a:pt x="435" y="2127"/>
                  </a:cubicBezTo>
                  <a:cubicBezTo>
                    <a:pt x="443" y="2151"/>
                    <a:pt x="451" y="2174"/>
                    <a:pt x="451" y="2198"/>
                  </a:cubicBezTo>
                  <a:cubicBezTo>
                    <a:pt x="451" y="2206"/>
                    <a:pt x="458" y="2222"/>
                    <a:pt x="458" y="2230"/>
                  </a:cubicBezTo>
                  <a:cubicBezTo>
                    <a:pt x="466" y="2245"/>
                    <a:pt x="466" y="2253"/>
                    <a:pt x="458" y="2261"/>
                  </a:cubicBezTo>
                  <a:cubicBezTo>
                    <a:pt x="458" y="2269"/>
                    <a:pt x="458" y="2269"/>
                    <a:pt x="451" y="2269"/>
                  </a:cubicBezTo>
                  <a:cubicBezTo>
                    <a:pt x="443" y="2269"/>
                    <a:pt x="435" y="2269"/>
                    <a:pt x="435" y="2269"/>
                  </a:cubicBezTo>
                  <a:cubicBezTo>
                    <a:pt x="435" y="2277"/>
                    <a:pt x="435" y="2277"/>
                    <a:pt x="427" y="2277"/>
                  </a:cubicBezTo>
                  <a:cubicBezTo>
                    <a:pt x="419" y="2277"/>
                    <a:pt x="419" y="2269"/>
                    <a:pt x="395" y="2230"/>
                  </a:cubicBezTo>
                  <a:cubicBezTo>
                    <a:pt x="387" y="2206"/>
                    <a:pt x="379" y="2198"/>
                    <a:pt x="379" y="2182"/>
                  </a:cubicBezTo>
                  <a:cubicBezTo>
                    <a:pt x="364" y="2158"/>
                    <a:pt x="364" y="2158"/>
                    <a:pt x="348" y="2151"/>
                  </a:cubicBezTo>
                  <a:cubicBezTo>
                    <a:pt x="340" y="2143"/>
                    <a:pt x="340" y="2143"/>
                    <a:pt x="332" y="2143"/>
                  </a:cubicBezTo>
                  <a:cubicBezTo>
                    <a:pt x="332" y="2143"/>
                    <a:pt x="324" y="2143"/>
                    <a:pt x="324" y="2167"/>
                  </a:cubicBezTo>
                  <a:cubicBezTo>
                    <a:pt x="324" y="2182"/>
                    <a:pt x="332" y="2190"/>
                    <a:pt x="332" y="2198"/>
                  </a:cubicBezTo>
                  <a:cubicBezTo>
                    <a:pt x="332" y="2214"/>
                    <a:pt x="340" y="2230"/>
                    <a:pt x="332" y="2253"/>
                  </a:cubicBezTo>
                  <a:cubicBezTo>
                    <a:pt x="324" y="2269"/>
                    <a:pt x="316" y="2277"/>
                    <a:pt x="316" y="2285"/>
                  </a:cubicBezTo>
                  <a:cubicBezTo>
                    <a:pt x="308" y="2301"/>
                    <a:pt x="308" y="2301"/>
                    <a:pt x="308" y="2325"/>
                  </a:cubicBezTo>
                  <a:cubicBezTo>
                    <a:pt x="308" y="2340"/>
                    <a:pt x="308" y="2348"/>
                    <a:pt x="308" y="2356"/>
                  </a:cubicBezTo>
                  <a:cubicBezTo>
                    <a:pt x="308" y="2388"/>
                    <a:pt x="300" y="2411"/>
                    <a:pt x="324" y="2435"/>
                  </a:cubicBezTo>
                  <a:cubicBezTo>
                    <a:pt x="332" y="2451"/>
                    <a:pt x="340" y="2459"/>
                    <a:pt x="348" y="2459"/>
                  </a:cubicBezTo>
                  <a:cubicBezTo>
                    <a:pt x="356" y="2467"/>
                    <a:pt x="356" y="2467"/>
                    <a:pt x="379" y="2498"/>
                  </a:cubicBezTo>
                  <a:cubicBezTo>
                    <a:pt x="395" y="2514"/>
                    <a:pt x="395" y="2522"/>
                    <a:pt x="403" y="2522"/>
                  </a:cubicBezTo>
                  <a:cubicBezTo>
                    <a:pt x="403" y="2522"/>
                    <a:pt x="403" y="2522"/>
                    <a:pt x="411" y="2522"/>
                  </a:cubicBezTo>
                  <a:cubicBezTo>
                    <a:pt x="411" y="2522"/>
                    <a:pt x="411" y="2522"/>
                    <a:pt x="419" y="2522"/>
                  </a:cubicBezTo>
                  <a:cubicBezTo>
                    <a:pt x="427" y="2522"/>
                    <a:pt x="427" y="2522"/>
                    <a:pt x="435" y="2522"/>
                  </a:cubicBezTo>
                  <a:cubicBezTo>
                    <a:pt x="443" y="2522"/>
                    <a:pt x="451" y="2522"/>
                    <a:pt x="458" y="2522"/>
                  </a:cubicBezTo>
                  <a:cubicBezTo>
                    <a:pt x="466" y="2530"/>
                    <a:pt x="474" y="2530"/>
                    <a:pt x="482" y="2538"/>
                  </a:cubicBezTo>
                  <a:cubicBezTo>
                    <a:pt x="490" y="2546"/>
                    <a:pt x="482" y="2554"/>
                    <a:pt x="482" y="2578"/>
                  </a:cubicBezTo>
                  <a:cubicBezTo>
                    <a:pt x="482" y="2585"/>
                    <a:pt x="474" y="2593"/>
                    <a:pt x="474" y="2601"/>
                  </a:cubicBezTo>
                  <a:cubicBezTo>
                    <a:pt x="466" y="2641"/>
                    <a:pt x="466" y="2672"/>
                    <a:pt x="419" y="2672"/>
                  </a:cubicBezTo>
                  <a:cubicBezTo>
                    <a:pt x="411" y="2680"/>
                    <a:pt x="411" y="2680"/>
                    <a:pt x="403" y="2680"/>
                  </a:cubicBezTo>
                  <a:cubicBezTo>
                    <a:pt x="395" y="2680"/>
                    <a:pt x="395" y="2680"/>
                    <a:pt x="395" y="2680"/>
                  </a:cubicBezTo>
                  <a:lnTo>
                    <a:pt x="395" y="2680"/>
                  </a:lnTo>
                  <a:cubicBezTo>
                    <a:pt x="395" y="2688"/>
                    <a:pt x="395" y="2696"/>
                    <a:pt x="395" y="2712"/>
                  </a:cubicBezTo>
                  <a:cubicBezTo>
                    <a:pt x="387" y="2775"/>
                    <a:pt x="387" y="2846"/>
                    <a:pt x="403" y="2862"/>
                  </a:cubicBezTo>
                  <a:cubicBezTo>
                    <a:pt x="427" y="2886"/>
                    <a:pt x="435" y="2902"/>
                    <a:pt x="451" y="2933"/>
                  </a:cubicBezTo>
                  <a:cubicBezTo>
                    <a:pt x="466" y="2972"/>
                    <a:pt x="474" y="2996"/>
                    <a:pt x="490" y="2996"/>
                  </a:cubicBezTo>
                  <a:cubicBezTo>
                    <a:pt x="506" y="3003"/>
                    <a:pt x="506" y="3019"/>
                    <a:pt x="506" y="3043"/>
                  </a:cubicBezTo>
                  <a:cubicBezTo>
                    <a:pt x="506" y="3051"/>
                    <a:pt x="506" y="3059"/>
                    <a:pt x="506" y="3067"/>
                  </a:cubicBezTo>
                  <a:cubicBezTo>
                    <a:pt x="506" y="3098"/>
                    <a:pt x="514" y="3106"/>
                    <a:pt x="530" y="3114"/>
                  </a:cubicBezTo>
                  <a:cubicBezTo>
                    <a:pt x="538" y="3122"/>
                    <a:pt x="538" y="3130"/>
                    <a:pt x="538" y="3138"/>
                  </a:cubicBezTo>
                  <a:cubicBezTo>
                    <a:pt x="538" y="3146"/>
                    <a:pt x="538" y="3154"/>
                    <a:pt x="545" y="3169"/>
                  </a:cubicBezTo>
                  <a:cubicBezTo>
                    <a:pt x="553" y="3185"/>
                    <a:pt x="553" y="3185"/>
                    <a:pt x="553" y="3185"/>
                  </a:cubicBezTo>
                  <a:cubicBezTo>
                    <a:pt x="561" y="3193"/>
                    <a:pt x="561" y="3193"/>
                    <a:pt x="569" y="3209"/>
                  </a:cubicBezTo>
                  <a:cubicBezTo>
                    <a:pt x="569" y="3225"/>
                    <a:pt x="577" y="3233"/>
                    <a:pt x="577" y="3241"/>
                  </a:cubicBezTo>
                  <a:cubicBezTo>
                    <a:pt x="585" y="3264"/>
                    <a:pt x="593" y="3280"/>
                    <a:pt x="609" y="3296"/>
                  </a:cubicBezTo>
                  <a:cubicBezTo>
                    <a:pt x="632" y="3304"/>
                    <a:pt x="648" y="3320"/>
                    <a:pt x="656" y="3336"/>
                  </a:cubicBezTo>
                  <a:cubicBezTo>
                    <a:pt x="656" y="3343"/>
                    <a:pt x="656" y="3351"/>
                    <a:pt x="648" y="3359"/>
                  </a:cubicBezTo>
                  <a:cubicBezTo>
                    <a:pt x="632" y="3391"/>
                    <a:pt x="609" y="3422"/>
                    <a:pt x="632" y="3438"/>
                  </a:cubicBezTo>
                  <a:cubicBezTo>
                    <a:pt x="640" y="3438"/>
                    <a:pt x="648" y="3446"/>
                    <a:pt x="648" y="3446"/>
                  </a:cubicBezTo>
                  <a:cubicBezTo>
                    <a:pt x="672" y="3454"/>
                    <a:pt x="696" y="3470"/>
                    <a:pt x="688" y="3509"/>
                  </a:cubicBezTo>
                  <a:cubicBezTo>
                    <a:pt x="688" y="3533"/>
                    <a:pt x="680" y="3541"/>
                    <a:pt x="672" y="3549"/>
                  </a:cubicBezTo>
                  <a:cubicBezTo>
                    <a:pt x="664" y="3557"/>
                    <a:pt x="664" y="3557"/>
                    <a:pt x="664" y="3580"/>
                  </a:cubicBezTo>
                  <a:cubicBezTo>
                    <a:pt x="672" y="3604"/>
                    <a:pt x="664" y="3612"/>
                    <a:pt x="656" y="3628"/>
                  </a:cubicBezTo>
                  <a:cubicBezTo>
                    <a:pt x="648" y="3636"/>
                    <a:pt x="648" y="3644"/>
                    <a:pt x="648" y="3660"/>
                  </a:cubicBezTo>
                  <a:cubicBezTo>
                    <a:pt x="640" y="3675"/>
                    <a:pt x="640" y="3683"/>
                    <a:pt x="632" y="3691"/>
                  </a:cubicBezTo>
                  <a:cubicBezTo>
                    <a:pt x="632" y="3707"/>
                    <a:pt x="625" y="3715"/>
                    <a:pt x="640" y="3723"/>
                  </a:cubicBezTo>
                  <a:cubicBezTo>
                    <a:pt x="648" y="3731"/>
                    <a:pt x="648" y="3739"/>
                    <a:pt x="656" y="3739"/>
                  </a:cubicBezTo>
                  <a:cubicBezTo>
                    <a:pt x="664" y="3747"/>
                    <a:pt x="672" y="3754"/>
                    <a:pt x="680" y="3778"/>
                  </a:cubicBezTo>
                  <a:cubicBezTo>
                    <a:pt x="680" y="3810"/>
                    <a:pt x="696" y="3818"/>
                    <a:pt x="735" y="3818"/>
                  </a:cubicBezTo>
                  <a:cubicBezTo>
                    <a:pt x="783" y="3818"/>
                    <a:pt x="822" y="3818"/>
                    <a:pt x="846" y="3849"/>
                  </a:cubicBezTo>
                  <a:cubicBezTo>
                    <a:pt x="854" y="3873"/>
                    <a:pt x="909" y="3913"/>
                    <a:pt x="949" y="3913"/>
                  </a:cubicBezTo>
                  <a:cubicBezTo>
                    <a:pt x="957" y="3913"/>
                    <a:pt x="964" y="3913"/>
                    <a:pt x="964" y="3905"/>
                  </a:cubicBezTo>
                  <a:cubicBezTo>
                    <a:pt x="972" y="3905"/>
                    <a:pt x="980" y="3905"/>
                    <a:pt x="988" y="3905"/>
                  </a:cubicBezTo>
                  <a:cubicBezTo>
                    <a:pt x="1020" y="3905"/>
                    <a:pt x="1035" y="3920"/>
                    <a:pt x="1044" y="3936"/>
                  </a:cubicBezTo>
                  <a:cubicBezTo>
                    <a:pt x="1044" y="3944"/>
                    <a:pt x="1051" y="3944"/>
                    <a:pt x="1051" y="3944"/>
                  </a:cubicBezTo>
                  <a:cubicBezTo>
                    <a:pt x="1067" y="3960"/>
                    <a:pt x="1107" y="4007"/>
                    <a:pt x="1131" y="4063"/>
                  </a:cubicBezTo>
                  <a:cubicBezTo>
                    <a:pt x="1146" y="4102"/>
                    <a:pt x="1170" y="4110"/>
                    <a:pt x="1186" y="4118"/>
                  </a:cubicBezTo>
                  <a:cubicBezTo>
                    <a:pt x="1194" y="4118"/>
                    <a:pt x="1202" y="4126"/>
                    <a:pt x="1209" y="4126"/>
                  </a:cubicBezTo>
                  <a:cubicBezTo>
                    <a:pt x="1209" y="4126"/>
                    <a:pt x="1217" y="4134"/>
                    <a:pt x="1225" y="4134"/>
                  </a:cubicBezTo>
                  <a:cubicBezTo>
                    <a:pt x="1241" y="4150"/>
                    <a:pt x="1273" y="4173"/>
                    <a:pt x="1312" y="4173"/>
                  </a:cubicBezTo>
                  <a:cubicBezTo>
                    <a:pt x="1320" y="4173"/>
                    <a:pt x="1328" y="4173"/>
                    <a:pt x="1344" y="4166"/>
                  </a:cubicBezTo>
                  <a:cubicBezTo>
                    <a:pt x="1368" y="4166"/>
                    <a:pt x="1384" y="4166"/>
                    <a:pt x="1391" y="4173"/>
                  </a:cubicBezTo>
                  <a:cubicBezTo>
                    <a:pt x="1399" y="4181"/>
                    <a:pt x="1391" y="4197"/>
                    <a:pt x="1391" y="4213"/>
                  </a:cubicBezTo>
                  <a:cubicBezTo>
                    <a:pt x="1391" y="4221"/>
                    <a:pt x="1391" y="4221"/>
                    <a:pt x="1391" y="4229"/>
                  </a:cubicBezTo>
                  <a:cubicBezTo>
                    <a:pt x="1391" y="4229"/>
                    <a:pt x="1391" y="4237"/>
                    <a:pt x="1391" y="4253"/>
                  </a:cubicBezTo>
                  <a:cubicBezTo>
                    <a:pt x="1391" y="4276"/>
                    <a:pt x="1384" y="4324"/>
                    <a:pt x="1407" y="4339"/>
                  </a:cubicBezTo>
                  <a:cubicBezTo>
                    <a:pt x="1407" y="4347"/>
                    <a:pt x="1415" y="4347"/>
                    <a:pt x="1431" y="4347"/>
                  </a:cubicBezTo>
                  <a:cubicBezTo>
                    <a:pt x="1439" y="4347"/>
                    <a:pt x="1447" y="4347"/>
                    <a:pt x="1462" y="4347"/>
                  </a:cubicBezTo>
                  <a:cubicBezTo>
                    <a:pt x="1470" y="4339"/>
                    <a:pt x="1478" y="4339"/>
                    <a:pt x="1486" y="4339"/>
                  </a:cubicBezTo>
                  <a:cubicBezTo>
                    <a:pt x="1502" y="4339"/>
                    <a:pt x="1518" y="4347"/>
                    <a:pt x="1526" y="4379"/>
                  </a:cubicBezTo>
                  <a:cubicBezTo>
                    <a:pt x="1542" y="4426"/>
                    <a:pt x="1613" y="4521"/>
                    <a:pt x="1676" y="4561"/>
                  </a:cubicBezTo>
                  <a:cubicBezTo>
                    <a:pt x="1731" y="4600"/>
                    <a:pt x="1747" y="4814"/>
                    <a:pt x="1739" y="4885"/>
                  </a:cubicBezTo>
                  <a:cubicBezTo>
                    <a:pt x="1739" y="4908"/>
                    <a:pt x="1731" y="4924"/>
                    <a:pt x="1723" y="4940"/>
                  </a:cubicBezTo>
                  <a:cubicBezTo>
                    <a:pt x="1723" y="4956"/>
                    <a:pt x="1715" y="4964"/>
                    <a:pt x="1723" y="4980"/>
                  </a:cubicBezTo>
                  <a:close/>
                </a:path>
              </a:pathLst>
            </a:custGeom>
            <a:grpFill/>
            <a:ln>
              <a:solidFill>
                <a:schemeClr val="bg1">
                  <a:lumMod val="95000"/>
                </a:schemeClr>
              </a:solidFill>
            </a:ln>
            <a:effectLst/>
          </p:spPr>
          <p:txBody>
            <a:bodyPr wrap="none" anchor="ctr"/>
            <a:lstStyle/>
            <a:p>
              <a:endParaRPr lang="en-US" sz="900"/>
            </a:p>
          </p:txBody>
        </p:sp>
        <p:sp>
          <p:nvSpPr>
            <p:cNvPr id="22" name="Freeform 50"/>
            <p:cNvSpPr>
              <a:spLocks noChangeArrowheads="1"/>
            </p:cNvSpPr>
            <p:nvPr/>
          </p:nvSpPr>
          <p:spPr bwMode="auto">
            <a:xfrm>
              <a:off x="8484262" y="6372451"/>
              <a:ext cx="1331281" cy="1551616"/>
            </a:xfrm>
            <a:custGeom>
              <a:avLst/>
              <a:gdLst>
                <a:gd name="T0" fmla="*/ 752 w 2531"/>
                <a:gd name="T1" fmla="*/ 8 h 2949"/>
                <a:gd name="T2" fmla="*/ 752 w 2531"/>
                <a:gd name="T3" fmla="*/ 8 h 2949"/>
                <a:gd name="T4" fmla="*/ 752 w 2531"/>
                <a:gd name="T5" fmla="*/ 0 h 2949"/>
                <a:gd name="T6" fmla="*/ 736 w 2531"/>
                <a:gd name="T7" fmla="*/ 0 h 2949"/>
                <a:gd name="T8" fmla="*/ 736 w 2531"/>
                <a:gd name="T9" fmla="*/ 0 h 2949"/>
                <a:gd name="T10" fmla="*/ 712 w 2531"/>
                <a:gd name="T11" fmla="*/ 0 h 2949"/>
                <a:gd name="T12" fmla="*/ 712 w 2531"/>
                <a:gd name="T13" fmla="*/ 0 h 2949"/>
                <a:gd name="T14" fmla="*/ 704 w 2531"/>
                <a:gd name="T15" fmla="*/ 0 h 2949"/>
                <a:gd name="T16" fmla="*/ 704 w 2531"/>
                <a:gd name="T17" fmla="*/ 0 h 2949"/>
                <a:gd name="T18" fmla="*/ 704 w 2531"/>
                <a:gd name="T19" fmla="*/ 0 h 2949"/>
                <a:gd name="T20" fmla="*/ 601 w 2531"/>
                <a:gd name="T21" fmla="*/ 403 h 2949"/>
                <a:gd name="T22" fmla="*/ 546 w 2531"/>
                <a:gd name="T23" fmla="*/ 458 h 2949"/>
                <a:gd name="T24" fmla="*/ 506 w 2531"/>
                <a:gd name="T25" fmla="*/ 411 h 2949"/>
                <a:gd name="T26" fmla="*/ 396 w 2531"/>
                <a:gd name="T27" fmla="*/ 379 h 2949"/>
                <a:gd name="T28" fmla="*/ 372 w 2531"/>
                <a:gd name="T29" fmla="*/ 443 h 2949"/>
                <a:gd name="T30" fmla="*/ 372 w 2531"/>
                <a:gd name="T31" fmla="*/ 506 h 2949"/>
                <a:gd name="T32" fmla="*/ 364 w 2531"/>
                <a:gd name="T33" fmla="*/ 593 h 2949"/>
                <a:gd name="T34" fmla="*/ 333 w 2531"/>
                <a:gd name="T35" fmla="*/ 680 h 2949"/>
                <a:gd name="T36" fmla="*/ 356 w 2531"/>
                <a:gd name="T37" fmla="*/ 798 h 2949"/>
                <a:gd name="T38" fmla="*/ 309 w 2531"/>
                <a:gd name="T39" fmla="*/ 861 h 2949"/>
                <a:gd name="T40" fmla="*/ 293 w 2531"/>
                <a:gd name="T41" fmla="*/ 956 h 2949"/>
                <a:gd name="T42" fmla="*/ 325 w 2531"/>
                <a:gd name="T43" fmla="*/ 1028 h 2949"/>
                <a:gd name="T44" fmla="*/ 364 w 2531"/>
                <a:gd name="T45" fmla="*/ 1107 h 2949"/>
                <a:gd name="T46" fmla="*/ 412 w 2531"/>
                <a:gd name="T47" fmla="*/ 1209 h 2949"/>
                <a:gd name="T48" fmla="*/ 427 w 2531"/>
                <a:gd name="T49" fmla="*/ 1281 h 2949"/>
                <a:gd name="T50" fmla="*/ 364 w 2531"/>
                <a:gd name="T51" fmla="*/ 1312 h 2949"/>
                <a:gd name="T52" fmla="*/ 269 w 2531"/>
                <a:gd name="T53" fmla="*/ 1399 h 2949"/>
                <a:gd name="T54" fmla="*/ 253 w 2531"/>
                <a:gd name="T55" fmla="*/ 1502 h 2949"/>
                <a:gd name="T56" fmla="*/ 182 w 2531"/>
                <a:gd name="T57" fmla="*/ 1636 h 2949"/>
                <a:gd name="T58" fmla="*/ 119 w 2531"/>
                <a:gd name="T59" fmla="*/ 1676 h 2949"/>
                <a:gd name="T60" fmla="*/ 135 w 2531"/>
                <a:gd name="T61" fmla="*/ 1755 h 2949"/>
                <a:gd name="T62" fmla="*/ 119 w 2531"/>
                <a:gd name="T63" fmla="*/ 1802 h 2949"/>
                <a:gd name="T64" fmla="*/ 166 w 2531"/>
                <a:gd name="T65" fmla="*/ 1826 h 2949"/>
                <a:gd name="T66" fmla="*/ 198 w 2531"/>
                <a:gd name="T67" fmla="*/ 1881 h 2949"/>
                <a:gd name="T68" fmla="*/ 159 w 2531"/>
                <a:gd name="T69" fmla="*/ 1937 h 2949"/>
                <a:gd name="T70" fmla="*/ 103 w 2531"/>
                <a:gd name="T71" fmla="*/ 1968 h 2949"/>
                <a:gd name="T72" fmla="*/ 64 w 2531"/>
                <a:gd name="T73" fmla="*/ 1968 h 2949"/>
                <a:gd name="T74" fmla="*/ 32 w 2531"/>
                <a:gd name="T75" fmla="*/ 2016 h 2949"/>
                <a:gd name="T76" fmla="*/ 48 w 2531"/>
                <a:gd name="T77" fmla="*/ 2071 h 2949"/>
                <a:gd name="T78" fmla="*/ 1423 w 2531"/>
                <a:gd name="T79" fmla="*/ 2854 h 2949"/>
                <a:gd name="T80" fmla="*/ 1684 w 2531"/>
                <a:gd name="T81" fmla="*/ 2885 h 2949"/>
                <a:gd name="T82" fmla="*/ 2190 w 2531"/>
                <a:gd name="T83" fmla="*/ 2948 h 2949"/>
                <a:gd name="T84" fmla="*/ 2530 w 2531"/>
                <a:gd name="T85" fmla="*/ 284 h 2949"/>
                <a:gd name="T86" fmla="*/ 752 w 2531"/>
                <a:gd name="T87" fmla="*/ 8 h 2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1" h="2949">
                  <a:moveTo>
                    <a:pt x="752" y="8"/>
                  </a:moveTo>
                  <a:lnTo>
                    <a:pt x="752" y="8"/>
                  </a:lnTo>
                  <a:cubicBezTo>
                    <a:pt x="752" y="0"/>
                    <a:pt x="752" y="0"/>
                    <a:pt x="752" y="0"/>
                  </a:cubicBezTo>
                  <a:cubicBezTo>
                    <a:pt x="744" y="0"/>
                    <a:pt x="736" y="0"/>
                    <a:pt x="736" y="0"/>
                  </a:cubicBezTo>
                  <a:lnTo>
                    <a:pt x="736" y="0"/>
                  </a:lnTo>
                  <a:cubicBezTo>
                    <a:pt x="720" y="0"/>
                    <a:pt x="720" y="0"/>
                    <a:pt x="712" y="0"/>
                  </a:cubicBezTo>
                  <a:lnTo>
                    <a:pt x="712" y="0"/>
                  </a:lnTo>
                  <a:cubicBezTo>
                    <a:pt x="704" y="0"/>
                    <a:pt x="704" y="0"/>
                    <a:pt x="704" y="0"/>
                  </a:cubicBezTo>
                  <a:lnTo>
                    <a:pt x="704" y="0"/>
                  </a:lnTo>
                  <a:lnTo>
                    <a:pt x="704" y="0"/>
                  </a:lnTo>
                  <a:cubicBezTo>
                    <a:pt x="704" y="16"/>
                    <a:pt x="617" y="371"/>
                    <a:pt x="601" y="403"/>
                  </a:cubicBezTo>
                  <a:cubicBezTo>
                    <a:pt x="593" y="435"/>
                    <a:pt x="586" y="435"/>
                    <a:pt x="546" y="458"/>
                  </a:cubicBezTo>
                  <a:cubicBezTo>
                    <a:pt x="506" y="482"/>
                    <a:pt x="522" y="443"/>
                    <a:pt x="506" y="411"/>
                  </a:cubicBezTo>
                  <a:cubicBezTo>
                    <a:pt x="483" y="371"/>
                    <a:pt x="459" y="371"/>
                    <a:pt x="396" y="379"/>
                  </a:cubicBezTo>
                  <a:cubicBezTo>
                    <a:pt x="340" y="379"/>
                    <a:pt x="364" y="411"/>
                    <a:pt x="372" y="443"/>
                  </a:cubicBezTo>
                  <a:cubicBezTo>
                    <a:pt x="380" y="474"/>
                    <a:pt x="380" y="490"/>
                    <a:pt x="372" y="506"/>
                  </a:cubicBezTo>
                  <a:cubicBezTo>
                    <a:pt x="356" y="522"/>
                    <a:pt x="356" y="545"/>
                    <a:pt x="364" y="593"/>
                  </a:cubicBezTo>
                  <a:cubicBezTo>
                    <a:pt x="372" y="640"/>
                    <a:pt x="333" y="632"/>
                    <a:pt x="333" y="680"/>
                  </a:cubicBezTo>
                  <a:cubicBezTo>
                    <a:pt x="333" y="735"/>
                    <a:pt x="348" y="743"/>
                    <a:pt x="356" y="798"/>
                  </a:cubicBezTo>
                  <a:cubicBezTo>
                    <a:pt x="356" y="854"/>
                    <a:pt x="333" y="838"/>
                    <a:pt x="309" y="861"/>
                  </a:cubicBezTo>
                  <a:cubicBezTo>
                    <a:pt x="285" y="885"/>
                    <a:pt x="309" y="909"/>
                    <a:pt x="293" y="956"/>
                  </a:cubicBezTo>
                  <a:cubicBezTo>
                    <a:pt x="285" y="996"/>
                    <a:pt x="309" y="996"/>
                    <a:pt x="325" y="1028"/>
                  </a:cubicBezTo>
                  <a:cubicBezTo>
                    <a:pt x="348" y="1067"/>
                    <a:pt x="356" y="1083"/>
                    <a:pt x="364" y="1107"/>
                  </a:cubicBezTo>
                  <a:cubicBezTo>
                    <a:pt x="364" y="1130"/>
                    <a:pt x="388" y="1194"/>
                    <a:pt x="412" y="1209"/>
                  </a:cubicBezTo>
                  <a:cubicBezTo>
                    <a:pt x="435" y="1225"/>
                    <a:pt x="443" y="1257"/>
                    <a:pt x="427" y="1281"/>
                  </a:cubicBezTo>
                  <a:cubicBezTo>
                    <a:pt x="419" y="1304"/>
                    <a:pt x="404" y="1296"/>
                    <a:pt x="364" y="1312"/>
                  </a:cubicBezTo>
                  <a:cubicBezTo>
                    <a:pt x="333" y="1336"/>
                    <a:pt x="309" y="1376"/>
                    <a:pt x="269" y="1399"/>
                  </a:cubicBezTo>
                  <a:cubicBezTo>
                    <a:pt x="230" y="1423"/>
                    <a:pt x="261" y="1454"/>
                    <a:pt x="253" y="1502"/>
                  </a:cubicBezTo>
                  <a:cubicBezTo>
                    <a:pt x="246" y="1549"/>
                    <a:pt x="198" y="1613"/>
                    <a:pt x="182" y="1636"/>
                  </a:cubicBezTo>
                  <a:cubicBezTo>
                    <a:pt x="175" y="1652"/>
                    <a:pt x="135" y="1644"/>
                    <a:pt x="119" y="1676"/>
                  </a:cubicBezTo>
                  <a:cubicBezTo>
                    <a:pt x="103" y="1707"/>
                    <a:pt x="135" y="1715"/>
                    <a:pt x="135" y="1755"/>
                  </a:cubicBezTo>
                  <a:cubicBezTo>
                    <a:pt x="127" y="1794"/>
                    <a:pt x="119" y="1771"/>
                    <a:pt x="119" y="1802"/>
                  </a:cubicBezTo>
                  <a:cubicBezTo>
                    <a:pt x="111" y="1826"/>
                    <a:pt x="143" y="1810"/>
                    <a:pt x="166" y="1826"/>
                  </a:cubicBezTo>
                  <a:cubicBezTo>
                    <a:pt x="190" y="1842"/>
                    <a:pt x="190" y="1842"/>
                    <a:pt x="198" y="1881"/>
                  </a:cubicBezTo>
                  <a:cubicBezTo>
                    <a:pt x="198" y="1921"/>
                    <a:pt x="159" y="1905"/>
                    <a:pt x="159" y="1937"/>
                  </a:cubicBezTo>
                  <a:cubicBezTo>
                    <a:pt x="159" y="1960"/>
                    <a:pt x="119" y="1968"/>
                    <a:pt x="103" y="1968"/>
                  </a:cubicBezTo>
                  <a:cubicBezTo>
                    <a:pt x="87" y="1968"/>
                    <a:pt x="72" y="1968"/>
                    <a:pt x="64" y="1968"/>
                  </a:cubicBezTo>
                  <a:cubicBezTo>
                    <a:pt x="64" y="1984"/>
                    <a:pt x="48" y="2000"/>
                    <a:pt x="32" y="2016"/>
                  </a:cubicBezTo>
                  <a:cubicBezTo>
                    <a:pt x="0" y="2031"/>
                    <a:pt x="48" y="2071"/>
                    <a:pt x="48" y="2071"/>
                  </a:cubicBezTo>
                  <a:cubicBezTo>
                    <a:pt x="1423" y="2854"/>
                    <a:pt x="1423" y="2854"/>
                    <a:pt x="1423" y="2854"/>
                  </a:cubicBezTo>
                  <a:cubicBezTo>
                    <a:pt x="1423" y="2854"/>
                    <a:pt x="1629" y="2870"/>
                    <a:pt x="1684" y="2885"/>
                  </a:cubicBezTo>
                  <a:cubicBezTo>
                    <a:pt x="1716" y="2901"/>
                    <a:pt x="1969" y="2925"/>
                    <a:pt x="2190" y="2948"/>
                  </a:cubicBezTo>
                  <a:cubicBezTo>
                    <a:pt x="2530" y="284"/>
                    <a:pt x="2530" y="284"/>
                    <a:pt x="2530" y="284"/>
                  </a:cubicBezTo>
                  <a:cubicBezTo>
                    <a:pt x="1526" y="166"/>
                    <a:pt x="918" y="39"/>
                    <a:pt x="752" y="8"/>
                  </a:cubicBezTo>
                </a:path>
              </a:pathLst>
            </a:custGeom>
            <a:grpFill/>
            <a:ln>
              <a:solidFill>
                <a:schemeClr val="bg1">
                  <a:lumMod val="95000"/>
                </a:schemeClr>
              </a:solidFill>
            </a:ln>
            <a:effectLst/>
          </p:spPr>
          <p:txBody>
            <a:bodyPr wrap="none" anchor="ctr"/>
            <a:lstStyle/>
            <a:p>
              <a:endParaRPr lang="en-US" sz="900"/>
            </a:p>
          </p:txBody>
        </p:sp>
        <p:sp>
          <p:nvSpPr>
            <p:cNvPr id="23" name="Freeform 51"/>
            <p:cNvSpPr>
              <a:spLocks noChangeArrowheads="1"/>
            </p:cNvSpPr>
            <p:nvPr/>
          </p:nvSpPr>
          <p:spPr bwMode="auto">
            <a:xfrm>
              <a:off x="8493540" y="6367813"/>
              <a:ext cx="1326643" cy="1556255"/>
            </a:xfrm>
            <a:custGeom>
              <a:avLst/>
              <a:gdLst>
                <a:gd name="T0" fmla="*/ 2174 w 2523"/>
                <a:gd name="T1" fmla="*/ 2956 h 2957"/>
                <a:gd name="T2" fmla="*/ 1407 w 2523"/>
                <a:gd name="T3" fmla="*/ 2862 h 2957"/>
                <a:gd name="T4" fmla="*/ 0 w 2523"/>
                <a:gd name="T5" fmla="*/ 2039 h 2957"/>
                <a:gd name="T6" fmla="*/ 40 w 2523"/>
                <a:gd name="T7" fmla="*/ 1976 h 2957"/>
                <a:gd name="T8" fmla="*/ 143 w 2523"/>
                <a:gd name="T9" fmla="*/ 1945 h 2957"/>
                <a:gd name="T10" fmla="*/ 174 w 2523"/>
                <a:gd name="T11" fmla="*/ 1889 h 2957"/>
                <a:gd name="T12" fmla="*/ 95 w 2523"/>
                <a:gd name="T13" fmla="*/ 1810 h 2957"/>
                <a:gd name="T14" fmla="*/ 103 w 2523"/>
                <a:gd name="T15" fmla="*/ 1723 h 2957"/>
                <a:gd name="T16" fmla="*/ 166 w 2523"/>
                <a:gd name="T17" fmla="*/ 1636 h 2957"/>
                <a:gd name="T18" fmla="*/ 230 w 2523"/>
                <a:gd name="T19" fmla="*/ 1462 h 2957"/>
                <a:gd name="T20" fmla="*/ 348 w 2523"/>
                <a:gd name="T21" fmla="*/ 1320 h 2957"/>
                <a:gd name="T22" fmla="*/ 411 w 2523"/>
                <a:gd name="T23" fmla="*/ 1249 h 2957"/>
                <a:gd name="T24" fmla="*/ 317 w 2523"/>
                <a:gd name="T25" fmla="*/ 1059 h 2957"/>
                <a:gd name="T26" fmla="*/ 277 w 2523"/>
                <a:gd name="T27" fmla="*/ 956 h 2957"/>
                <a:gd name="T28" fmla="*/ 317 w 2523"/>
                <a:gd name="T29" fmla="*/ 854 h 2957"/>
                <a:gd name="T30" fmla="*/ 309 w 2523"/>
                <a:gd name="T31" fmla="*/ 688 h 2957"/>
                <a:gd name="T32" fmla="*/ 356 w 2523"/>
                <a:gd name="T33" fmla="*/ 514 h 2957"/>
                <a:gd name="T34" fmla="*/ 348 w 2523"/>
                <a:gd name="T35" fmla="*/ 435 h 2957"/>
                <a:gd name="T36" fmla="*/ 419 w 2523"/>
                <a:gd name="T37" fmla="*/ 379 h 2957"/>
                <a:gd name="T38" fmla="*/ 514 w 2523"/>
                <a:gd name="T39" fmla="*/ 466 h 2957"/>
                <a:gd name="T40" fmla="*/ 585 w 2523"/>
                <a:gd name="T41" fmla="*/ 411 h 2957"/>
                <a:gd name="T42" fmla="*/ 688 w 2523"/>
                <a:gd name="T43" fmla="*/ 0 h 2957"/>
                <a:gd name="T44" fmla="*/ 720 w 2523"/>
                <a:gd name="T45" fmla="*/ 8 h 2957"/>
                <a:gd name="T46" fmla="*/ 736 w 2523"/>
                <a:gd name="T47" fmla="*/ 8 h 2957"/>
                <a:gd name="T48" fmla="*/ 2522 w 2523"/>
                <a:gd name="T49" fmla="*/ 292 h 2957"/>
                <a:gd name="T50" fmla="*/ 1407 w 2523"/>
                <a:gd name="T51" fmla="*/ 2854 h 2957"/>
                <a:gd name="T52" fmla="*/ 1993 w 2523"/>
                <a:gd name="T53" fmla="*/ 2933 h 2957"/>
                <a:gd name="T54" fmla="*/ 807 w 2523"/>
                <a:gd name="T55" fmla="*/ 32 h 2957"/>
                <a:gd name="T56" fmla="*/ 712 w 2523"/>
                <a:gd name="T57" fmla="*/ 16 h 2957"/>
                <a:gd name="T58" fmla="*/ 688 w 2523"/>
                <a:gd name="T59" fmla="*/ 8 h 2957"/>
                <a:gd name="T60" fmla="*/ 530 w 2523"/>
                <a:gd name="T61" fmla="*/ 466 h 2957"/>
                <a:gd name="T62" fmla="*/ 483 w 2523"/>
                <a:gd name="T63" fmla="*/ 419 h 2957"/>
                <a:gd name="T64" fmla="*/ 348 w 2523"/>
                <a:gd name="T65" fmla="*/ 403 h 2957"/>
                <a:gd name="T66" fmla="*/ 356 w 2523"/>
                <a:gd name="T67" fmla="*/ 458 h 2957"/>
                <a:gd name="T68" fmla="*/ 332 w 2523"/>
                <a:gd name="T69" fmla="*/ 648 h 2957"/>
                <a:gd name="T70" fmla="*/ 340 w 2523"/>
                <a:gd name="T71" fmla="*/ 806 h 2957"/>
                <a:gd name="T72" fmla="*/ 285 w 2523"/>
                <a:gd name="T73" fmla="*/ 917 h 2957"/>
                <a:gd name="T74" fmla="*/ 317 w 2523"/>
                <a:gd name="T75" fmla="*/ 1036 h 2957"/>
                <a:gd name="T76" fmla="*/ 396 w 2523"/>
                <a:gd name="T77" fmla="*/ 1217 h 2957"/>
                <a:gd name="T78" fmla="*/ 388 w 2523"/>
                <a:gd name="T79" fmla="*/ 1312 h 2957"/>
                <a:gd name="T80" fmla="*/ 253 w 2523"/>
                <a:gd name="T81" fmla="*/ 1407 h 2957"/>
                <a:gd name="T82" fmla="*/ 182 w 2523"/>
                <a:gd name="T83" fmla="*/ 1628 h 2957"/>
                <a:gd name="T84" fmla="*/ 103 w 2523"/>
                <a:gd name="T85" fmla="*/ 1684 h 2957"/>
                <a:gd name="T86" fmla="*/ 111 w 2523"/>
                <a:gd name="T87" fmla="*/ 1795 h 2957"/>
                <a:gd name="T88" fmla="*/ 150 w 2523"/>
                <a:gd name="T89" fmla="*/ 1834 h 2957"/>
                <a:gd name="T90" fmla="*/ 166 w 2523"/>
                <a:gd name="T91" fmla="*/ 1921 h 2957"/>
                <a:gd name="T92" fmla="*/ 48 w 2523"/>
                <a:gd name="T93" fmla="*/ 1984 h 2957"/>
                <a:gd name="T94" fmla="*/ 32 w 2523"/>
                <a:gd name="T95" fmla="*/ 2071 h 2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23" h="2957">
                  <a:moveTo>
                    <a:pt x="2174" y="2956"/>
                  </a:moveTo>
                  <a:lnTo>
                    <a:pt x="2174" y="2956"/>
                  </a:lnTo>
                  <a:lnTo>
                    <a:pt x="2174" y="2956"/>
                  </a:lnTo>
                  <a:cubicBezTo>
                    <a:pt x="2111" y="2949"/>
                    <a:pt x="2056" y="2941"/>
                    <a:pt x="1993" y="2941"/>
                  </a:cubicBezTo>
                  <a:cubicBezTo>
                    <a:pt x="1826" y="2925"/>
                    <a:pt x="1692" y="2909"/>
                    <a:pt x="1668" y="2901"/>
                  </a:cubicBezTo>
                  <a:cubicBezTo>
                    <a:pt x="1613" y="2885"/>
                    <a:pt x="1407" y="2862"/>
                    <a:pt x="1407" y="2862"/>
                  </a:cubicBezTo>
                  <a:lnTo>
                    <a:pt x="1407" y="2862"/>
                  </a:lnTo>
                  <a:cubicBezTo>
                    <a:pt x="32" y="2079"/>
                    <a:pt x="32" y="2079"/>
                    <a:pt x="32" y="2079"/>
                  </a:cubicBezTo>
                  <a:cubicBezTo>
                    <a:pt x="24" y="2079"/>
                    <a:pt x="0" y="2055"/>
                    <a:pt x="0" y="2039"/>
                  </a:cubicBezTo>
                  <a:cubicBezTo>
                    <a:pt x="0" y="2032"/>
                    <a:pt x="8" y="2024"/>
                    <a:pt x="16" y="2016"/>
                  </a:cubicBezTo>
                  <a:cubicBezTo>
                    <a:pt x="32" y="2000"/>
                    <a:pt x="48" y="1992"/>
                    <a:pt x="40" y="1984"/>
                  </a:cubicBezTo>
                  <a:cubicBezTo>
                    <a:pt x="40" y="1976"/>
                    <a:pt x="40" y="1976"/>
                    <a:pt x="40" y="1976"/>
                  </a:cubicBezTo>
                  <a:lnTo>
                    <a:pt x="40" y="1976"/>
                  </a:lnTo>
                  <a:cubicBezTo>
                    <a:pt x="56" y="1976"/>
                    <a:pt x="71" y="1968"/>
                    <a:pt x="87" y="1968"/>
                  </a:cubicBezTo>
                  <a:cubicBezTo>
                    <a:pt x="95" y="1968"/>
                    <a:pt x="135" y="1968"/>
                    <a:pt x="143" y="1945"/>
                  </a:cubicBezTo>
                  <a:cubicBezTo>
                    <a:pt x="143" y="1929"/>
                    <a:pt x="150" y="1921"/>
                    <a:pt x="159" y="1921"/>
                  </a:cubicBezTo>
                  <a:cubicBezTo>
                    <a:pt x="166" y="1913"/>
                    <a:pt x="174" y="1913"/>
                    <a:pt x="174" y="1889"/>
                  </a:cubicBezTo>
                  <a:lnTo>
                    <a:pt x="174" y="1889"/>
                  </a:lnTo>
                  <a:cubicBezTo>
                    <a:pt x="174" y="1850"/>
                    <a:pt x="166" y="1850"/>
                    <a:pt x="150" y="1834"/>
                  </a:cubicBezTo>
                  <a:cubicBezTo>
                    <a:pt x="135" y="1834"/>
                    <a:pt x="127" y="1834"/>
                    <a:pt x="119" y="1834"/>
                  </a:cubicBezTo>
                  <a:cubicBezTo>
                    <a:pt x="111" y="1826"/>
                    <a:pt x="95" y="1826"/>
                    <a:pt x="95" y="1810"/>
                  </a:cubicBezTo>
                  <a:cubicBezTo>
                    <a:pt x="95" y="1795"/>
                    <a:pt x="103" y="1795"/>
                    <a:pt x="103" y="1786"/>
                  </a:cubicBezTo>
                  <a:cubicBezTo>
                    <a:pt x="111" y="1786"/>
                    <a:pt x="111" y="1779"/>
                    <a:pt x="111" y="1763"/>
                  </a:cubicBezTo>
                  <a:cubicBezTo>
                    <a:pt x="111" y="1747"/>
                    <a:pt x="111" y="1739"/>
                    <a:pt x="103" y="1723"/>
                  </a:cubicBezTo>
                  <a:cubicBezTo>
                    <a:pt x="95" y="1708"/>
                    <a:pt x="87" y="1700"/>
                    <a:pt x="95" y="1684"/>
                  </a:cubicBezTo>
                  <a:cubicBezTo>
                    <a:pt x="111" y="1660"/>
                    <a:pt x="127" y="1660"/>
                    <a:pt x="135" y="1652"/>
                  </a:cubicBezTo>
                  <a:cubicBezTo>
                    <a:pt x="150" y="1652"/>
                    <a:pt x="159" y="1644"/>
                    <a:pt x="166" y="1636"/>
                  </a:cubicBezTo>
                  <a:cubicBezTo>
                    <a:pt x="166" y="1636"/>
                    <a:pt x="174" y="1628"/>
                    <a:pt x="174" y="1621"/>
                  </a:cubicBezTo>
                  <a:cubicBezTo>
                    <a:pt x="198" y="1589"/>
                    <a:pt x="230" y="1542"/>
                    <a:pt x="237" y="1510"/>
                  </a:cubicBezTo>
                  <a:cubicBezTo>
                    <a:pt x="237" y="1486"/>
                    <a:pt x="237" y="1478"/>
                    <a:pt x="230" y="1462"/>
                  </a:cubicBezTo>
                  <a:cubicBezTo>
                    <a:pt x="230" y="1439"/>
                    <a:pt x="230" y="1415"/>
                    <a:pt x="253" y="1399"/>
                  </a:cubicBezTo>
                  <a:cubicBezTo>
                    <a:pt x="277" y="1391"/>
                    <a:pt x="285" y="1375"/>
                    <a:pt x="301" y="1360"/>
                  </a:cubicBezTo>
                  <a:cubicBezTo>
                    <a:pt x="317" y="1344"/>
                    <a:pt x="332" y="1328"/>
                    <a:pt x="348" y="1320"/>
                  </a:cubicBezTo>
                  <a:cubicBezTo>
                    <a:pt x="364" y="1312"/>
                    <a:pt x="380" y="1304"/>
                    <a:pt x="388" y="1304"/>
                  </a:cubicBezTo>
                  <a:cubicBezTo>
                    <a:pt x="396" y="1296"/>
                    <a:pt x="403" y="1296"/>
                    <a:pt x="411" y="1289"/>
                  </a:cubicBezTo>
                  <a:cubicBezTo>
                    <a:pt x="411" y="1281"/>
                    <a:pt x="419" y="1265"/>
                    <a:pt x="411" y="1249"/>
                  </a:cubicBezTo>
                  <a:cubicBezTo>
                    <a:pt x="411" y="1233"/>
                    <a:pt x="403" y="1225"/>
                    <a:pt x="388" y="1217"/>
                  </a:cubicBezTo>
                  <a:cubicBezTo>
                    <a:pt x="364" y="1209"/>
                    <a:pt x="348" y="1138"/>
                    <a:pt x="340" y="1115"/>
                  </a:cubicBezTo>
                  <a:cubicBezTo>
                    <a:pt x="340" y="1091"/>
                    <a:pt x="332" y="1083"/>
                    <a:pt x="317" y="1059"/>
                  </a:cubicBezTo>
                  <a:cubicBezTo>
                    <a:pt x="317" y="1059"/>
                    <a:pt x="317" y="1051"/>
                    <a:pt x="309" y="1044"/>
                  </a:cubicBezTo>
                  <a:cubicBezTo>
                    <a:pt x="301" y="1028"/>
                    <a:pt x="293" y="1020"/>
                    <a:pt x="293" y="1012"/>
                  </a:cubicBezTo>
                  <a:cubicBezTo>
                    <a:pt x="277" y="1004"/>
                    <a:pt x="269" y="988"/>
                    <a:pt x="277" y="956"/>
                  </a:cubicBezTo>
                  <a:cubicBezTo>
                    <a:pt x="277" y="941"/>
                    <a:pt x="277" y="925"/>
                    <a:pt x="277" y="917"/>
                  </a:cubicBezTo>
                  <a:cubicBezTo>
                    <a:pt x="277" y="893"/>
                    <a:pt x="277" y="885"/>
                    <a:pt x="293" y="869"/>
                  </a:cubicBezTo>
                  <a:cubicBezTo>
                    <a:pt x="301" y="862"/>
                    <a:pt x="309" y="854"/>
                    <a:pt x="317" y="854"/>
                  </a:cubicBezTo>
                  <a:cubicBezTo>
                    <a:pt x="332" y="846"/>
                    <a:pt x="340" y="838"/>
                    <a:pt x="332" y="806"/>
                  </a:cubicBezTo>
                  <a:cubicBezTo>
                    <a:pt x="332" y="783"/>
                    <a:pt x="324" y="767"/>
                    <a:pt x="324" y="751"/>
                  </a:cubicBezTo>
                  <a:cubicBezTo>
                    <a:pt x="317" y="735"/>
                    <a:pt x="309" y="719"/>
                    <a:pt x="309" y="688"/>
                  </a:cubicBezTo>
                  <a:cubicBezTo>
                    <a:pt x="309" y="664"/>
                    <a:pt x="324" y="656"/>
                    <a:pt x="332" y="648"/>
                  </a:cubicBezTo>
                  <a:cubicBezTo>
                    <a:pt x="340" y="632"/>
                    <a:pt x="348" y="625"/>
                    <a:pt x="340" y="601"/>
                  </a:cubicBezTo>
                  <a:cubicBezTo>
                    <a:pt x="332" y="553"/>
                    <a:pt x="340" y="530"/>
                    <a:pt x="356" y="514"/>
                  </a:cubicBezTo>
                  <a:cubicBezTo>
                    <a:pt x="364" y="498"/>
                    <a:pt x="356" y="490"/>
                    <a:pt x="348" y="458"/>
                  </a:cubicBezTo>
                  <a:cubicBezTo>
                    <a:pt x="348" y="451"/>
                    <a:pt x="348" y="451"/>
                    <a:pt x="348" y="451"/>
                  </a:cubicBezTo>
                  <a:cubicBezTo>
                    <a:pt x="348" y="443"/>
                    <a:pt x="348" y="443"/>
                    <a:pt x="348" y="435"/>
                  </a:cubicBezTo>
                  <a:cubicBezTo>
                    <a:pt x="340" y="419"/>
                    <a:pt x="332" y="403"/>
                    <a:pt x="340" y="395"/>
                  </a:cubicBezTo>
                  <a:cubicBezTo>
                    <a:pt x="348" y="387"/>
                    <a:pt x="364" y="379"/>
                    <a:pt x="380" y="379"/>
                  </a:cubicBezTo>
                  <a:cubicBezTo>
                    <a:pt x="396" y="379"/>
                    <a:pt x="411" y="379"/>
                    <a:pt x="419" y="379"/>
                  </a:cubicBezTo>
                  <a:cubicBezTo>
                    <a:pt x="451" y="379"/>
                    <a:pt x="475" y="387"/>
                    <a:pt x="490" y="411"/>
                  </a:cubicBezTo>
                  <a:cubicBezTo>
                    <a:pt x="498" y="427"/>
                    <a:pt x="498" y="443"/>
                    <a:pt x="506" y="451"/>
                  </a:cubicBezTo>
                  <a:cubicBezTo>
                    <a:pt x="506" y="466"/>
                    <a:pt x="506" y="466"/>
                    <a:pt x="514" y="466"/>
                  </a:cubicBezTo>
                  <a:cubicBezTo>
                    <a:pt x="514" y="466"/>
                    <a:pt x="522" y="466"/>
                    <a:pt x="530" y="458"/>
                  </a:cubicBezTo>
                  <a:cubicBezTo>
                    <a:pt x="538" y="458"/>
                    <a:pt x="538" y="458"/>
                    <a:pt x="538" y="458"/>
                  </a:cubicBezTo>
                  <a:cubicBezTo>
                    <a:pt x="570" y="435"/>
                    <a:pt x="577" y="435"/>
                    <a:pt x="585" y="411"/>
                  </a:cubicBezTo>
                  <a:cubicBezTo>
                    <a:pt x="601" y="379"/>
                    <a:pt x="680" y="24"/>
                    <a:pt x="680" y="8"/>
                  </a:cubicBezTo>
                  <a:cubicBezTo>
                    <a:pt x="680" y="0"/>
                    <a:pt x="680" y="0"/>
                    <a:pt x="688" y="0"/>
                  </a:cubicBezTo>
                  <a:lnTo>
                    <a:pt x="688" y="0"/>
                  </a:lnTo>
                  <a:lnTo>
                    <a:pt x="696" y="0"/>
                  </a:lnTo>
                  <a:lnTo>
                    <a:pt x="696" y="0"/>
                  </a:lnTo>
                  <a:cubicBezTo>
                    <a:pt x="704" y="0"/>
                    <a:pt x="704" y="0"/>
                    <a:pt x="720" y="8"/>
                  </a:cubicBezTo>
                  <a:lnTo>
                    <a:pt x="720" y="8"/>
                  </a:lnTo>
                  <a:cubicBezTo>
                    <a:pt x="728" y="8"/>
                    <a:pt x="728" y="8"/>
                    <a:pt x="736" y="8"/>
                  </a:cubicBezTo>
                  <a:lnTo>
                    <a:pt x="736" y="8"/>
                  </a:lnTo>
                  <a:cubicBezTo>
                    <a:pt x="751" y="16"/>
                    <a:pt x="775" y="16"/>
                    <a:pt x="807" y="24"/>
                  </a:cubicBezTo>
                  <a:cubicBezTo>
                    <a:pt x="1052" y="71"/>
                    <a:pt x="1621" y="182"/>
                    <a:pt x="2514" y="292"/>
                  </a:cubicBezTo>
                  <a:cubicBezTo>
                    <a:pt x="2522" y="292"/>
                    <a:pt x="2522" y="292"/>
                    <a:pt x="2522" y="292"/>
                  </a:cubicBezTo>
                  <a:lnTo>
                    <a:pt x="2522" y="292"/>
                  </a:lnTo>
                  <a:cubicBezTo>
                    <a:pt x="2174" y="2956"/>
                    <a:pt x="2174" y="2956"/>
                    <a:pt x="2174" y="2956"/>
                  </a:cubicBezTo>
                  <a:lnTo>
                    <a:pt x="1407" y="2854"/>
                  </a:lnTo>
                  <a:lnTo>
                    <a:pt x="1407" y="2854"/>
                  </a:lnTo>
                  <a:cubicBezTo>
                    <a:pt x="1423" y="2862"/>
                    <a:pt x="1621" y="2878"/>
                    <a:pt x="1668" y="2893"/>
                  </a:cubicBezTo>
                  <a:cubicBezTo>
                    <a:pt x="1692" y="2901"/>
                    <a:pt x="1834" y="2917"/>
                    <a:pt x="1993" y="2933"/>
                  </a:cubicBezTo>
                  <a:cubicBezTo>
                    <a:pt x="2056" y="2941"/>
                    <a:pt x="2111" y="2941"/>
                    <a:pt x="2166" y="2949"/>
                  </a:cubicBezTo>
                  <a:cubicBezTo>
                    <a:pt x="2514" y="300"/>
                    <a:pt x="2514" y="300"/>
                    <a:pt x="2514" y="300"/>
                  </a:cubicBezTo>
                  <a:cubicBezTo>
                    <a:pt x="1613" y="190"/>
                    <a:pt x="1044" y="79"/>
                    <a:pt x="807" y="32"/>
                  </a:cubicBezTo>
                  <a:cubicBezTo>
                    <a:pt x="775" y="24"/>
                    <a:pt x="751" y="16"/>
                    <a:pt x="736" y="16"/>
                  </a:cubicBezTo>
                  <a:lnTo>
                    <a:pt x="736" y="16"/>
                  </a:lnTo>
                  <a:cubicBezTo>
                    <a:pt x="712" y="16"/>
                    <a:pt x="712" y="16"/>
                    <a:pt x="712" y="16"/>
                  </a:cubicBezTo>
                  <a:cubicBezTo>
                    <a:pt x="704" y="8"/>
                    <a:pt x="696" y="8"/>
                    <a:pt x="696" y="8"/>
                  </a:cubicBezTo>
                  <a:lnTo>
                    <a:pt x="696" y="8"/>
                  </a:lnTo>
                  <a:lnTo>
                    <a:pt x="688" y="8"/>
                  </a:lnTo>
                  <a:cubicBezTo>
                    <a:pt x="688" y="47"/>
                    <a:pt x="601" y="387"/>
                    <a:pt x="593" y="411"/>
                  </a:cubicBezTo>
                  <a:cubicBezTo>
                    <a:pt x="577" y="443"/>
                    <a:pt x="570" y="443"/>
                    <a:pt x="538" y="466"/>
                  </a:cubicBezTo>
                  <a:cubicBezTo>
                    <a:pt x="530" y="466"/>
                    <a:pt x="530" y="466"/>
                    <a:pt x="530" y="466"/>
                  </a:cubicBezTo>
                  <a:cubicBezTo>
                    <a:pt x="522" y="474"/>
                    <a:pt x="522" y="474"/>
                    <a:pt x="514" y="474"/>
                  </a:cubicBezTo>
                  <a:cubicBezTo>
                    <a:pt x="498" y="474"/>
                    <a:pt x="498" y="466"/>
                    <a:pt x="498" y="451"/>
                  </a:cubicBezTo>
                  <a:cubicBezTo>
                    <a:pt x="490" y="443"/>
                    <a:pt x="490" y="427"/>
                    <a:pt x="483" y="419"/>
                  </a:cubicBezTo>
                  <a:cubicBezTo>
                    <a:pt x="467" y="395"/>
                    <a:pt x="451" y="387"/>
                    <a:pt x="419" y="387"/>
                  </a:cubicBezTo>
                  <a:cubicBezTo>
                    <a:pt x="411" y="387"/>
                    <a:pt x="396" y="387"/>
                    <a:pt x="380" y="387"/>
                  </a:cubicBezTo>
                  <a:cubicBezTo>
                    <a:pt x="364" y="387"/>
                    <a:pt x="356" y="395"/>
                    <a:pt x="348" y="403"/>
                  </a:cubicBezTo>
                  <a:cubicBezTo>
                    <a:pt x="340" y="411"/>
                    <a:pt x="348" y="419"/>
                    <a:pt x="348" y="435"/>
                  </a:cubicBezTo>
                  <a:cubicBezTo>
                    <a:pt x="356" y="435"/>
                    <a:pt x="356" y="443"/>
                    <a:pt x="356" y="451"/>
                  </a:cubicBezTo>
                  <a:cubicBezTo>
                    <a:pt x="356" y="458"/>
                    <a:pt x="356" y="458"/>
                    <a:pt x="356" y="458"/>
                  </a:cubicBezTo>
                  <a:cubicBezTo>
                    <a:pt x="364" y="490"/>
                    <a:pt x="372" y="506"/>
                    <a:pt x="356" y="522"/>
                  </a:cubicBezTo>
                  <a:cubicBezTo>
                    <a:pt x="348" y="530"/>
                    <a:pt x="340" y="553"/>
                    <a:pt x="348" y="601"/>
                  </a:cubicBezTo>
                  <a:cubicBezTo>
                    <a:pt x="356" y="632"/>
                    <a:pt x="340" y="640"/>
                    <a:pt x="332" y="648"/>
                  </a:cubicBezTo>
                  <a:cubicBezTo>
                    <a:pt x="324" y="664"/>
                    <a:pt x="317" y="672"/>
                    <a:pt x="317" y="688"/>
                  </a:cubicBezTo>
                  <a:cubicBezTo>
                    <a:pt x="317" y="719"/>
                    <a:pt x="324" y="735"/>
                    <a:pt x="332" y="751"/>
                  </a:cubicBezTo>
                  <a:cubicBezTo>
                    <a:pt x="332" y="767"/>
                    <a:pt x="340" y="783"/>
                    <a:pt x="340" y="806"/>
                  </a:cubicBezTo>
                  <a:cubicBezTo>
                    <a:pt x="348" y="838"/>
                    <a:pt x="332" y="846"/>
                    <a:pt x="317" y="854"/>
                  </a:cubicBezTo>
                  <a:cubicBezTo>
                    <a:pt x="317" y="862"/>
                    <a:pt x="309" y="862"/>
                    <a:pt x="301" y="869"/>
                  </a:cubicBezTo>
                  <a:cubicBezTo>
                    <a:pt x="285" y="885"/>
                    <a:pt x="285" y="901"/>
                    <a:pt x="285" y="917"/>
                  </a:cubicBezTo>
                  <a:cubicBezTo>
                    <a:pt x="285" y="925"/>
                    <a:pt x="285" y="941"/>
                    <a:pt x="285" y="964"/>
                  </a:cubicBezTo>
                  <a:cubicBezTo>
                    <a:pt x="277" y="988"/>
                    <a:pt x="285" y="996"/>
                    <a:pt x="293" y="1012"/>
                  </a:cubicBezTo>
                  <a:cubicBezTo>
                    <a:pt x="301" y="1020"/>
                    <a:pt x="309" y="1028"/>
                    <a:pt x="317" y="1036"/>
                  </a:cubicBezTo>
                  <a:cubicBezTo>
                    <a:pt x="317" y="1044"/>
                    <a:pt x="324" y="1051"/>
                    <a:pt x="324" y="1059"/>
                  </a:cubicBezTo>
                  <a:cubicBezTo>
                    <a:pt x="340" y="1075"/>
                    <a:pt x="348" y="1091"/>
                    <a:pt x="348" y="1115"/>
                  </a:cubicBezTo>
                  <a:cubicBezTo>
                    <a:pt x="348" y="1138"/>
                    <a:pt x="372" y="1202"/>
                    <a:pt x="396" y="1217"/>
                  </a:cubicBezTo>
                  <a:cubicBezTo>
                    <a:pt x="403" y="1217"/>
                    <a:pt x="419" y="1233"/>
                    <a:pt x="419" y="1249"/>
                  </a:cubicBezTo>
                  <a:cubicBezTo>
                    <a:pt x="427" y="1265"/>
                    <a:pt x="419" y="1281"/>
                    <a:pt x="419" y="1289"/>
                  </a:cubicBezTo>
                  <a:cubicBezTo>
                    <a:pt x="411" y="1304"/>
                    <a:pt x="396" y="1304"/>
                    <a:pt x="388" y="1312"/>
                  </a:cubicBezTo>
                  <a:cubicBezTo>
                    <a:pt x="380" y="1312"/>
                    <a:pt x="364" y="1320"/>
                    <a:pt x="356" y="1328"/>
                  </a:cubicBezTo>
                  <a:cubicBezTo>
                    <a:pt x="332" y="1336"/>
                    <a:pt x="324" y="1352"/>
                    <a:pt x="309" y="1368"/>
                  </a:cubicBezTo>
                  <a:cubicBezTo>
                    <a:pt x="293" y="1384"/>
                    <a:pt x="277" y="1399"/>
                    <a:pt x="253" y="1407"/>
                  </a:cubicBezTo>
                  <a:cubicBezTo>
                    <a:pt x="237" y="1423"/>
                    <a:pt x="237" y="1439"/>
                    <a:pt x="237" y="1462"/>
                  </a:cubicBezTo>
                  <a:cubicBezTo>
                    <a:pt x="245" y="1470"/>
                    <a:pt x="245" y="1486"/>
                    <a:pt x="245" y="1510"/>
                  </a:cubicBezTo>
                  <a:cubicBezTo>
                    <a:pt x="237" y="1549"/>
                    <a:pt x="198" y="1597"/>
                    <a:pt x="182" y="1628"/>
                  </a:cubicBezTo>
                  <a:cubicBezTo>
                    <a:pt x="174" y="1636"/>
                    <a:pt x="174" y="1636"/>
                    <a:pt x="174" y="1644"/>
                  </a:cubicBezTo>
                  <a:cubicBezTo>
                    <a:pt x="166" y="1652"/>
                    <a:pt x="150" y="1660"/>
                    <a:pt x="143" y="1660"/>
                  </a:cubicBezTo>
                  <a:cubicBezTo>
                    <a:pt x="127" y="1668"/>
                    <a:pt x="111" y="1668"/>
                    <a:pt x="103" y="1684"/>
                  </a:cubicBezTo>
                  <a:cubicBezTo>
                    <a:pt x="95" y="1700"/>
                    <a:pt x="103" y="1708"/>
                    <a:pt x="111" y="1723"/>
                  </a:cubicBezTo>
                  <a:cubicBezTo>
                    <a:pt x="119" y="1731"/>
                    <a:pt x="119" y="1747"/>
                    <a:pt x="119" y="1763"/>
                  </a:cubicBezTo>
                  <a:cubicBezTo>
                    <a:pt x="119" y="1786"/>
                    <a:pt x="111" y="1786"/>
                    <a:pt x="111" y="1795"/>
                  </a:cubicBezTo>
                  <a:cubicBezTo>
                    <a:pt x="103" y="1795"/>
                    <a:pt x="103" y="1795"/>
                    <a:pt x="103" y="1810"/>
                  </a:cubicBezTo>
                  <a:cubicBezTo>
                    <a:pt x="103" y="1818"/>
                    <a:pt x="111" y="1826"/>
                    <a:pt x="119" y="1826"/>
                  </a:cubicBezTo>
                  <a:cubicBezTo>
                    <a:pt x="127" y="1826"/>
                    <a:pt x="143" y="1826"/>
                    <a:pt x="150" y="1834"/>
                  </a:cubicBezTo>
                  <a:cubicBezTo>
                    <a:pt x="174" y="1842"/>
                    <a:pt x="174" y="1850"/>
                    <a:pt x="182" y="1889"/>
                  </a:cubicBezTo>
                  <a:lnTo>
                    <a:pt x="182" y="1889"/>
                  </a:lnTo>
                  <a:cubicBezTo>
                    <a:pt x="182" y="1913"/>
                    <a:pt x="174" y="1921"/>
                    <a:pt x="166" y="1921"/>
                  </a:cubicBezTo>
                  <a:cubicBezTo>
                    <a:pt x="159" y="1929"/>
                    <a:pt x="150" y="1929"/>
                    <a:pt x="150" y="1945"/>
                  </a:cubicBezTo>
                  <a:cubicBezTo>
                    <a:pt x="143" y="1976"/>
                    <a:pt x="95" y="1976"/>
                    <a:pt x="87" y="1976"/>
                  </a:cubicBezTo>
                  <a:cubicBezTo>
                    <a:pt x="71" y="1976"/>
                    <a:pt x="64" y="1976"/>
                    <a:pt x="48" y="1984"/>
                  </a:cubicBezTo>
                  <a:cubicBezTo>
                    <a:pt x="56" y="1992"/>
                    <a:pt x="40" y="2008"/>
                    <a:pt x="16" y="2024"/>
                  </a:cubicBezTo>
                  <a:cubicBezTo>
                    <a:pt x="16" y="2032"/>
                    <a:pt x="8" y="2032"/>
                    <a:pt x="8" y="2039"/>
                  </a:cubicBezTo>
                  <a:cubicBezTo>
                    <a:pt x="8" y="2055"/>
                    <a:pt x="32" y="2071"/>
                    <a:pt x="32" y="2071"/>
                  </a:cubicBezTo>
                  <a:cubicBezTo>
                    <a:pt x="1407" y="2854"/>
                    <a:pt x="1407" y="2854"/>
                    <a:pt x="1407" y="2854"/>
                  </a:cubicBezTo>
                  <a:lnTo>
                    <a:pt x="2174" y="2956"/>
                  </a:lnTo>
                </a:path>
              </a:pathLst>
            </a:custGeom>
            <a:grpFill/>
            <a:ln>
              <a:solidFill>
                <a:schemeClr val="bg1">
                  <a:lumMod val="95000"/>
                </a:schemeClr>
              </a:solidFill>
            </a:ln>
            <a:effectLst/>
          </p:spPr>
          <p:txBody>
            <a:bodyPr wrap="none" anchor="ctr"/>
            <a:lstStyle/>
            <a:p>
              <a:endParaRPr lang="en-US" sz="900"/>
            </a:p>
          </p:txBody>
        </p:sp>
        <p:sp>
          <p:nvSpPr>
            <p:cNvPr id="24" name="Freeform 52"/>
            <p:cNvSpPr>
              <a:spLocks noChangeArrowheads="1"/>
            </p:cNvSpPr>
            <p:nvPr/>
          </p:nvSpPr>
          <p:spPr bwMode="auto">
            <a:xfrm>
              <a:off x="9815544" y="5523585"/>
              <a:ext cx="1435651" cy="1117905"/>
            </a:xfrm>
            <a:custGeom>
              <a:avLst/>
              <a:gdLst>
                <a:gd name="T0" fmla="*/ 2720 w 2729"/>
                <a:gd name="T1" fmla="*/ 269 h 2127"/>
                <a:gd name="T2" fmla="*/ 2720 w 2729"/>
                <a:gd name="T3" fmla="*/ 269 h 2127"/>
                <a:gd name="T4" fmla="*/ 2649 w 2729"/>
                <a:gd name="T5" fmla="*/ 222 h 2127"/>
                <a:gd name="T6" fmla="*/ 245 w 2729"/>
                <a:gd name="T7" fmla="*/ 0 h 2127"/>
                <a:gd name="T8" fmla="*/ 0 w 2729"/>
                <a:gd name="T9" fmla="*/ 1896 h 2127"/>
                <a:gd name="T10" fmla="*/ 1890 w 2729"/>
                <a:gd name="T11" fmla="*/ 2078 h 2127"/>
                <a:gd name="T12" fmla="*/ 1898 w 2729"/>
                <a:gd name="T13" fmla="*/ 2078 h 2127"/>
                <a:gd name="T14" fmla="*/ 2253 w 2729"/>
                <a:gd name="T15" fmla="*/ 2102 h 2127"/>
                <a:gd name="T16" fmla="*/ 2625 w 2729"/>
                <a:gd name="T17" fmla="*/ 2126 h 2127"/>
                <a:gd name="T18" fmla="*/ 2720 w 2729"/>
                <a:gd name="T19" fmla="*/ 269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9" h="2127">
                  <a:moveTo>
                    <a:pt x="2720" y="269"/>
                  </a:moveTo>
                  <a:lnTo>
                    <a:pt x="2720" y="269"/>
                  </a:lnTo>
                  <a:cubicBezTo>
                    <a:pt x="2712" y="206"/>
                    <a:pt x="2649" y="222"/>
                    <a:pt x="2649" y="222"/>
                  </a:cubicBezTo>
                  <a:cubicBezTo>
                    <a:pt x="2269" y="269"/>
                    <a:pt x="245" y="0"/>
                    <a:pt x="245" y="0"/>
                  </a:cubicBezTo>
                  <a:cubicBezTo>
                    <a:pt x="0" y="1896"/>
                    <a:pt x="0" y="1896"/>
                    <a:pt x="0" y="1896"/>
                  </a:cubicBezTo>
                  <a:cubicBezTo>
                    <a:pt x="522" y="1968"/>
                    <a:pt x="1155" y="2031"/>
                    <a:pt x="1890" y="2078"/>
                  </a:cubicBezTo>
                  <a:lnTo>
                    <a:pt x="1898" y="2078"/>
                  </a:lnTo>
                  <a:cubicBezTo>
                    <a:pt x="2016" y="2086"/>
                    <a:pt x="2135" y="2094"/>
                    <a:pt x="2253" y="2102"/>
                  </a:cubicBezTo>
                  <a:cubicBezTo>
                    <a:pt x="2380" y="2110"/>
                    <a:pt x="2498" y="2118"/>
                    <a:pt x="2625" y="2126"/>
                  </a:cubicBezTo>
                  <a:cubicBezTo>
                    <a:pt x="2664" y="1493"/>
                    <a:pt x="2728" y="324"/>
                    <a:pt x="2720" y="269"/>
                  </a:cubicBezTo>
                </a:path>
              </a:pathLst>
            </a:custGeom>
            <a:grpFill/>
            <a:ln>
              <a:solidFill>
                <a:schemeClr val="bg1">
                  <a:lumMod val="95000"/>
                </a:schemeClr>
              </a:solidFill>
            </a:ln>
            <a:effectLst/>
          </p:spPr>
          <p:txBody>
            <a:bodyPr wrap="none" anchor="ctr"/>
            <a:lstStyle/>
            <a:p>
              <a:endParaRPr lang="en-US" sz="900"/>
            </a:p>
          </p:txBody>
        </p:sp>
        <p:sp>
          <p:nvSpPr>
            <p:cNvPr id="25" name="Freeform 53"/>
            <p:cNvSpPr>
              <a:spLocks noChangeArrowheads="1"/>
            </p:cNvSpPr>
            <p:nvPr/>
          </p:nvSpPr>
          <p:spPr bwMode="auto">
            <a:xfrm>
              <a:off x="9815544" y="5523585"/>
              <a:ext cx="1440290" cy="1117905"/>
            </a:xfrm>
            <a:custGeom>
              <a:avLst/>
              <a:gdLst>
                <a:gd name="T0" fmla="*/ 2633 w 2737"/>
                <a:gd name="T1" fmla="*/ 2126 h 2127"/>
                <a:gd name="T2" fmla="*/ 2633 w 2737"/>
                <a:gd name="T3" fmla="*/ 2126 h 2127"/>
                <a:gd name="T4" fmla="*/ 2625 w 2737"/>
                <a:gd name="T5" fmla="*/ 2126 h 2127"/>
                <a:gd name="T6" fmla="*/ 2253 w 2737"/>
                <a:gd name="T7" fmla="*/ 2110 h 2127"/>
                <a:gd name="T8" fmla="*/ 1898 w 2737"/>
                <a:gd name="T9" fmla="*/ 2086 h 2127"/>
                <a:gd name="T10" fmla="*/ 1890 w 2737"/>
                <a:gd name="T11" fmla="*/ 2086 h 2127"/>
                <a:gd name="T12" fmla="*/ 0 w 2737"/>
                <a:gd name="T13" fmla="*/ 1904 h 2127"/>
                <a:gd name="T14" fmla="*/ 0 w 2737"/>
                <a:gd name="T15" fmla="*/ 1904 h 2127"/>
                <a:gd name="T16" fmla="*/ 0 w 2737"/>
                <a:gd name="T17" fmla="*/ 1896 h 2127"/>
                <a:gd name="T18" fmla="*/ 245 w 2737"/>
                <a:gd name="T19" fmla="*/ 0 h 2127"/>
                <a:gd name="T20" fmla="*/ 245 w 2737"/>
                <a:gd name="T21" fmla="*/ 0 h 2127"/>
                <a:gd name="T22" fmla="*/ 2514 w 2737"/>
                <a:gd name="T23" fmla="*/ 222 h 2127"/>
                <a:gd name="T24" fmla="*/ 2649 w 2737"/>
                <a:gd name="T25" fmla="*/ 222 h 2127"/>
                <a:gd name="T26" fmla="*/ 2664 w 2737"/>
                <a:gd name="T27" fmla="*/ 214 h 2127"/>
                <a:gd name="T28" fmla="*/ 2728 w 2737"/>
                <a:gd name="T29" fmla="*/ 269 h 2127"/>
                <a:gd name="T30" fmla="*/ 2633 w 2737"/>
                <a:gd name="T31" fmla="*/ 2126 h 2127"/>
                <a:gd name="T32" fmla="*/ 2633 w 2737"/>
                <a:gd name="T33" fmla="*/ 2126 h 2127"/>
                <a:gd name="T34" fmla="*/ 8 w 2737"/>
                <a:gd name="T35" fmla="*/ 1896 h 2127"/>
                <a:gd name="T36" fmla="*/ 8 w 2737"/>
                <a:gd name="T37" fmla="*/ 1896 h 2127"/>
                <a:gd name="T38" fmla="*/ 1890 w 2737"/>
                <a:gd name="T39" fmla="*/ 2078 h 2127"/>
                <a:gd name="T40" fmla="*/ 1898 w 2737"/>
                <a:gd name="T41" fmla="*/ 2078 h 2127"/>
                <a:gd name="T42" fmla="*/ 2253 w 2737"/>
                <a:gd name="T43" fmla="*/ 2102 h 2127"/>
                <a:gd name="T44" fmla="*/ 2625 w 2737"/>
                <a:gd name="T45" fmla="*/ 2118 h 2127"/>
                <a:gd name="T46" fmla="*/ 2720 w 2737"/>
                <a:gd name="T47" fmla="*/ 277 h 2127"/>
                <a:gd name="T48" fmla="*/ 2664 w 2737"/>
                <a:gd name="T49" fmla="*/ 222 h 2127"/>
                <a:gd name="T50" fmla="*/ 2649 w 2737"/>
                <a:gd name="T51" fmla="*/ 229 h 2127"/>
                <a:gd name="T52" fmla="*/ 2514 w 2737"/>
                <a:gd name="T53" fmla="*/ 229 h 2127"/>
                <a:gd name="T54" fmla="*/ 245 w 2737"/>
                <a:gd name="T55" fmla="*/ 8 h 2127"/>
                <a:gd name="T56" fmla="*/ 8 w 2737"/>
                <a:gd name="T57" fmla="*/ 1896 h 2127"/>
                <a:gd name="T58" fmla="*/ 2633 w 2737"/>
                <a:gd name="T59" fmla="*/ 2126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37" h="2127">
                  <a:moveTo>
                    <a:pt x="2633" y="2126"/>
                  </a:moveTo>
                  <a:lnTo>
                    <a:pt x="2633" y="2126"/>
                  </a:lnTo>
                  <a:cubicBezTo>
                    <a:pt x="2625" y="2126"/>
                    <a:pt x="2625" y="2126"/>
                    <a:pt x="2625" y="2126"/>
                  </a:cubicBezTo>
                  <a:cubicBezTo>
                    <a:pt x="2506" y="2118"/>
                    <a:pt x="2380" y="2118"/>
                    <a:pt x="2253" y="2110"/>
                  </a:cubicBezTo>
                  <a:cubicBezTo>
                    <a:pt x="2135" y="2102"/>
                    <a:pt x="2016" y="2094"/>
                    <a:pt x="1898" y="2086"/>
                  </a:cubicBezTo>
                  <a:cubicBezTo>
                    <a:pt x="1890" y="2086"/>
                    <a:pt x="1890" y="2086"/>
                    <a:pt x="1890" y="2086"/>
                  </a:cubicBezTo>
                  <a:cubicBezTo>
                    <a:pt x="1234" y="2039"/>
                    <a:pt x="601" y="1976"/>
                    <a:pt x="0" y="1904"/>
                  </a:cubicBezTo>
                  <a:lnTo>
                    <a:pt x="0" y="1904"/>
                  </a:lnTo>
                  <a:cubicBezTo>
                    <a:pt x="0" y="1896"/>
                    <a:pt x="0" y="1896"/>
                    <a:pt x="0" y="1896"/>
                  </a:cubicBezTo>
                  <a:cubicBezTo>
                    <a:pt x="245" y="0"/>
                    <a:pt x="245" y="0"/>
                    <a:pt x="245" y="0"/>
                  </a:cubicBezTo>
                  <a:lnTo>
                    <a:pt x="245" y="0"/>
                  </a:lnTo>
                  <a:cubicBezTo>
                    <a:pt x="261" y="0"/>
                    <a:pt x="1945" y="222"/>
                    <a:pt x="2514" y="222"/>
                  </a:cubicBezTo>
                  <a:cubicBezTo>
                    <a:pt x="2569" y="222"/>
                    <a:pt x="2617" y="222"/>
                    <a:pt x="2649" y="222"/>
                  </a:cubicBezTo>
                  <a:cubicBezTo>
                    <a:pt x="2649" y="222"/>
                    <a:pt x="2656" y="214"/>
                    <a:pt x="2664" y="214"/>
                  </a:cubicBezTo>
                  <a:cubicBezTo>
                    <a:pt x="2688" y="214"/>
                    <a:pt x="2720" y="222"/>
                    <a:pt x="2728" y="269"/>
                  </a:cubicBezTo>
                  <a:cubicBezTo>
                    <a:pt x="2736" y="324"/>
                    <a:pt x="2664" y="1454"/>
                    <a:pt x="2633" y="2126"/>
                  </a:cubicBezTo>
                  <a:lnTo>
                    <a:pt x="2633" y="2126"/>
                  </a:lnTo>
                  <a:lnTo>
                    <a:pt x="8" y="1896"/>
                  </a:lnTo>
                  <a:lnTo>
                    <a:pt x="8" y="1896"/>
                  </a:lnTo>
                  <a:cubicBezTo>
                    <a:pt x="601" y="1968"/>
                    <a:pt x="1241" y="2031"/>
                    <a:pt x="1890" y="2078"/>
                  </a:cubicBezTo>
                  <a:cubicBezTo>
                    <a:pt x="1898" y="2078"/>
                    <a:pt x="1898" y="2078"/>
                    <a:pt x="1898" y="2078"/>
                  </a:cubicBezTo>
                  <a:cubicBezTo>
                    <a:pt x="2016" y="2086"/>
                    <a:pt x="2143" y="2094"/>
                    <a:pt x="2253" y="2102"/>
                  </a:cubicBezTo>
                  <a:cubicBezTo>
                    <a:pt x="2380" y="2110"/>
                    <a:pt x="2498" y="2110"/>
                    <a:pt x="2625" y="2118"/>
                  </a:cubicBezTo>
                  <a:cubicBezTo>
                    <a:pt x="2664" y="1446"/>
                    <a:pt x="2728" y="324"/>
                    <a:pt x="2720" y="277"/>
                  </a:cubicBezTo>
                  <a:cubicBezTo>
                    <a:pt x="2712" y="229"/>
                    <a:pt x="2688" y="222"/>
                    <a:pt x="2664" y="222"/>
                  </a:cubicBezTo>
                  <a:cubicBezTo>
                    <a:pt x="2656" y="222"/>
                    <a:pt x="2649" y="229"/>
                    <a:pt x="2649" y="229"/>
                  </a:cubicBezTo>
                  <a:cubicBezTo>
                    <a:pt x="2617" y="229"/>
                    <a:pt x="2569" y="229"/>
                    <a:pt x="2514" y="229"/>
                  </a:cubicBezTo>
                  <a:cubicBezTo>
                    <a:pt x="1961" y="229"/>
                    <a:pt x="340" y="16"/>
                    <a:pt x="245" y="8"/>
                  </a:cubicBezTo>
                  <a:cubicBezTo>
                    <a:pt x="8" y="1896"/>
                    <a:pt x="8" y="1896"/>
                    <a:pt x="8" y="1896"/>
                  </a:cubicBezTo>
                  <a:lnTo>
                    <a:pt x="2633" y="2126"/>
                  </a:lnTo>
                </a:path>
              </a:pathLst>
            </a:custGeom>
            <a:grpFill/>
            <a:ln>
              <a:solidFill>
                <a:schemeClr val="bg1">
                  <a:lumMod val="95000"/>
                </a:schemeClr>
              </a:solidFill>
            </a:ln>
            <a:effectLst/>
          </p:spPr>
          <p:txBody>
            <a:bodyPr wrap="none" anchor="ctr"/>
            <a:lstStyle/>
            <a:p>
              <a:endParaRPr lang="en-US" sz="900"/>
            </a:p>
          </p:txBody>
        </p:sp>
        <p:sp>
          <p:nvSpPr>
            <p:cNvPr id="28" name="Freeform 129"/>
            <p:cNvSpPr>
              <a:spLocks noChangeArrowheads="1"/>
            </p:cNvSpPr>
            <p:nvPr/>
          </p:nvSpPr>
          <p:spPr bwMode="auto">
            <a:xfrm>
              <a:off x="7802386" y="4915927"/>
              <a:ext cx="1268661" cy="1934301"/>
            </a:xfrm>
            <a:custGeom>
              <a:avLst/>
              <a:gdLst>
                <a:gd name="T0" fmla="*/ 356 w 2412"/>
                <a:gd name="T1" fmla="*/ 0 h 3676"/>
                <a:gd name="T2" fmla="*/ 356 w 2412"/>
                <a:gd name="T3" fmla="*/ 0 h 3676"/>
                <a:gd name="T4" fmla="*/ 0 w 2412"/>
                <a:gd name="T5" fmla="*/ 1391 h 3676"/>
                <a:gd name="T6" fmla="*/ 1597 w 2412"/>
                <a:gd name="T7" fmla="*/ 3675 h 3676"/>
                <a:gd name="T8" fmla="*/ 1605 w 2412"/>
                <a:gd name="T9" fmla="*/ 3627 h 3676"/>
                <a:gd name="T10" fmla="*/ 1652 w 2412"/>
                <a:gd name="T11" fmla="*/ 3564 h 3676"/>
                <a:gd name="T12" fmla="*/ 1629 w 2412"/>
                <a:gd name="T13" fmla="*/ 3446 h 3676"/>
                <a:gd name="T14" fmla="*/ 1660 w 2412"/>
                <a:gd name="T15" fmla="*/ 3359 h 3676"/>
                <a:gd name="T16" fmla="*/ 1668 w 2412"/>
                <a:gd name="T17" fmla="*/ 3272 h 3676"/>
                <a:gd name="T18" fmla="*/ 1668 w 2412"/>
                <a:gd name="T19" fmla="*/ 3209 h 3676"/>
                <a:gd name="T20" fmla="*/ 1692 w 2412"/>
                <a:gd name="T21" fmla="*/ 3137 h 3676"/>
                <a:gd name="T22" fmla="*/ 1802 w 2412"/>
                <a:gd name="T23" fmla="*/ 3169 h 3676"/>
                <a:gd name="T24" fmla="*/ 1842 w 2412"/>
                <a:gd name="T25" fmla="*/ 3224 h 3676"/>
                <a:gd name="T26" fmla="*/ 1897 w 2412"/>
                <a:gd name="T27" fmla="*/ 3169 h 3676"/>
                <a:gd name="T28" fmla="*/ 2000 w 2412"/>
                <a:gd name="T29" fmla="*/ 2758 h 3676"/>
                <a:gd name="T30" fmla="*/ 2000 w 2412"/>
                <a:gd name="T31" fmla="*/ 2758 h 3676"/>
                <a:gd name="T32" fmla="*/ 2000 w 2412"/>
                <a:gd name="T33" fmla="*/ 2758 h 3676"/>
                <a:gd name="T34" fmla="*/ 2008 w 2412"/>
                <a:gd name="T35" fmla="*/ 2758 h 3676"/>
                <a:gd name="T36" fmla="*/ 2411 w 2412"/>
                <a:gd name="T37" fmla="*/ 443 h 3676"/>
                <a:gd name="T38" fmla="*/ 356 w 2412"/>
                <a:gd name="T39" fmla="*/ 0 h 3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2" h="3676">
                  <a:moveTo>
                    <a:pt x="356" y="0"/>
                  </a:moveTo>
                  <a:lnTo>
                    <a:pt x="356" y="0"/>
                  </a:lnTo>
                  <a:cubicBezTo>
                    <a:pt x="0" y="1391"/>
                    <a:pt x="0" y="1391"/>
                    <a:pt x="0" y="1391"/>
                  </a:cubicBezTo>
                  <a:cubicBezTo>
                    <a:pt x="1597" y="3675"/>
                    <a:pt x="1597" y="3675"/>
                    <a:pt x="1597" y="3675"/>
                  </a:cubicBezTo>
                  <a:cubicBezTo>
                    <a:pt x="1597" y="3651"/>
                    <a:pt x="1589" y="3643"/>
                    <a:pt x="1605" y="3627"/>
                  </a:cubicBezTo>
                  <a:cubicBezTo>
                    <a:pt x="1629" y="3604"/>
                    <a:pt x="1652" y="3612"/>
                    <a:pt x="1652" y="3564"/>
                  </a:cubicBezTo>
                  <a:cubicBezTo>
                    <a:pt x="1644" y="3509"/>
                    <a:pt x="1629" y="3493"/>
                    <a:pt x="1629" y="3446"/>
                  </a:cubicBezTo>
                  <a:cubicBezTo>
                    <a:pt x="1629" y="3398"/>
                    <a:pt x="1668" y="3406"/>
                    <a:pt x="1660" y="3359"/>
                  </a:cubicBezTo>
                  <a:cubicBezTo>
                    <a:pt x="1652" y="3311"/>
                    <a:pt x="1652" y="3288"/>
                    <a:pt x="1668" y="3272"/>
                  </a:cubicBezTo>
                  <a:cubicBezTo>
                    <a:pt x="1676" y="3256"/>
                    <a:pt x="1676" y="3240"/>
                    <a:pt x="1668" y="3209"/>
                  </a:cubicBezTo>
                  <a:cubicBezTo>
                    <a:pt x="1660" y="3169"/>
                    <a:pt x="1636" y="3145"/>
                    <a:pt x="1692" y="3137"/>
                  </a:cubicBezTo>
                  <a:cubicBezTo>
                    <a:pt x="1755" y="3137"/>
                    <a:pt x="1779" y="3137"/>
                    <a:pt x="1802" y="3169"/>
                  </a:cubicBezTo>
                  <a:cubicBezTo>
                    <a:pt x="1818" y="3209"/>
                    <a:pt x="1802" y="3240"/>
                    <a:pt x="1842" y="3224"/>
                  </a:cubicBezTo>
                  <a:cubicBezTo>
                    <a:pt x="1882" y="3201"/>
                    <a:pt x="1889" y="3193"/>
                    <a:pt x="1897" y="3169"/>
                  </a:cubicBezTo>
                  <a:cubicBezTo>
                    <a:pt x="1913" y="3137"/>
                    <a:pt x="2000" y="2782"/>
                    <a:pt x="2000" y="2758"/>
                  </a:cubicBezTo>
                  <a:lnTo>
                    <a:pt x="2000" y="2758"/>
                  </a:lnTo>
                  <a:lnTo>
                    <a:pt x="2000" y="2758"/>
                  </a:lnTo>
                  <a:cubicBezTo>
                    <a:pt x="2000" y="2758"/>
                    <a:pt x="2000" y="2758"/>
                    <a:pt x="2008" y="2758"/>
                  </a:cubicBezTo>
                  <a:cubicBezTo>
                    <a:pt x="2411" y="443"/>
                    <a:pt x="2411" y="443"/>
                    <a:pt x="2411" y="443"/>
                  </a:cubicBezTo>
                  <a:cubicBezTo>
                    <a:pt x="1652" y="300"/>
                    <a:pt x="941" y="142"/>
                    <a:pt x="356" y="0"/>
                  </a:cubicBezTo>
                </a:path>
              </a:pathLst>
            </a:custGeom>
            <a:grpFill/>
            <a:ln>
              <a:solidFill>
                <a:schemeClr val="bg1">
                  <a:lumMod val="95000"/>
                </a:schemeClr>
              </a:solidFill>
            </a:ln>
            <a:effectLst/>
          </p:spPr>
          <p:txBody>
            <a:bodyPr wrap="none" anchor="ctr"/>
            <a:lstStyle/>
            <a:p>
              <a:endParaRPr lang="en-US" sz="900"/>
            </a:p>
          </p:txBody>
        </p:sp>
        <p:sp>
          <p:nvSpPr>
            <p:cNvPr id="29" name="Freeform 130"/>
            <p:cNvSpPr>
              <a:spLocks noChangeArrowheads="1"/>
            </p:cNvSpPr>
            <p:nvPr/>
          </p:nvSpPr>
          <p:spPr bwMode="auto">
            <a:xfrm>
              <a:off x="7802386" y="4913609"/>
              <a:ext cx="1268661" cy="1941258"/>
            </a:xfrm>
            <a:custGeom>
              <a:avLst/>
              <a:gdLst>
                <a:gd name="T0" fmla="*/ 1597 w 2412"/>
                <a:gd name="T1" fmla="*/ 3691 h 3692"/>
                <a:gd name="T2" fmla="*/ 348 w 2412"/>
                <a:gd name="T3" fmla="*/ 0 h 3692"/>
                <a:gd name="T4" fmla="*/ 2411 w 2412"/>
                <a:gd name="T5" fmla="*/ 451 h 3692"/>
                <a:gd name="T6" fmla="*/ 2411 w 2412"/>
                <a:gd name="T7" fmla="*/ 451 h 3692"/>
                <a:gd name="T8" fmla="*/ 2008 w 2412"/>
                <a:gd name="T9" fmla="*/ 2774 h 3692"/>
                <a:gd name="T10" fmla="*/ 1905 w 2412"/>
                <a:gd name="T11" fmla="*/ 3177 h 3692"/>
                <a:gd name="T12" fmla="*/ 1842 w 2412"/>
                <a:gd name="T13" fmla="*/ 3232 h 3692"/>
                <a:gd name="T14" fmla="*/ 1810 w 2412"/>
                <a:gd name="T15" fmla="*/ 3217 h 3692"/>
                <a:gd name="T16" fmla="*/ 1731 w 2412"/>
                <a:gd name="T17" fmla="*/ 3153 h 3692"/>
                <a:gd name="T18" fmla="*/ 1660 w 2412"/>
                <a:gd name="T19" fmla="*/ 3161 h 3692"/>
                <a:gd name="T20" fmla="*/ 1668 w 2412"/>
                <a:gd name="T21" fmla="*/ 3217 h 3692"/>
                <a:gd name="T22" fmla="*/ 1668 w 2412"/>
                <a:gd name="T23" fmla="*/ 3280 h 3692"/>
                <a:gd name="T24" fmla="*/ 1644 w 2412"/>
                <a:gd name="T25" fmla="*/ 3414 h 3692"/>
                <a:gd name="T26" fmla="*/ 1644 w 2412"/>
                <a:gd name="T27" fmla="*/ 3509 h 3692"/>
                <a:gd name="T28" fmla="*/ 1629 w 2412"/>
                <a:gd name="T29" fmla="*/ 3620 h 3692"/>
                <a:gd name="T30" fmla="*/ 1597 w 2412"/>
                <a:gd name="T31" fmla="*/ 3675 h 3692"/>
                <a:gd name="T32" fmla="*/ 8 w 2412"/>
                <a:gd name="T33" fmla="*/ 1399 h 3692"/>
                <a:gd name="T34" fmla="*/ 1589 w 2412"/>
                <a:gd name="T35" fmla="*/ 3675 h 3692"/>
                <a:gd name="T36" fmla="*/ 1629 w 2412"/>
                <a:gd name="T37" fmla="*/ 3612 h 3692"/>
                <a:gd name="T38" fmla="*/ 1636 w 2412"/>
                <a:gd name="T39" fmla="*/ 3517 h 3692"/>
                <a:gd name="T40" fmla="*/ 1644 w 2412"/>
                <a:gd name="T41" fmla="*/ 3406 h 3692"/>
                <a:gd name="T42" fmla="*/ 1668 w 2412"/>
                <a:gd name="T43" fmla="*/ 3280 h 3692"/>
                <a:gd name="T44" fmla="*/ 1660 w 2412"/>
                <a:gd name="T45" fmla="*/ 3217 h 3692"/>
                <a:gd name="T46" fmla="*/ 1652 w 2412"/>
                <a:gd name="T47" fmla="*/ 3161 h 3692"/>
                <a:gd name="T48" fmla="*/ 1731 w 2412"/>
                <a:gd name="T49" fmla="*/ 3145 h 3692"/>
                <a:gd name="T50" fmla="*/ 1818 w 2412"/>
                <a:gd name="T51" fmla="*/ 3217 h 3692"/>
                <a:gd name="T52" fmla="*/ 1842 w 2412"/>
                <a:gd name="T53" fmla="*/ 3224 h 3692"/>
                <a:gd name="T54" fmla="*/ 1897 w 2412"/>
                <a:gd name="T55" fmla="*/ 3169 h 3692"/>
                <a:gd name="T56" fmla="*/ 2000 w 2412"/>
                <a:gd name="T57" fmla="*/ 2766 h 3692"/>
                <a:gd name="T58" fmla="*/ 2000 w 2412"/>
                <a:gd name="T59" fmla="*/ 2766 h 3692"/>
                <a:gd name="T60" fmla="*/ 356 w 2412"/>
                <a:gd name="T61" fmla="*/ 16 h 3692"/>
                <a:gd name="T62" fmla="*/ 1597 w 2412"/>
                <a:gd name="T63" fmla="*/ 3691 h 3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2" h="3692">
                  <a:moveTo>
                    <a:pt x="1597" y="3691"/>
                  </a:moveTo>
                  <a:lnTo>
                    <a:pt x="1597" y="3691"/>
                  </a:lnTo>
                  <a:cubicBezTo>
                    <a:pt x="0" y="1399"/>
                    <a:pt x="0" y="1399"/>
                    <a:pt x="0" y="1399"/>
                  </a:cubicBezTo>
                  <a:cubicBezTo>
                    <a:pt x="348" y="0"/>
                    <a:pt x="348" y="0"/>
                    <a:pt x="348" y="0"/>
                  </a:cubicBezTo>
                  <a:cubicBezTo>
                    <a:pt x="356" y="8"/>
                    <a:pt x="356" y="8"/>
                    <a:pt x="356" y="8"/>
                  </a:cubicBezTo>
                  <a:cubicBezTo>
                    <a:pt x="1067" y="174"/>
                    <a:pt x="1755" y="324"/>
                    <a:pt x="2411" y="451"/>
                  </a:cubicBezTo>
                  <a:lnTo>
                    <a:pt x="2411" y="451"/>
                  </a:lnTo>
                  <a:lnTo>
                    <a:pt x="2411" y="451"/>
                  </a:lnTo>
                  <a:cubicBezTo>
                    <a:pt x="2008" y="2774"/>
                    <a:pt x="2008" y="2774"/>
                    <a:pt x="2008" y="2774"/>
                  </a:cubicBezTo>
                  <a:lnTo>
                    <a:pt x="2008" y="2774"/>
                  </a:lnTo>
                  <a:lnTo>
                    <a:pt x="2000" y="2774"/>
                  </a:lnTo>
                  <a:cubicBezTo>
                    <a:pt x="2000" y="2813"/>
                    <a:pt x="1913" y="3145"/>
                    <a:pt x="1905" y="3177"/>
                  </a:cubicBezTo>
                  <a:cubicBezTo>
                    <a:pt x="1889" y="3201"/>
                    <a:pt x="1882" y="3209"/>
                    <a:pt x="1850" y="3224"/>
                  </a:cubicBezTo>
                  <a:cubicBezTo>
                    <a:pt x="1842" y="3232"/>
                    <a:pt x="1842" y="3232"/>
                    <a:pt x="1842" y="3232"/>
                  </a:cubicBezTo>
                  <a:cubicBezTo>
                    <a:pt x="1834" y="3240"/>
                    <a:pt x="1834" y="3240"/>
                    <a:pt x="1826" y="3240"/>
                  </a:cubicBezTo>
                  <a:cubicBezTo>
                    <a:pt x="1810" y="3240"/>
                    <a:pt x="1810" y="3232"/>
                    <a:pt x="1810" y="3217"/>
                  </a:cubicBezTo>
                  <a:cubicBezTo>
                    <a:pt x="1802" y="3209"/>
                    <a:pt x="1802" y="3193"/>
                    <a:pt x="1795" y="3185"/>
                  </a:cubicBezTo>
                  <a:cubicBezTo>
                    <a:pt x="1779" y="3161"/>
                    <a:pt x="1763" y="3153"/>
                    <a:pt x="1731" y="3153"/>
                  </a:cubicBezTo>
                  <a:cubicBezTo>
                    <a:pt x="1723" y="3153"/>
                    <a:pt x="1708" y="3153"/>
                    <a:pt x="1692" y="3153"/>
                  </a:cubicBezTo>
                  <a:cubicBezTo>
                    <a:pt x="1676" y="3153"/>
                    <a:pt x="1668" y="3153"/>
                    <a:pt x="1660" y="3161"/>
                  </a:cubicBezTo>
                  <a:cubicBezTo>
                    <a:pt x="1652" y="3169"/>
                    <a:pt x="1660" y="3185"/>
                    <a:pt x="1660" y="3201"/>
                  </a:cubicBezTo>
                  <a:cubicBezTo>
                    <a:pt x="1668" y="3201"/>
                    <a:pt x="1668" y="3209"/>
                    <a:pt x="1668" y="3217"/>
                  </a:cubicBezTo>
                  <a:cubicBezTo>
                    <a:pt x="1668" y="3224"/>
                    <a:pt x="1668" y="3224"/>
                    <a:pt x="1668" y="3224"/>
                  </a:cubicBezTo>
                  <a:cubicBezTo>
                    <a:pt x="1676" y="3248"/>
                    <a:pt x="1684" y="3264"/>
                    <a:pt x="1668" y="3280"/>
                  </a:cubicBezTo>
                  <a:cubicBezTo>
                    <a:pt x="1660" y="3296"/>
                    <a:pt x="1652" y="3319"/>
                    <a:pt x="1660" y="3367"/>
                  </a:cubicBezTo>
                  <a:cubicBezTo>
                    <a:pt x="1668" y="3391"/>
                    <a:pt x="1652" y="3406"/>
                    <a:pt x="1644" y="3414"/>
                  </a:cubicBezTo>
                  <a:cubicBezTo>
                    <a:pt x="1636" y="3422"/>
                    <a:pt x="1629" y="3430"/>
                    <a:pt x="1629" y="3454"/>
                  </a:cubicBezTo>
                  <a:cubicBezTo>
                    <a:pt x="1629" y="3477"/>
                    <a:pt x="1636" y="3493"/>
                    <a:pt x="1644" y="3509"/>
                  </a:cubicBezTo>
                  <a:cubicBezTo>
                    <a:pt x="1644" y="3525"/>
                    <a:pt x="1652" y="3541"/>
                    <a:pt x="1652" y="3572"/>
                  </a:cubicBezTo>
                  <a:cubicBezTo>
                    <a:pt x="1660" y="3604"/>
                    <a:pt x="1644" y="3612"/>
                    <a:pt x="1629" y="3620"/>
                  </a:cubicBezTo>
                  <a:cubicBezTo>
                    <a:pt x="1629" y="3628"/>
                    <a:pt x="1621" y="3628"/>
                    <a:pt x="1613" y="3635"/>
                  </a:cubicBezTo>
                  <a:cubicBezTo>
                    <a:pt x="1597" y="3651"/>
                    <a:pt x="1597" y="3659"/>
                    <a:pt x="1597" y="3675"/>
                  </a:cubicBezTo>
                  <a:cubicBezTo>
                    <a:pt x="1597" y="3691"/>
                    <a:pt x="1597" y="3691"/>
                    <a:pt x="1597" y="3691"/>
                  </a:cubicBezTo>
                  <a:lnTo>
                    <a:pt x="8" y="1399"/>
                  </a:lnTo>
                  <a:lnTo>
                    <a:pt x="8" y="1399"/>
                  </a:lnTo>
                  <a:cubicBezTo>
                    <a:pt x="1589" y="3675"/>
                    <a:pt x="1589" y="3675"/>
                    <a:pt x="1589" y="3675"/>
                  </a:cubicBezTo>
                  <a:cubicBezTo>
                    <a:pt x="1589" y="3659"/>
                    <a:pt x="1589" y="3644"/>
                    <a:pt x="1605" y="3628"/>
                  </a:cubicBezTo>
                  <a:cubicBezTo>
                    <a:pt x="1613" y="3620"/>
                    <a:pt x="1621" y="3620"/>
                    <a:pt x="1629" y="3612"/>
                  </a:cubicBezTo>
                  <a:cubicBezTo>
                    <a:pt x="1644" y="3604"/>
                    <a:pt x="1652" y="3604"/>
                    <a:pt x="1644" y="3572"/>
                  </a:cubicBezTo>
                  <a:cubicBezTo>
                    <a:pt x="1644" y="3549"/>
                    <a:pt x="1636" y="3533"/>
                    <a:pt x="1636" y="3517"/>
                  </a:cubicBezTo>
                  <a:cubicBezTo>
                    <a:pt x="1629" y="3501"/>
                    <a:pt x="1621" y="3485"/>
                    <a:pt x="1621" y="3454"/>
                  </a:cubicBezTo>
                  <a:cubicBezTo>
                    <a:pt x="1621" y="3430"/>
                    <a:pt x="1636" y="3422"/>
                    <a:pt x="1644" y="3406"/>
                  </a:cubicBezTo>
                  <a:cubicBezTo>
                    <a:pt x="1652" y="3398"/>
                    <a:pt x="1660" y="3391"/>
                    <a:pt x="1652" y="3367"/>
                  </a:cubicBezTo>
                  <a:cubicBezTo>
                    <a:pt x="1644" y="3319"/>
                    <a:pt x="1652" y="3296"/>
                    <a:pt x="1668" y="3280"/>
                  </a:cubicBezTo>
                  <a:cubicBezTo>
                    <a:pt x="1676" y="3264"/>
                    <a:pt x="1668" y="3248"/>
                    <a:pt x="1660" y="3224"/>
                  </a:cubicBezTo>
                  <a:cubicBezTo>
                    <a:pt x="1660" y="3217"/>
                    <a:pt x="1660" y="3217"/>
                    <a:pt x="1660" y="3217"/>
                  </a:cubicBezTo>
                  <a:cubicBezTo>
                    <a:pt x="1660" y="3209"/>
                    <a:pt x="1660" y="3201"/>
                    <a:pt x="1660" y="3201"/>
                  </a:cubicBezTo>
                  <a:cubicBezTo>
                    <a:pt x="1652" y="3185"/>
                    <a:pt x="1644" y="3169"/>
                    <a:pt x="1652" y="3161"/>
                  </a:cubicBezTo>
                  <a:cubicBezTo>
                    <a:pt x="1660" y="3153"/>
                    <a:pt x="1676" y="3145"/>
                    <a:pt x="1692" y="3145"/>
                  </a:cubicBezTo>
                  <a:cubicBezTo>
                    <a:pt x="1708" y="3145"/>
                    <a:pt x="1723" y="3145"/>
                    <a:pt x="1731" y="3145"/>
                  </a:cubicBezTo>
                  <a:cubicBezTo>
                    <a:pt x="1763" y="3145"/>
                    <a:pt x="1787" y="3145"/>
                    <a:pt x="1802" y="3177"/>
                  </a:cubicBezTo>
                  <a:cubicBezTo>
                    <a:pt x="1810" y="3193"/>
                    <a:pt x="1810" y="3201"/>
                    <a:pt x="1818" y="3217"/>
                  </a:cubicBezTo>
                  <a:cubicBezTo>
                    <a:pt x="1818" y="3224"/>
                    <a:pt x="1818" y="3232"/>
                    <a:pt x="1826" y="3232"/>
                  </a:cubicBezTo>
                  <a:cubicBezTo>
                    <a:pt x="1826" y="3232"/>
                    <a:pt x="1834" y="3232"/>
                    <a:pt x="1842" y="3224"/>
                  </a:cubicBezTo>
                  <a:cubicBezTo>
                    <a:pt x="1850" y="3224"/>
                    <a:pt x="1850" y="3224"/>
                    <a:pt x="1850" y="3224"/>
                  </a:cubicBezTo>
                  <a:cubicBezTo>
                    <a:pt x="1882" y="3201"/>
                    <a:pt x="1889" y="3201"/>
                    <a:pt x="1897" y="3169"/>
                  </a:cubicBezTo>
                  <a:cubicBezTo>
                    <a:pt x="1913" y="3145"/>
                    <a:pt x="1992" y="2790"/>
                    <a:pt x="1992" y="2766"/>
                  </a:cubicBezTo>
                  <a:cubicBezTo>
                    <a:pt x="1992" y="2766"/>
                    <a:pt x="1992" y="2766"/>
                    <a:pt x="2000" y="2766"/>
                  </a:cubicBezTo>
                  <a:lnTo>
                    <a:pt x="2000" y="2766"/>
                  </a:lnTo>
                  <a:lnTo>
                    <a:pt x="2000" y="2766"/>
                  </a:lnTo>
                  <a:cubicBezTo>
                    <a:pt x="2403" y="451"/>
                    <a:pt x="2403" y="451"/>
                    <a:pt x="2403" y="451"/>
                  </a:cubicBezTo>
                  <a:cubicBezTo>
                    <a:pt x="1755" y="332"/>
                    <a:pt x="1067" y="182"/>
                    <a:pt x="356" y="16"/>
                  </a:cubicBezTo>
                  <a:cubicBezTo>
                    <a:pt x="8" y="1399"/>
                    <a:pt x="8" y="1399"/>
                    <a:pt x="8" y="1399"/>
                  </a:cubicBezTo>
                  <a:lnTo>
                    <a:pt x="1597" y="3691"/>
                  </a:lnTo>
                </a:path>
              </a:pathLst>
            </a:custGeom>
            <a:grpFill/>
            <a:ln>
              <a:solidFill>
                <a:schemeClr val="bg1">
                  <a:lumMod val="95000"/>
                </a:schemeClr>
              </a:solidFill>
            </a:ln>
            <a:effectLst/>
          </p:spPr>
          <p:txBody>
            <a:bodyPr wrap="none" anchor="ctr"/>
            <a:lstStyle/>
            <a:p>
              <a:endParaRPr lang="en-US" sz="900"/>
            </a:p>
          </p:txBody>
        </p:sp>
        <p:sp>
          <p:nvSpPr>
            <p:cNvPr id="30" name="Freeform 132"/>
            <p:cNvSpPr>
              <a:spLocks noChangeArrowheads="1"/>
            </p:cNvSpPr>
            <p:nvPr/>
          </p:nvSpPr>
          <p:spPr bwMode="auto">
            <a:xfrm>
              <a:off x="8855351" y="5150178"/>
              <a:ext cx="1090074" cy="1375348"/>
            </a:xfrm>
            <a:custGeom>
              <a:avLst/>
              <a:gdLst>
                <a:gd name="T0" fmla="*/ 1826 w 2072"/>
                <a:gd name="T1" fmla="*/ 2615 h 2616"/>
                <a:gd name="T2" fmla="*/ 1826 w 2072"/>
                <a:gd name="T3" fmla="*/ 2615 h 2616"/>
                <a:gd name="T4" fmla="*/ 1826 w 2072"/>
                <a:gd name="T5" fmla="*/ 2615 h 2616"/>
                <a:gd name="T6" fmla="*/ 119 w 2072"/>
                <a:gd name="T7" fmla="*/ 2339 h 2616"/>
                <a:gd name="T8" fmla="*/ 48 w 2072"/>
                <a:gd name="T9" fmla="*/ 2331 h 2616"/>
                <a:gd name="T10" fmla="*/ 48 w 2072"/>
                <a:gd name="T11" fmla="*/ 2331 h 2616"/>
                <a:gd name="T12" fmla="*/ 32 w 2072"/>
                <a:gd name="T13" fmla="*/ 2323 h 2616"/>
                <a:gd name="T14" fmla="*/ 24 w 2072"/>
                <a:gd name="T15" fmla="*/ 2323 h 2616"/>
                <a:gd name="T16" fmla="*/ 8 w 2072"/>
                <a:gd name="T17" fmla="*/ 2323 h 2616"/>
                <a:gd name="T18" fmla="*/ 0 w 2072"/>
                <a:gd name="T19" fmla="*/ 2323 h 2616"/>
                <a:gd name="T20" fmla="*/ 403 w 2072"/>
                <a:gd name="T21" fmla="*/ 0 h 2616"/>
                <a:gd name="T22" fmla="*/ 411 w 2072"/>
                <a:gd name="T23" fmla="*/ 0 h 2616"/>
                <a:gd name="T24" fmla="*/ 1423 w 2072"/>
                <a:gd name="T25" fmla="*/ 166 h 2616"/>
                <a:gd name="T26" fmla="*/ 1423 w 2072"/>
                <a:gd name="T27" fmla="*/ 166 h 2616"/>
                <a:gd name="T28" fmla="*/ 1360 w 2072"/>
                <a:gd name="T29" fmla="*/ 624 h 2616"/>
                <a:gd name="T30" fmla="*/ 2048 w 2072"/>
                <a:gd name="T31" fmla="*/ 703 h 2616"/>
                <a:gd name="T32" fmla="*/ 2071 w 2072"/>
                <a:gd name="T33" fmla="*/ 735 h 2616"/>
                <a:gd name="T34" fmla="*/ 1826 w 2072"/>
                <a:gd name="T35" fmla="*/ 2615 h 2616"/>
                <a:gd name="T36" fmla="*/ 8 w 2072"/>
                <a:gd name="T37" fmla="*/ 2315 h 2616"/>
                <a:gd name="T38" fmla="*/ 8 w 2072"/>
                <a:gd name="T39" fmla="*/ 2315 h 2616"/>
                <a:gd name="T40" fmla="*/ 32 w 2072"/>
                <a:gd name="T41" fmla="*/ 2315 h 2616"/>
                <a:gd name="T42" fmla="*/ 32 w 2072"/>
                <a:gd name="T43" fmla="*/ 2315 h 2616"/>
                <a:gd name="T44" fmla="*/ 48 w 2072"/>
                <a:gd name="T45" fmla="*/ 2323 h 2616"/>
                <a:gd name="T46" fmla="*/ 48 w 2072"/>
                <a:gd name="T47" fmla="*/ 2323 h 2616"/>
                <a:gd name="T48" fmla="*/ 119 w 2072"/>
                <a:gd name="T49" fmla="*/ 2339 h 2616"/>
                <a:gd name="T50" fmla="*/ 1826 w 2072"/>
                <a:gd name="T51" fmla="*/ 2607 h 2616"/>
                <a:gd name="T52" fmla="*/ 2064 w 2072"/>
                <a:gd name="T53" fmla="*/ 735 h 2616"/>
                <a:gd name="T54" fmla="*/ 2048 w 2072"/>
                <a:gd name="T55" fmla="*/ 711 h 2616"/>
                <a:gd name="T56" fmla="*/ 1352 w 2072"/>
                <a:gd name="T57" fmla="*/ 632 h 2616"/>
                <a:gd name="T58" fmla="*/ 1415 w 2072"/>
                <a:gd name="T59" fmla="*/ 174 h 2616"/>
                <a:gd name="T60" fmla="*/ 411 w 2072"/>
                <a:gd name="T61" fmla="*/ 8 h 2616"/>
                <a:gd name="T62" fmla="*/ 8 w 2072"/>
                <a:gd name="T63" fmla="*/ 2315 h 2616"/>
                <a:gd name="T64" fmla="*/ 1826 w 2072"/>
                <a:gd name="T65" fmla="*/ 2615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72" h="2616">
                  <a:moveTo>
                    <a:pt x="1826" y="2615"/>
                  </a:moveTo>
                  <a:lnTo>
                    <a:pt x="1826" y="2615"/>
                  </a:lnTo>
                  <a:lnTo>
                    <a:pt x="1826" y="2615"/>
                  </a:lnTo>
                  <a:cubicBezTo>
                    <a:pt x="925" y="2497"/>
                    <a:pt x="356" y="2386"/>
                    <a:pt x="119" y="2339"/>
                  </a:cubicBezTo>
                  <a:cubicBezTo>
                    <a:pt x="87" y="2339"/>
                    <a:pt x="63" y="2331"/>
                    <a:pt x="48" y="2331"/>
                  </a:cubicBezTo>
                  <a:lnTo>
                    <a:pt x="48" y="2331"/>
                  </a:lnTo>
                  <a:cubicBezTo>
                    <a:pt x="40" y="2331"/>
                    <a:pt x="40" y="2323"/>
                    <a:pt x="32" y="2323"/>
                  </a:cubicBezTo>
                  <a:cubicBezTo>
                    <a:pt x="24" y="2323"/>
                    <a:pt x="24" y="2323"/>
                    <a:pt x="24" y="2323"/>
                  </a:cubicBezTo>
                  <a:cubicBezTo>
                    <a:pt x="16" y="2323"/>
                    <a:pt x="8" y="2323"/>
                    <a:pt x="8" y="2323"/>
                  </a:cubicBezTo>
                  <a:cubicBezTo>
                    <a:pt x="0" y="2323"/>
                    <a:pt x="0" y="2323"/>
                    <a:pt x="0" y="2323"/>
                  </a:cubicBezTo>
                  <a:cubicBezTo>
                    <a:pt x="403" y="0"/>
                    <a:pt x="403" y="0"/>
                    <a:pt x="403" y="0"/>
                  </a:cubicBezTo>
                  <a:cubicBezTo>
                    <a:pt x="411" y="0"/>
                    <a:pt x="411" y="0"/>
                    <a:pt x="411" y="0"/>
                  </a:cubicBezTo>
                  <a:cubicBezTo>
                    <a:pt x="759" y="63"/>
                    <a:pt x="1099" y="118"/>
                    <a:pt x="1423" y="166"/>
                  </a:cubicBezTo>
                  <a:lnTo>
                    <a:pt x="1423" y="166"/>
                  </a:lnTo>
                  <a:cubicBezTo>
                    <a:pt x="1360" y="624"/>
                    <a:pt x="1360" y="624"/>
                    <a:pt x="1360" y="624"/>
                  </a:cubicBezTo>
                  <a:cubicBezTo>
                    <a:pt x="2048" y="703"/>
                    <a:pt x="2048" y="703"/>
                    <a:pt x="2048" y="703"/>
                  </a:cubicBezTo>
                  <a:cubicBezTo>
                    <a:pt x="2071" y="735"/>
                    <a:pt x="2071" y="735"/>
                    <a:pt x="2071" y="735"/>
                  </a:cubicBezTo>
                  <a:cubicBezTo>
                    <a:pt x="1826" y="2615"/>
                    <a:pt x="1826" y="2615"/>
                    <a:pt x="1826" y="2615"/>
                  </a:cubicBezTo>
                  <a:lnTo>
                    <a:pt x="8" y="2315"/>
                  </a:lnTo>
                  <a:lnTo>
                    <a:pt x="8" y="2315"/>
                  </a:lnTo>
                  <a:cubicBezTo>
                    <a:pt x="16" y="2315"/>
                    <a:pt x="24" y="2315"/>
                    <a:pt x="32" y="2315"/>
                  </a:cubicBezTo>
                  <a:lnTo>
                    <a:pt x="32" y="2315"/>
                  </a:lnTo>
                  <a:cubicBezTo>
                    <a:pt x="40" y="2323"/>
                    <a:pt x="40" y="2323"/>
                    <a:pt x="48" y="2323"/>
                  </a:cubicBezTo>
                  <a:lnTo>
                    <a:pt x="48" y="2323"/>
                  </a:lnTo>
                  <a:cubicBezTo>
                    <a:pt x="63" y="2323"/>
                    <a:pt x="87" y="2331"/>
                    <a:pt x="119" y="2339"/>
                  </a:cubicBezTo>
                  <a:cubicBezTo>
                    <a:pt x="356" y="2386"/>
                    <a:pt x="925" y="2497"/>
                    <a:pt x="1826" y="2607"/>
                  </a:cubicBezTo>
                  <a:cubicBezTo>
                    <a:pt x="2064" y="735"/>
                    <a:pt x="2064" y="735"/>
                    <a:pt x="2064" y="735"/>
                  </a:cubicBezTo>
                  <a:cubicBezTo>
                    <a:pt x="2048" y="711"/>
                    <a:pt x="2048" y="711"/>
                    <a:pt x="2048" y="711"/>
                  </a:cubicBezTo>
                  <a:cubicBezTo>
                    <a:pt x="1352" y="632"/>
                    <a:pt x="1352" y="632"/>
                    <a:pt x="1352" y="632"/>
                  </a:cubicBezTo>
                  <a:cubicBezTo>
                    <a:pt x="1415" y="174"/>
                    <a:pt x="1415" y="174"/>
                    <a:pt x="1415" y="174"/>
                  </a:cubicBezTo>
                  <a:cubicBezTo>
                    <a:pt x="1099" y="126"/>
                    <a:pt x="759" y="71"/>
                    <a:pt x="411" y="8"/>
                  </a:cubicBezTo>
                  <a:cubicBezTo>
                    <a:pt x="8" y="2315"/>
                    <a:pt x="8" y="2315"/>
                    <a:pt x="8" y="2315"/>
                  </a:cubicBezTo>
                  <a:lnTo>
                    <a:pt x="1826" y="2615"/>
                  </a:lnTo>
                </a:path>
              </a:pathLst>
            </a:custGeom>
            <a:grpFill/>
            <a:ln>
              <a:solidFill>
                <a:schemeClr val="bg1">
                  <a:lumMod val="95000"/>
                </a:schemeClr>
              </a:solidFill>
            </a:ln>
            <a:effectLst/>
          </p:spPr>
          <p:txBody>
            <a:bodyPr wrap="none" anchor="ctr"/>
            <a:lstStyle/>
            <a:p>
              <a:endParaRPr lang="en-US" sz="900"/>
            </a:p>
          </p:txBody>
        </p:sp>
        <p:sp>
          <p:nvSpPr>
            <p:cNvPr id="31" name="Freeform 138"/>
            <p:cNvSpPr>
              <a:spLocks noChangeArrowheads="1"/>
            </p:cNvSpPr>
            <p:nvPr/>
          </p:nvSpPr>
          <p:spPr bwMode="auto">
            <a:xfrm>
              <a:off x="8878544" y="6374771"/>
              <a:ext cx="934681" cy="146116"/>
            </a:xfrm>
            <a:custGeom>
              <a:avLst/>
              <a:gdLst>
                <a:gd name="T0" fmla="*/ 0 w 1779"/>
                <a:gd name="T1" fmla="*/ 0 h 277"/>
                <a:gd name="T2" fmla="*/ 0 w 1779"/>
                <a:gd name="T3" fmla="*/ 0 h 277"/>
                <a:gd name="T4" fmla="*/ 1778 w 1779"/>
                <a:gd name="T5" fmla="*/ 276 h 277"/>
                <a:gd name="T6" fmla="*/ 1778 w 1779"/>
                <a:gd name="T7" fmla="*/ 276 h 277"/>
                <a:gd name="T8" fmla="*/ 0 w 1779"/>
                <a:gd name="T9" fmla="*/ 0 h 277"/>
              </a:gdLst>
              <a:ahLst/>
              <a:cxnLst>
                <a:cxn ang="0">
                  <a:pos x="T0" y="T1"/>
                </a:cxn>
                <a:cxn ang="0">
                  <a:pos x="T2" y="T3"/>
                </a:cxn>
                <a:cxn ang="0">
                  <a:pos x="T4" y="T5"/>
                </a:cxn>
                <a:cxn ang="0">
                  <a:pos x="T6" y="T7"/>
                </a:cxn>
                <a:cxn ang="0">
                  <a:pos x="T8" y="T9"/>
                </a:cxn>
              </a:cxnLst>
              <a:rect l="0" t="0" r="r" b="b"/>
              <a:pathLst>
                <a:path w="1779" h="277">
                  <a:moveTo>
                    <a:pt x="0" y="0"/>
                  </a:moveTo>
                  <a:lnTo>
                    <a:pt x="0" y="0"/>
                  </a:lnTo>
                  <a:cubicBezTo>
                    <a:pt x="166" y="31"/>
                    <a:pt x="774" y="158"/>
                    <a:pt x="1778" y="276"/>
                  </a:cubicBezTo>
                  <a:lnTo>
                    <a:pt x="1778" y="276"/>
                  </a:lnTo>
                  <a:cubicBezTo>
                    <a:pt x="774" y="158"/>
                    <a:pt x="166" y="31"/>
                    <a:pt x="0" y="0"/>
                  </a:cubicBezTo>
                </a:path>
              </a:pathLst>
            </a:custGeom>
            <a:grpFill/>
            <a:ln>
              <a:solidFill>
                <a:schemeClr val="bg1">
                  <a:lumMod val="95000"/>
                </a:schemeClr>
              </a:solidFill>
            </a:ln>
            <a:effectLst/>
          </p:spPr>
          <p:txBody>
            <a:bodyPr wrap="none" anchor="ctr"/>
            <a:lstStyle/>
            <a:p>
              <a:endParaRPr lang="en-US" sz="900"/>
            </a:p>
          </p:txBody>
        </p:sp>
        <p:sp>
          <p:nvSpPr>
            <p:cNvPr id="32" name="Freeform 219"/>
            <p:cNvSpPr>
              <a:spLocks noChangeArrowheads="1"/>
            </p:cNvSpPr>
            <p:nvPr/>
          </p:nvSpPr>
          <p:spPr bwMode="auto">
            <a:xfrm>
              <a:off x="7245753" y="3719166"/>
              <a:ext cx="1572489" cy="1322004"/>
            </a:xfrm>
            <a:custGeom>
              <a:avLst/>
              <a:gdLst>
                <a:gd name="T0" fmla="*/ 2450 w 2989"/>
                <a:gd name="T1" fmla="*/ 601 h 2515"/>
                <a:gd name="T2" fmla="*/ 2450 w 2989"/>
                <a:gd name="T3" fmla="*/ 601 h 2515"/>
                <a:gd name="T4" fmla="*/ 2213 w 2989"/>
                <a:gd name="T5" fmla="*/ 538 h 2515"/>
                <a:gd name="T6" fmla="*/ 2102 w 2989"/>
                <a:gd name="T7" fmla="*/ 546 h 2515"/>
                <a:gd name="T8" fmla="*/ 2015 w 2989"/>
                <a:gd name="T9" fmla="*/ 538 h 2515"/>
                <a:gd name="T10" fmla="*/ 1968 w 2989"/>
                <a:gd name="T11" fmla="*/ 554 h 2515"/>
                <a:gd name="T12" fmla="*/ 1818 w 2989"/>
                <a:gd name="T13" fmla="*/ 554 h 2515"/>
                <a:gd name="T14" fmla="*/ 1707 w 2989"/>
                <a:gd name="T15" fmla="*/ 554 h 2515"/>
                <a:gd name="T16" fmla="*/ 1620 w 2989"/>
                <a:gd name="T17" fmla="*/ 522 h 2515"/>
                <a:gd name="T18" fmla="*/ 1533 w 2989"/>
                <a:gd name="T19" fmla="*/ 538 h 2515"/>
                <a:gd name="T20" fmla="*/ 1454 w 2989"/>
                <a:gd name="T21" fmla="*/ 522 h 2515"/>
                <a:gd name="T22" fmla="*/ 1415 w 2989"/>
                <a:gd name="T23" fmla="*/ 490 h 2515"/>
                <a:gd name="T24" fmla="*/ 1360 w 2989"/>
                <a:gd name="T25" fmla="*/ 459 h 2515"/>
                <a:gd name="T26" fmla="*/ 1272 w 2989"/>
                <a:gd name="T27" fmla="*/ 451 h 2515"/>
                <a:gd name="T28" fmla="*/ 1185 w 2989"/>
                <a:gd name="T29" fmla="*/ 467 h 2515"/>
                <a:gd name="T30" fmla="*/ 1059 w 2989"/>
                <a:gd name="T31" fmla="*/ 451 h 2515"/>
                <a:gd name="T32" fmla="*/ 956 w 2989"/>
                <a:gd name="T33" fmla="*/ 419 h 2515"/>
                <a:gd name="T34" fmla="*/ 948 w 2989"/>
                <a:gd name="T35" fmla="*/ 348 h 2515"/>
                <a:gd name="T36" fmla="*/ 964 w 2989"/>
                <a:gd name="T37" fmla="*/ 190 h 2515"/>
                <a:gd name="T38" fmla="*/ 877 w 2989"/>
                <a:gd name="T39" fmla="*/ 103 h 2515"/>
                <a:gd name="T40" fmla="*/ 822 w 2989"/>
                <a:gd name="T41" fmla="*/ 87 h 2515"/>
                <a:gd name="T42" fmla="*/ 790 w 2989"/>
                <a:gd name="T43" fmla="*/ 40 h 2515"/>
                <a:gd name="T44" fmla="*/ 687 w 2989"/>
                <a:gd name="T45" fmla="*/ 0 h 2515"/>
                <a:gd name="T46" fmla="*/ 687 w 2989"/>
                <a:gd name="T47" fmla="*/ 16 h 2515"/>
                <a:gd name="T48" fmla="*/ 672 w 2989"/>
                <a:gd name="T49" fmla="*/ 79 h 2515"/>
                <a:gd name="T50" fmla="*/ 664 w 2989"/>
                <a:gd name="T51" fmla="*/ 95 h 2515"/>
                <a:gd name="T52" fmla="*/ 608 w 2989"/>
                <a:gd name="T53" fmla="*/ 277 h 2515"/>
                <a:gd name="T54" fmla="*/ 545 w 2989"/>
                <a:gd name="T55" fmla="*/ 459 h 2515"/>
                <a:gd name="T56" fmla="*/ 474 w 2989"/>
                <a:gd name="T57" fmla="*/ 593 h 2515"/>
                <a:gd name="T58" fmla="*/ 442 w 2989"/>
                <a:gd name="T59" fmla="*/ 672 h 2515"/>
                <a:gd name="T60" fmla="*/ 434 w 2989"/>
                <a:gd name="T61" fmla="*/ 743 h 2515"/>
                <a:gd name="T62" fmla="*/ 419 w 2989"/>
                <a:gd name="T63" fmla="*/ 799 h 2515"/>
                <a:gd name="T64" fmla="*/ 387 w 2989"/>
                <a:gd name="T65" fmla="*/ 862 h 2515"/>
                <a:gd name="T66" fmla="*/ 300 w 2989"/>
                <a:gd name="T67" fmla="*/ 1067 h 2515"/>
                <a:gd name="T68" fmla="*/ 253 w 2989"/>
                <a:gd name="T69" fmla="*/ 1178 h 2515"/>
                <a:gd name="T70" fmla="*/ 197 w 2989"/>
                <a:gd name="T71" fmla="*/ 1249 h 2515"/>
                <a:gd name="T72" fmla="*/ 166 w 2989"/>
                <a:gd name="T73" fmla="*/ 1289 h 2515"/>
                <a:gd name="T74" fmla="*/ 102 w 2989"/>
                <a:gd name="T75" fmla="*/ 1392 h 2515"/>
                <a:gd name="T76" fmla="*/ 55 w 2989"/>
                <a:gd name="T77" fmla="*/ 1494 h 2515"/>
                <a:gd name="T78" fmla="*/ 63 w 2989"/>
                <a:gd name="T79" fmla="*/ 1605 h 2515"/>
                <a:gd name="T80" fmla="*/ 15 w 2989"/>
                <a:gd name="T81" fmla="*/ 1692 h 2515"/>
                <a:gd name="T82" fmla="*/ 39 w 2989"/>
                <a:gd name="T83" fmla="*/ 1890 h 2515"/>
                <a:gd name="T84" fmla="*/ 55 w 2989"/>
                <a:gd name="T85" fmla="*/ 1913 h 2515"/>
                <a:gd name="T86" fmla="*/ 2442 w 2989"/>
                <a:gd name="T87" fmla="*/ 2514 h 2515"/>
                <a:gd name="T88" fmla="*/ 2616 w 2989"/>
                <a:gd name="T89" fmla="*/ 1724 h 2515"/>
                <a:gd name="T90" fmla="*/ 2672 w 2989"/>
                <a:gd name="T91" fmla="*/ 1629 h 2515"/>
                <a:gd name="T92" fmla="*/ 2680 w 2989"/>
                <a:gd name="T93" fmla="*/ 1566 h 2515"/>
                <a:gd name="T94" fmla="*/ 2672 w 2989"/>
                <a:gd name="T95" fmla="*/ 1479 h 2515"/>
                <a:gd name="T96" fmla="*/ 2616 w 2989"/>
                <a:gd name="T97" fmla="*/ 1376 h 2515"/>
                <a:gd name="T98" fmla="*/ 2798 w 2989"/>
                <a:gd name="T99" fmla="*/ 1178 h 2515"/>
                <a:gd name="T100" fmla="*/ 2814 w 2989"/>
                <a:gd name="T101" fmla="*/ 1115 h 2515"/>
                <a:gd name="T102" fmla="*/ 2885 w 2989"/>
                <a:gd name="T103" fmla="*/ 1036 h 2515"/>
                <a:gd name="T104" fmla="*/ 2972 w 2989"/>
                <a:gd name="T105" fmla="*/ 917 h 2515"/>
                <a:gd name="T106" fmla="*/ 2925 w 2989"/>
                <a:gd name="T107" fmla="*/ 783 h 2515"/>
                <a:gd name="T108" fmla="*/ 2877 w 2989"/>
                <a:gd name="T109" fmla="*/ 680 h 2515"/>
                <a:gd name="T110" fmla="*/ 2869 w 2989"/>
                <a:gd name="T111" fmla="*/ 672 h 2515"/>
                <a:gd name="T112" fmla="*/ 2450 w 2989"/>
                <a:gd name="T113" fmla="*/ 601 h 2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9" h="2515">
                  <a:moveTo>
                    <a:pt x="2450" y="601"/>
                  </a:moveTo>
                  <a:lnTo>
                    <a:pt x="2450" y="601"/>
                  </a:lnTo>
                  <a:cubicBezTo>
                    <a:pt x="2395" y="570"/>
                    <a:pt x="2237" y="530"/>
                    <a:pt x="2213" y="538"/>
                  </a:cubicBezTo>
                  <a:cubicBezTo>
                    <a:pt x="2190" y="554"/>
                    <a:pt x="2126" y="554"/>
                    <a:pt x="2102" y="546"/>
                  </a:cubicBezTo>
                  <a:cubicBezTo>
                    <a:pt x="2071" y="538"/>
                    <a:pt x="2031" y="522"/>
                    <a:pt x="2015" y="538"/>
                  </a:cubicBezTo>
                  <a:cubicBezTo>
                    <a:pt x="2000" y="546"/>
                    <a:pt x="2047" y="554"/>
                    <a:pt x="1968" y="554"/>
                  </a:cubicBezTo>
                  <a:cubicBezTo>
                    <a:pt x="1897" y="546"/>
                    <a:pt x="1834" y="546"/>
                    <a:pt x="1818" y="554"/>
                  </a:cubicBezTo>
                  <a:cubicBezTo>
                    <a:pt x="1802" y="570"/>
                    <a:pt x="1731" y="585"/>
                    <a:pt x="1707" y="554"/>
                  </a:cubicBezTo>
                  <a:cubicBezTo>
                    <a:pt x="1684" y="522"/>
                    <a:pt x="1636" y="506"/>
                    <a:pt x="1620" y="522"/>
                  </a:cubicBezTo>
                  <a:cubicBezTo>
                    <a:pt x="1604" y="530"/>
                    <a:pt x="1549" y="554"/>
                    <a:pt x="1533" y="538"/>
                  </a:cubicBezTo>
                  <a:cubicBezTo>
                    <a:pt x="1518" y="514"/>
                    <a:pt x="1470" y="522"/>
                    <a:pt x="1454" y="522"/>
                  </a:cubicBezTo>
                  <a:cubicBezTo>
                    <a:pt x="1438" y="522"/>
                    <a:pt x="1438" y="514"/>
                    <a:pt x="1415" y="490"/>
                  </a:cubicBezTo>
                  <a:cubicBezTo>
                    <a:pt x="1399" y="467"/>
                    <a:pt x="1391" y="459"/>
                    <a:pt x="1360" y="459"/>
                  </a:cubicBezTo>
                  <a:cubicBezTo>
                    <a:pt x="1320" y="459"/>
                    <a:pt x="1312" y="467"/>
                    <a:pt x="1272" y="451"/>
                  </a:cubicBezTo>
                  <a:cubicBezTo>
                    <a:pt x="1233" y="427"/>
                    <a:pt x="1225" y="451"/>
                    <a:pt x="1185" y="467"/>
                  </a:cubicBezTo>
                  <a:cubicBezTo>
                    <a:pt x="1146" y="475"/>
                    <a:pt x="1083" y="475"/>
                    <a:pt x="1059" y="451"/>
                  </a:cubicBezTo>
                  <a:cubicBezTo>
                    <a:pt x="1027" y="427"/>
                    <a:pt x="972" y="427"/>
                    <a:pt x="956" y="419"/>
                  </a:cubicBezTo>
                  <a:cubicBezTo>
                    <a:pt x="940" y="403"/>
                    <a:pt x="940" y="380"/>
                    <a:pt x="948" y="348"/>
                  </a:cubicBezTo>
                  <a:cubicBezTo>
                    <a:pt x="948" y="309"/>
                    <a:pt x="996" y="230"/>
                    <a:pt x="964" y="190"/>
                  </a:cubicBezTo>
                  <a:cubicBezTo>
                    <a:pt x="940" y="143"/>
                    <a:pt x="917" y="103"/>
                    <a:pt x="877" y="103"/>
                  </a:cubicBezTo>
                  <a:cubicBezTo>
                    <a:pt x="845" y="103"/>
                    <a:pt x="830" y="127"/>
                    <a:pt x="822" y="87"/>
                  </a:cubicBezTo>
                  <a:cubicBezTo>
                    <a:pt x="814" y="48"/>
                    <a:pt x="822" y="48"/>
                    <a:pt x="790" y="40"/>
                  </a:cubicBezTo>
                  <a:cubicBezTo>
                    <a:pt x="774" y="32"/>
                    <a:pt x="727" y="16"/>
                    <a:pt x="687" y="0"/>
                  </a:cubicBezTo>
                  <a:cubicBezTo>
                    <a:pt x="687" y="0"/>
                    <a:pt x="687" y="8"/>
                    <a:pt x="687" y="16"/>
                  </a:cubicBezTo>
                  <a:cubicBezTo>
                    <a:pt x="680" y="40"/>
                    <a:pt x="680" y="56"/>
                    <a:pt x="672" y="79"/>
                  </a:cubicBezTo>
                  <a:cubicBezTo>
                    <a:pt x="664" y="95"/>
                    <a:pt x="672" y="64"/>
                    <a:pt x="664" y="95"/>
                  </a:cubicBezTo>
                  <a:cubicBezTo>
                    <a:pt x="656" y="135"/>
                    <a:pt x="616" y="222"/>
                    <a:pt x="608" y="277"/>
                  </a:cubicBezTo>
                  <a:cubicBezTo>
                    <a:pt x="592" y="325"/>
                    <a:pt x="569" y="403"/>
                    <a:pt x="545" y="459"/>
                  </a:cubicBezTo>
                  <a:cubicBezTo>
                    <a:pt x="521" y="514"/>
                    <a:pt x="490" y="538"/>
                    <a:pt x="474" y="593"/>
                  </a:cubicBezTo>
                  <a:cubicBezTo>
                    <a:pt x="458" y="649"/>
                    <a:pt x="442" y="633"/>
                    <a:pt x="442" y="672"/>
                  </a:cubicBezTo>
                  <a:cubicBezTo>
                    <a:pt x="442" y="712"/>
                    <a:pt x="450" y="720"/>
                    <a:pt x="434" y="743"/>
                  </a:cubicBezTo>
                  <a:cubicBezTo>
                    <a:pt x="419" y="759"/>
                    <a:pt x="427" y="767"/>
                    <a:pt x="419" y="799"/>
                  </a:cubicBezTo>
                  <a:cubicBezTo>
                    <a:pt x="411" y="838"/>
                    <a:pt x="403" y="799"/>
                    <a:pt x="387" y="862"/>
                  </a:cubicBezTo>
                  <a:cubicBezTo>
                    <a:pt x="363" y="925"/>
                    <a:pt x="308" y="1028"/>
                    <a:pt x="300" y="1067"/>
                  </a:cubicBezTo>
                  <a:cubicBezTo>
                    <a:pt x="284" y="1099"/>
                    <a:pt x="276" y="1162"/>
                    <a:pt x="253" y="1178"/>
                  </a:cubicBezTo>
                  <a:cubicBezTo>
                    <a:pt x="229" y="1202"/>
                    <a:pt x="205" y="1218"/>
                    <a:pt x="197" y="1249"/>
                  </a:cubicBezTo>
                  <a:cubicBezTo>
                    <a:pt x="189" y="1289"/>
                    <a:pt x="158" y="1242"/>
                    <a:pt x="166" y="1289"/>
                  </a:cubicBezTo>
                  <a:cubicBezTo>
                    <a:pt x="174" y="1329"/>
                    <a:pt x="110" y="1376"/>
                    <a:pt x="102" y="1392"/>
                  </a:cubicBezTo>
                  <a:cubicBezTo>
                    <a:pt x="87" y="1407"/>
                    <a:pt x="63" y="1439"/>
                    <a:pt x="55" y="1494"/>
                  </a:cubicBezTo>
                  <a:cubicBezTo>
                    <a:pt x="47" y="1550"/>
                    <a:pt x="87" y="1581"/>
                    <a:pt x="63" y="1605"/>
                  </a:cubicBezTo>
                  <a:cubicBezTo>
                    <a:pt x="39" y="1629"/>
                    <a:pt x="15" y="1660"/>
                    <a:pt x="15" y="1692"/>
                  </a:cubicBezTo>
                  <a:cubicBezTo>
                    <a:pt x="15" y="1716"/>
                    <a:pt x="0" y="1826"/>
                    <a:pt x="39" y="1890"/>
                  </a:cubicBezTo>
                  <a:cubicBezTo>
                    <a:pt x="47" y="1898"/>
                    <a:pt x="47" y="1906"/>
                    <a:pt x="55" y="1913"/>
                  </a:cubicBezTo>
                  <a:cubicBezTo>
                    <a:pt x="371" y="2008"/>
                    <a:pt x="1296" y="2261"/>
                    <a:pt x="2442" y="2514"/>
                  </a:cubicBezTo>
                  <a:cubicBezTo>
                    <a:pt x="2474" y="2364"/>
                    <a:pt x="2616" y="1747"/>
                    <a:pt x="2616" y="1724"/>
                  </a:cubicBezTo>
                  <a:cubicBezTo>
                    <a:pt x="2616" y="1700"/>
                    <a:pt x="2656" y="1653"/>
                    <a:pt x="2672" y="1629"/>
                  </a:cubicBezTo>
                  <a:cubicBezTo>
                    <a:pt x="2680" y="1605"/>
                    <a:pt x="2664" y="1589"/>
                    <a:pt x="2680" y="1566"/>
                  </a:cubicBezTo>
                  <a:cubicBezTo>
                    <a:pt x="2688" y="1550"/>
                    <a:pt x="2727" y="1502"/>
                    <a:pt x="2672" y="1479"/>
                  </a:cubicBezTo>
                  <a:cubicBezTo>
                    <a:pt x="2616" y="1447"/>
                    <a:pt x="2624" y="1415"/>
                    <a:pt x="2616" y="1376"/>
                  </a:cubicBezTo>
                  <a:cubicBezTo>
                    <a:pt x="2616" y="1329"/>
                    <a:pt x="2798" y="1194"/>
                    <a:pt x="2798" y="1178"/>
                  </a:cubicBezTo>
                  <a:cubicBezTo>
                    <a:pt x="2798" y="1162"/>
                    <a:pt x="2790" y="1139"/>
                    <a:pt x="2814" y="1115"/>
                  </a:cubicBezTo>
                  <a:cubicBezTo>
                    <a:pt x="2838" y="1091"/>
                    <a:pt x="2885" y="1060"/>
                    <a:pt x="2885" y="1036"/>
                  </a:cubicBezTo>
                  <a:cubicBezTo>
                    <a:pt x="2885" y="1020"/>
                    <a:pt x="2948" y="933"/>
                    <a:pt x="2972" y="917"/>
                  </a:cubicBezTo>
                  <a:cubicBezTo>
                    <a:pt x="2988" y="902"/>
                    <a:pt x="2972" y="815"/>
                    <a:pt x="2925" y="783"/>
                  </a:cubicBezTo>
                  <a:cubicBezTo>
                    <a:pt x="2901" y="759"/>
                    <a:pt x="2885" y="712"/>
                    <a:pt x="2877" y="680"/>
                  </a:cubicBezTo>
                  <a:cubicBezTo>
                    <a:pt x="2869" y="672"/>
                    <a:pt x="2869" y="672"/>
                    <a:pt x="2869" y="672"/>
                  </a:cubicBezTo>
                  <a:cubicBezTo>
                    <a:pt x="2869" y="672"/>
                    <a:pt x="2506" y="625"/>
                    <a:pt x="2450" y="601"/>
                  </a:cubicBezTo>
                </a:path>
              </a:pathLst>
            </a:custGeom>
            <a:grpFill/>
            <a:ln>
              <a:solidFill>
                <a:schemeClr val="bg1">
                  <a:lumMod val="95000"/>
                </a:schemeClr>
              </a:solidFill>
            </a:ln>
            <a:effectLst/>
          </p:spPr>
          <p:txBody>
            <a:bodyPr wrap="none" anchor="ctr"/>
            <a:lstStyle/>
            <a:p>
              <a:endParaRPr lang="en-US" sz="900"/>
            </a:p>
          </p:txBody>
        </p:sp>
        <p:sp>
          <p:nvSpPr>
            <p:cNvPr id="33" name="Freeform 220"/>
            <p:cNvSpPr>
              <a:spLocks noChangeArrowheads="1"/>
            </p:cNvSpPr>
            <p:nvPr/>
          </p:nvSpPr>
          <p:spPr bwMode="auto">
            <a:xfrm>
              <a:off x="7245753" y="3714527"/>
              <a:ext cx="1567851" cy="1326643"/>
            </a:xfrm>
            <a:custGeom>
              <a:avLst/>
              <a:gdLst>
                <a:gd name="T0" fmla="*/ 47 w 2981"/>
                <a:gd name="T1" fmla="*/ 1929 h 2523"/>
                <a:gd name="T2" fmla="*/ 15 w 2981"/>
                <a:gd name="T3" fmla="*/ 1724 h 2523"/>
                <a:gd name="T4" fmla="*/ 47 w 2981"/>
                <a:gd name="T5" fmla="*/ 1502 h 2523"/>
                <a:gd name="T6" fmla="*/ 166 w 2981"/>
                <a:gd name="T7" fmla="*/ 1273 h 2523"/>
                <a:gd name="T8" fmla="*/ 253 w 2981"/>
                <a:gd name="T9" fmla="*/ 1186 h 2523"/>
                <a:gd name="T10" fmla="*/ 379 w 2981"/>
                <a:gd name="T11" fmla="*/ 870 h 2523"/>
                <a:gd name="T12" fmla="*/ 434 w 2981"/>
                <a:gd name="T13" fmla="*/ 744 h 2523"/>
                <a:gd name="T14" fmla="*/ 474 w 2981"/>
                <a:gd name="T15" fmla="*/ 601 h 2523"/>
                <a:gd name="T16" fmla="*/ 632 w 2981"/>
                <a:gd name="T17" fmla="*/ 182 h 2523"/>
                <a:gd name="T18" fmla="*/ 672 w 2981"/>
                <a:gd name="T19" fmla="*/ 87 h 2523"/>
                <a:gd name="T20" fmla="*/ 687 w 2981"/>
                <a:gd name="T21" fmla="*/ 0 h 2523"/>
                <a:gd name="T22" fmla="*/ 830 w 2981"/>
                <a:gd name="T23" fmla="*/ 95 h 2523"/>
                <a:gd name="T24" fmla="*/ 956 w 2981"/>
                <a:gd name="T25" fmla="*/ 182 h 2523"/>
                <a:gd name="T26" fmla="*/ 956 w 2981"/>
                <a:gd name="T27" fmla="*/ 420 h 2523"/>
                <a:gd name="T28" fmla="*/ 1185 w 2981"/>
                <a:gd name="T29" fmla="*/ 467 h 2523"/>
                <a:gd name="T30" fmla="*/ 1312 w 2981"/>
                <a:gd name="T31" fmla="*/ 467 h 2523"/>
                <a:gd name="T32" fmla="*/ 1423 w 2981"/>
                <a:gd name="T33" fmla="*/ 498 h 2523"/>
                <a:gd name="T34" fmla="*/ 1533 w 2981"/>
                <a:gd name="T35" fmla="*/ 538 h 2523"/>
                <a:gd name="T36" fmla="*/ 1715 w 2981"/>
                <a:gd name="T37" fmla="*/ 562 h 2523"/>
                <a:gd name="T38" fmla="*/ 1968 w 2981"/>
                <a:gd name="T39" fmla="*/ 554 h 2523"/>
                <a:gd name="T40" fmla="*/ 2039 w 2981"/>
                <a:gd name="T41" fmla="*/ 530 h 2523"/>
                <a:gd name="T42" fmla="*/ 2221 w 2981"/>
                <a:gd name="T43" fmla="*/ 546 h 2523"/>
                <a:gd name="T44" fmla="*/ 2885 w 2981"/>
                <a:gd name="T45" fmla="*/ 688 h 2523"/>
                <a:gd name="T46" fmla="*/ 2893 w 2981"/>
                <a:gd name="T47" fmla="*/ 1044 h 2523"/>
                <a:gd name="T48" fmla="*/ 2798 w 2981"/>
                <a:gd name="T49" fmla="*/ 1186 h 2523"/>
                <a:gd name="T50" fmla="*/ 2672 w 2981"/>
                <a:gd name="T51" fmla="*/ 1479 h 2523"/>
                <a:gd name="T52" fmla="*/ 2680 w 2981"/>
                <a:gd name="T53" fmla="*/ 1605 h 2523"/>
                <a:gd name="T54" fmla="*/ 2442 w 2981"/>
                <a:gd name="T55" fmla="*/ 2522 h 2523"/>
                <a:gd name="T56" fmla="*/ 2616 w 2981"/>
                <a:gd name="T57" fmla="*/ 1732 h 2523"/>
                <a:gd name="T58" fmla="*/ 2672 w 2981"/>
                <a:gd name="T59" fmla="*/ 1574 h 2523"/>
                <a:gd name="T60" fmla="*/ 2616 w 2981"/>
                <a:gd name="T61" fmla="*/ 1408 h 2523"/>
                <a:gd name="T62" fmla="*/ 2798 w 2981"/>
                <a:gd name="T63" fmla="*/ 1186 h 2523"/>
                <a:gd name="T64" fmla="*/ 2964 w 2981"/>
                <a:gd name="T65" fmla="*/ 925 h 2523"/>
                <a:gd name="T66" fmla="*/ 2869 w 2981"/>
                <a:gd name="T67" fmla="*/ 688 h 2523"/>
                <a:gd name="T68" fmla="*/ 2150 w 2981"/>
                <a:gd name="T69" fmla="*/ 562 h 2523"/>
                <a:gd name="T70" fmla="*/ 2015 w 2981"/>
                <a:gd name="T71" fmla="*/ 554 h 2523"/>
                <a:gd name="T72" fmla="*/ 1881 w 2981"/>
                <a:gd name="T73" fmla="*/ 562 h 2523"/>
                <a:gd name="T74" fmla="*/ 1636 w 2981"/>
                <a:gd name="T75" fmla="*/ 530 h 2523"/>
                <a:gd name="T76" fmla="*/ 1486 w 2981"/>
                <a:gd name="T77" fmla="*/ 530 h 2523"/>
                <a:gd name="T78" fmla="*/ 1407 w 2981"/>
                <a:gd name="T79" fmla="*/ 498 h 2523"/>
                <a:gd name="T80" fmla="*/ 1272 w 2981"/>
                <a:gd name="T81" fmla="*/ 459 h 2523"/>
                <a:gd name="T82" fmla="*/ 1130 w 2981"/>
                <a:gd name="T83" fmla="*/ 483 h 2523"/>
                <a:gd name="T84" fmla="*/ 940 w 2981"/>
                <a:gd name="T85" fmla="*/ 356 h 2523"/>
                <a:gd name="T86" fmla="*/ 877 w 2981"/>
                <a:gd name="T87" fmla="*/ 111 h 2523"/>
                <a:gd name="T88" fmla="*/ 814 w 2981"/>
                <a:gd name="T89" fmla="*/ 87 h 2523"/>
                <a:gd name="T90" fmla="*/ 680 w 2981"/>
                <a:gd name="T91" fmla="*/ 56 h 2523"/>
                <a:gd name="T92" fmla="*/ 640 w 2981"/>
                <a:gd name="T93" fmla="*/ 190 h 2523"/>
                <a:gd name="T94" fmla="*/ 482 w 2981"/>
                <a:gd name="T95" fmla="*/ 601 h 2523"/>
                <a:gd name="T96" fmla="*/ 434 w 2981"/>
                <a:gd name="T97" fmla="*/ 751 h 2523"/>
                <a:gd name="T98" fmla="*/ 387 w 2981"/>
                <a:gd name="T99" fmla="*/ 870 h 2523"/>
                <a:gd name="T100" fmla="*/ 253 w 2981"/>
                <a:gd name="T101" fmla="*/ 1186 h 2523"/>
                <a:gd name="T102" fmla="*/ 174 w 2981"/>
                <a:gd name="T103" fmla="*/ 1281 h 2523"/>
                <a:gd name="T104" fmla="*/ 102 w 2981"/>
                <a:gd name="T105" fmla="*/ 1400 h 2523"/>
                <a:gd name="T106" fmla="*/ 23 w 2981"/>
                <a:gd name="T107" fmla="*/ 1700 h 2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1" h="2523">
                  <a:moveTo>
                    <a:pt x="2442" y="2522"/>
                  </a:moveTo>
                  <a:lnTo>
                    <a:pt x="2442" y="2522"/>
                  </a:lnTo>
                  <a:lnTo>
                    <a:pt x="2442" y="2522"/>
                  </a:lnTo>
                  <a:cubicBezTo>
                    <a:pt x="1304" y="2277"/>
                    <a:pt x="387" y="2024"/>
                    <a:pt x="47" y="1929"/>
                  </a:cubicBezTo>
                  <a:lnTo>
                    <a:pt x="47" y="1929"/>
                  </a:lnTo>
                  <a:lnTo>
                    <a:pt x="47" y="1929"/>
                  </a:lnTo>
                  <a:cubicBezTo>
                    <a:pt x="47" y="1921"/>
                    <a:pt x="39" y="1906"/>
                    <a:pt x="31" y="1898"/>
                  </a:cubicBezTo>
                  <a:cubicBezTo>
                    <a:pt x="0" y="1850"/>
                    <a:pt x="8" y="1763"/>
                    <a:pt x="15" y="1724"/>
                  </a:cubicBezTo>
                  <a:cubicBezTo>
                    <a:pt x="15" y="1708"/>
                    <a:pt x="15" y="1700"/>
                    <a:pt x="15" y="1700"/>
                  </a:cubicBezTo>
                  <a:cubicBezTo>
                    <a:pt x="15" y="1668"/>
                    <a:pt x="31" y="1637"/>
                    <a:pt x="63" y="1613"/>
                  </a:cubicBezTo>
                  <a:cubicBezTo>
                    <a:pt x="71" y="1605"/>
                    <a:pt x="71" y="1589"/>
                    <a:pt x="63" y="1566"/>
                  </a:cubicBezTo>
                  <a:cubicBezTo>
                    <a:pt x="55" y="1550"/>
                    <a:pt x="47" y="1526"/>
                    <a:pt x="47" y="1502"/>
                  </a:cubicBezTo>
                  <a:cubicBezTo>
                    <a:pt x="55" y="1463"/>
                    <a:pt x="71" y="1423"/>
                    <a:pt x="95" y="1400"/>
                  </a:cubicBezTo>
                  <a:cubicBezTo>
                    <a:pt x="102" y="1400"/>
                    <a:pt x="102" y="1400"/>
                    <a:pt x="102" y="1392"/>
                  </a:cubicBezTo>
                  <a:cubicBezTo>
                    <a:pt x="118" y="1376"/>
                    <a:pt x="166" y="1328"/>
                    <a:pt x="158" y="1297"/>
                  </a:cubicBezTo>
                  <a:cubicBezTo>
                    <a:pt x="158" y="1281"/>
                    <a:pt x="158" y="1273"/>
                    <a:pt x="166" y="1273"/>
                  </a:cubicBezTo>
                  <a:cubicBezTo>
                    <a:pt x="166" y="1273"/>
                    <a:pt x="174" y="1273"/>
                    <a:pt x="181" y="1273"/>
                  </a:cubicBezTo>
                  <a:lnTo>
                    <a:pt x="181" y="1273"/>
                  </a:lnTo>
                  <a:cubicBezTo>
                    <a:pt x="189" y="1273"/>
                    <a:pt x="189" y="1273"/>
                    <a:pt x="197" y="1257"/>
                  </a:cubicBezTo>
                  <a:cubicBezTo>
                    <a:pt x="205" y="1226"/>
                    <a:pt x="221" y="1202"/>
                    <a:pt x="253" y="1186"/>
                  </a:cubicBezTo>
                  <a:cubicBezTo>
                    <a:pt x="268" y="1170"/>
                    <a:pt x="276" y="1131"/>
                    <a:pt x="284" y="1099"/>
                  </a:cubicBezTo>
                  <a:cubicBezTo>
                    <a:pt x="292" y="1091"/>
                    <a:pt x="292" y="1084"/>
                    <a:pt x="292" y="1075"/>
                  </a:cubicBezTo>
                  <a:cubicBezTo>
                    <a:pt x="300" y="1060"/>
                    <a:pt x="316" y="1028"/>
                    <a:pt x="324" y="997"/>
                  </a:cubicBezTo>
                  <a:cubicBezTo>
                    <a:pt x="348" y="957"/>
                    <a:pt x="371" y="902"/>
                    <a:pt x="379" y="870"/>
                  </a:cubicBezTo>
                  <a:cubicBezTo>
                    <a:pt x="387" y="838"/>
                    <a:pt x="395" y="831"/>
                    <a:pt x="403" y="823"/>
                  </a:cubicBezTo>
                  <a:cubicBezTo>
                    <a:pt x="411" y="823"/>
                    <a:pt x="411" y="823"/>
                    <a:pt x="411" y="807"/>
                  </a:cubicBezTo>
                  <a:cubicBezTo>
                    <a:pt x="419" y="799"/>
                    <a:pt x="419" y="791"/>
                    <a:pt x="419" y="783"/>
                  </a:cubicBezTo>
                  <a:cubicBezTo>
                    <a:pt x="419" y="767"/>
                    <a:pt x="419" y="759"/>
                    <a:pt x="434" y="744"/>
                  </a:cubicBezTo>
                  <a:cubicBezTo>
                    <a:pt x="442" y="736"/>
                    <a:pt x="442" y="728"/>
                    <a:pt x="442" y="704"/>
                  </a:cubicBezTo>
                  <a:cubicBezTo>
                    <a:pt x="442" y="696"/>
                    <a:pt x="442" y="688"/>
                    <a:pt x="442" y="680"/>
                  </a:cubicBezTo>
                  <a:cubicBezTo>
                    <a:pt x="442" y="657"/>
                    <a:pt x="442" y="649"/>
                    <a:pt x="450" y="641"/>
                  </a:cubicBezTo>
                  <a:cubicBezTo>
                    <a:pt x="458" y="633"/>
                    <a:pt x="466" y="625"/>
                    <a:pt x="474" y="601"/>
                  </a:cubicBezTo>
                  <a:cubicBezTo>
                    <a:pt x="482" y="570"/>
                    <a:pt x="490" y="546"/>
                    <a:pt x="506" y="522"/>
                  </a:cubicBezTo>
                  <a:cubicBezTo>
                    <a:pt x="521" y="506"/>
                    <a:pt x="529" y="491"/>
                    <a:pt x="537" y="467"/>
                  </a:cubicBezTo>
                  <a:cubicBezTo>
                    <a:pt x="561" y="411"/>
                    <a:pt x="585" y="340"/>
                    <a:pt x="600" y="285"/>
                  </a:cubicBezTo>
                  <a:cubicBezTo>
                    <a:pt x="608" y="253"/>
                    <a:pt x="624" y="222"/>
                    <a:pt x="632" y="182"/>
                  </a:cubicBezTo>
                  <a:cubicBezTo>
                    <a:pt x="640" y="151"/>
                    <a:pt x="656" y="127"/>
                    <a:pt x="656" y="103"/>
                  </a:cubicBezTo>
                  <a:cubicBezTo>
                    <a:pt x="664" y="87"/>
                    <a:pt x="664" y="87"/>
                    <a:pt x="664" y="87"/>
                  </a:cubicBezTo>
                  <a:lnTo>
                    <a:pt x="664" y="87"/>
                  </a:lnTo>
                  <a:cubicBezTo>
                    <a:pt x="672" y="87"/>
                    <a:pt x="672" y="87"/>
                    <a:pt x="672" y="87"/>
                  </a:cubicBezTo>
                  <a:cubicBezTo>
                    <a:pt x="672" y="72"/>
                    <a:pt x="672" y="64"/>
                    <a:pt x="672" y="56"/>
                  </a:cubicBezTo>
                  <a:cubicBezTo>
                    <a:pt x="680" y="48"/>
                    <a:pt x="680" y="32"/>
                    <a:pt x="680" y="24"/>
                  </a:cubicBezTo>
                  <a:cubicBezTo>
                    <a:pt x="680" y="16"/>
                    <a:pt x="687" y="8"/>
                    <a:pt x="687" y="8"/>
                  </a:cubicBezTo>
                  <a:cubicBezTo>
                    <a:pt x="687" y="0"/>
                    <a:pt x="687" y="0"/>
                    <a:pt x="687" y="0"/>
                  </a:cubicBezTo>
                  <a:lnTo>
                    <a:pt x="687" y="0"/>
                  </a:lnTo>
                  <a:cubicBezTo>
                    <a:pt x="743" y="24"/>
                    <a:pt x="782" y="40"/>
                    <a:pt x="790" y="40"/>
                  </a:cubicBezTo>
                  <a:cubicBezTo>
                    <a:pt x="822" y="48"/>
                    <a:pt x="822" y="56"/>
                    <a:pt x="822" y="87"/>
                  </a:cubicBezTo>
                  <a:cubicBezTo>
                    <a:pt x="822" y="87"/>
                    <a:pt x="830" y="87"/>
                    <a:pt x="830" y="95"/>
                  </a:cubicBezTo>
                  <a:cubicBezTo>
                    <a:pt x="830" y="119"/>
                    <a:pt x="838" y="119"/>
                    <a:pt x="838" y="119"/>
                  </a:cubicBezTo>
                  <a:lnTo>
                    <a:pt x="845" y="111"/>
                  </a:lnTo>
                  <a:cubicBezTo>
                    <a:pt x="854" y="111"/>
                    <a:pt x="869" y="103"/>
                    <a:pt x="877" y="103"/>
                  </a:cubicBezTo>
                  <a:cubicBezTo>
                    <a:pt x="917" y="103"/>
                    <a:pt x="932" y="143"/>
                    <a:pt x="956" y="182"/>
                  </a:cubicBezTo>
                  <a:cubicBezTo>
                    <a:pt x="964" y="182"/>
                    <a:pt x="964" y="190"/>
                    <a:pt x="972" y="190"/>
                  </a:cubicBezTo>
                  <a:cubicBezTo>
                    <a:pt x="988" y="230"/>
                    <a:pt x="972" y="277"/>
                    <a:pt x="956" y="317"/>
                  </a:cubicBezTo>
                  <a:cubicBezTo>
                    <a:pt x="956" y="333"/>
                    <a:pt x="948" y="340"/>
                    <a:pt x="948" y="356"/>
                  </a:cubicBezTo>
                  <a:cubicBezTo>
                    <a:pt x="940" y="388"/>
                    <a:pt x="948" y="411"/>
                    <a:pt x="956" y="420"/>
                  </a:cubicBezTo>
                  <a:cubicBezTo>
                    <a:pt x="964" y="427"/>
                    <a:pt x="980" y="427"/>
                    <a:pt x="988" y="427"/>
                  </a:cubicBezTo>
                  <a:cubicBezTo>
                    <a:pt x="1012" y="435"/>
                    <a:pt x="1043" y="435"/>
                    <a:pt x="1059" y="451"/>
                  </a:cubicBezTo>
                  <a:cubicBezTo>
                    <a:pt x="1075" y="467"/>
                    <a:pt x="1098" y="475"/>
                    <a:pt x="1130" y="475"/>
                  </a:cubicBezTo>
                  <a:cubicBezTo>
                    <a:pt x="1154" y="475"/>
                    <a:pt x="1170" y="475"/>
                    <a:pt x="1185" y="467"/>
                  </a:cubicBezTo>
                  <a:cubicBezTo>
                    <a:pt x="1193" y="467"/>
                    <a:pt x="1209" y="459"/>
                    <a:pt x="1209" y="459"/>
                  </a:cubicBezTo>
                  <a:cubicBezTo>
                    <a:pt x="1225" y="451"/>
                    <a:pt x="1233" y="443"/>
                    <a:pt x="1241" y="443"/>
                  </a:cubicBezTo>
                  <a:cubicBezTo>
                    <a:pt x="1249" y="443"/>
                    <a:pt x="1265" y="451"/>
                    <a:pt x="1272" y="451"/>
                  </a:cubicBezTo>
                  <a:cubicBezTo>
                    <a:pt x="1288" y="459"/>
                    <a:pt x="1304" y="467"/>
                    <a:pt x="1312" y="467"/>
                  </a:cubicBezTo>
                  <a:cubicBezTo>
                    <a:pt x="1320" y="467"/>
                    <a:pt x="1320" y="467"/>
                    <a:pt x="1328" y="459"/>
                  </a:cubicBezTo>
                  <a:cubicBezTo>
                    <a:pt x="1336" y="459"/>
                    <a:pt x="1344" y="459"/>
                    <a:pt x="1360" y="459"/>
                  </a:cubicBezTo>
                  <a:cubicBezTo>
                    <a:pt x="1391" y="459"/>
                    <a:pt x="1399" y="467"/>
                    <a:pt x="1415" y="491"/>
                  </a:cubicBezTo>
                  <a:cubicBezTo>
                    <a:pt x="1423" y="498"/>
                    <a:pt x="1423" y="498"/>
                    <a:pt x="1423" y="498"/>
                  </a:cubicBezTo>
                  <a:cubicBezTo>
                    <a:pt x="1423" y="498"/>
                    <a:pt x="1423" y="506"/>
                    <a:pt x="1431" y="506"/>
                  </a:cubicBezTo>
                  <a:cubicBezTo>
                    <a:pt x="1438" y="530"/>
                    <a:pt x="1446" y="530"/>
                    <a:pt x="1454" y="530"/>
                  </a:cubicBezTo>
                  <a:cubicBezTo>
                    <a:pt x="1462" y="530"/>
                    <a:pt x="1470" y="522"/>
                    <a:pt x="1486" y="522"/>
                  </a:cubicBezTo>
                  <a:cubicBezTo>
                    <a:pt x="1502" y="522"/>
                    <a:pt x="1525" y="530"/>
                    <a:pt x="1533" y="538"/>
                  </a:cubicBezTo>
                  <a:cubicBezTo>
                    <a:pt x="1541" y="546"/>
                    <a:pt x="1549" y="546"/>
                    <a:pt x="1557" y="546"/>
                  </a:cubicBezTo>
                  <a:cubicBezTo>
                    <a:pt x="1573" y="546"/>
                    <a:pt x="1604" y="530"/>
                    <a:pt x="1620" y="522"/>
                  </a:cubicBezTo>
                  <a:cubicBezTo>
                    <a:pt x="1620" y="522"/>
                    <a:pt x="1628" y="522"/>
                    <a:pt x="1636" y="522"/>
                  </a:cubicBezTo>
                  <a:cubicBezTo>
                    <a:pt x="1660" y="522"/>
                    <a:pt x="1691" y="530"/>
                    <a:pt x="1715" y="562"/>
                  </a:cubicBezTo>
                  <a:cubicBezTo>
                    <a:pt x="1723" y="570"/>
                    <a:pt x="1739" y="578"/>
                    <a:pt x="1755" y="578"/>
                  </a:cubicBezTo>
                  <a:cubicBezTo>
                    <a:pt x="1778" y="578"/>
                    <a:pt x="1810" y="570"/>
                    <a:pt x="1818" y="562"/>
                  </a:cubicBezTo>
                  <a:cubicBezTo>
                    <a:pt x="1826" y="554"/>
                    <a:pt x="1850" y="554"/>
                    <a:pt x="1881" y="554"/>
                  </a:cubicBezTo>
                  <a:cubicBezTo>
                    <a:pt x="1905" y="554"/>
                    <a:pt x="1937" y="554"/>
                    <a:pt x="1968" y="554"/>
                  </a:cubicBezTo>
                  <a:cubicBezTo>
                    <a:pt x="2000" y="554"/>
                    <a:pt x="2008" y="554"/>
                    <a:pt x="2008" y="554"/>
                  </a:cubicBezTo>
                  <a:lnTo>
                    <a:pt x="2008" y="554"/>
                  </a:lnTo>
                  <a:cubicBezTo>
                    <a:pt x="2008" y="554"/>
                    <a:pt x="2008" y="546"/>
                    <a:pt x="2015" y="538"/>
                  </a:cubicBezTo>
                  <a:cubicBezTo>
                    <a:pt x="2015" y="538"/>
                    <a:pt x="2023" y="530"/>
                    <a:pt x="2039" y="530"/>
                  </a:cubicBezTo>
                  <a:cubicBezTo>
                    <a:pt x="2055" y="530"/>
                    <a:pt x="2079" y="538"/>
                    <a:pt x="2102" y="546"/>
                  </a:cubicBezTo>
                  <a:cubicBezTo>
                    <a:pt x="2110" y="554"/>
                    <a:pt x="2134" y="554"/>
                    <a:pt x="2150" y="554"/>
                  </a:cubicBezTo>
                  <a:cubicBezTo>
                    <a:pt x="2174" y="554"/>
                    <a:pt x="2197" y="546"/>
                    <a:pt x="2213" y="546"/>
                  </a:cubicBezTo>
                  <a:cubicBezTo>
                    <a:pt x="2213" y="546"/>
                    <a:pt x="2213" y="546"/>
                    <a:pt x="2221" y="546"/>
                  </a:cubicBezTo>
                  <a:cubicBezTo>
                    <a:pt x="2268" y="546"/>
                    <a:pt x="2403" y="578"/>
                    <a:pt x="2450" y="601"/>
                  </a:cubicBezTo>
                  <a:cubicBezTo>
                    <a:pt x="2506" y="633"/>
                    <a:pt x="2861" y="680"/>
                    <a:pt x="2869" y="680"/>
                  </a:cubicBezTo>
                  <a:cubicBezTo>
                    <a:pt x="2885" y="680"/>
                    <a:pt x="2885" y="680"/>
                    <a:pt x="2885" y="680"/>
                  </a:cubicBezTo>
                  <a:cubicBezTo>
                    <a:pt x="2885" y="688"/>
                    <a:pt x="2885" y="688"/>
                    <a:pt x="2885" y="688"/>
                  </a:cubicBezTo>
                  <a:cubicBezTo>
                    <a:pt x="2885" y="712"/>
                    <a:pt x="2901" y="759"/>
                    <a:pt x="2925" y="783"/>
                  </a:cubicBezTo>
                  <a:cubicBezTo>
                    <a:pt x="2964" y="815"/>
                    <a:pt x="2980" y="862"/>
                    <a:pt x="2980" y="902"/>
                  </a:cubicBezTo>
                  <a:cubicBezTo>
                    <a:pt x="2980" y="910"/>
                    <a:pt x="2980" y="925"/>
                    <a:pt x="2972" y="925"/>
                  </a:cubicBezTo>
                  <a:cubicBezTo>
                    <a:pt x="2948" y="949"/>
                    <a:pt x="2893" y="1028"/>
                    <a:pt x="2893" y="1044"/>
                  </a:cubicBezTo>
                  <a:cubicBezTo>
                    <a:pt x="2893" y="1060"/>
                    <a:pt x="2869" y="1084"/>
                    <a:pt x="2846" y="1099"/>
                  </a:cubicBezTo>
                  <a:cubicBezTo>
                    <a:pt x="2838" y="1107"/>
                    <a:pt x="2830" y="1115"/>
                    <a:pt x="2814" y="1123"/>
                  </a:cubicBezTo>
                  <a:cubicBezTo>
                    <a:pt x="2790" y="1147"/>
                    <a:pt x="2798" y="1170"/>
                    <a:pt x="2798" y="1186"/>
                  </a:cubicBezTo>
                  <a:lnTo>
                    <a:pt x="2798" y="1186"/>
                  </a:lnTo>
                  <a:cubicBezTo>
                    <a:pt x="2806" y="1194"/>
                    <a:pt x="2790" y="1202"/>
                    <a:pt x="2743" y="1241"/>
                  </a:cubicBezTo>
                  <a:cubicBezTo>
                    <a:pt x="2695" y="1289"/>
                    <a:pt x="2616" y="1352"/>
                    <a:pt x="2624" y="1384"/>
                  </a:cubicBezTo>
                  <a:cubicBezTo>
                    <a:pt x="2624" y="1392"/>
                    <a:pt x="2624" y="1400"/>
                    <a:pt x="2624" y="1408"/>
                  </a:cubicBezTo>
                  <a:cubicBezTo>
                    <a:pt x="2624" y="1439"/>
                    <a:pt x="2624" y="1455"/>
                    <a:pt x="2672" y="1479"/>
                  </a:cubicBezTo>
                  <a:cubicBezTo>
                    <a:pt x="2688" y="1487"/>
                    <a:pt x="2703" y="1502"/>
                    <a:pt x="2703" y="1510"/>
                  </a:cubicBezTo>
                  <a:cubicBezTo>
                    <a:pt x="2711" y="1534"/>
                    <a:pt x="2695" y="1558"/>
                    <a:pt x="2680" y="1574"/>
                  </a:cubicBezTo>
                  <a:cubicBezTo>
                    <a:pt x="2680" y="1581"/>
                    <a:pt x="2680" y="1581"/>
                    <a:pt x="2680" y="1581"/>
                  </a:cubicBezTo>
                  <a:cubicBezTo>
                    <a:pt x="2672" y="1589"/>
                    <a:pt x="2672" y="1597"/>
                    <a:pt x="2680" y="1605"/>
                  </a:cubicBezTo>
                  <a:cubicBezTo>
                    <a:pt x="2680" y="1613"/>
                    <a:pt x="2680" y="1629"/>
                    <a:pt x="2672" y="1637"/>
                  </a:cubicBezTo>
                  <a:cubicBezTo>
                    <a:pt x="2664" y="1645"/>
                    <a:pt x="2664" y="1645"/>
                    <a:pt x="2664" y="1645"/>
                  </a:cubicBezTo>
                  <a:cubicBezTo>
                    <a:pt x="2648" y="1668"/>
                    <a:pt x="2624" y="1716"/>
                    <a:pt x="2624" y="1732"/>
                  </a:cubicBezTo>
                  <a:cubicBezTo>
                    <a:pt x="2624" y="1755"/>
                    <a:pt x="2490" y="2340"/>
                    <a:pt x="2442" y="2522"/>
                  </a:cubicBezTo>
                  <a:close/>
                  <a:moveTo>
                    <a:pt x="55" y="1921"/>
                  </a:moveTo>
                  <a:lnTo>
                    <a:pt x="55" y="1921"/>
                  </a:lnTo>
                  <a:cubicBezTo>
                    <a:pt x="395" y="2016"/>
                    <a:pt x="1304" y="2269"/>
                    <a:pt x="2442" y="2514"/>
                  </a:cubicBezTo>
                  <a:cubicBezTo>
                    <a:pt x="2521" y="2143"/>
                    <a:pt x="2616" y="1748"/>
                    <a:pt x="2616" y="1732"/>
                  </a:cubicBezTo>
                  <a:cubicBezTo>
                    <a:pt x="2616" y="1716"/>
                    <a:pt x="2640" y="1668"/>
                    <a:pt x="2656" y="1645"/>
                  </a:cubicBezTo>
                  <a:cubicBezTo>
                    <a:pt x="2664" y="1637"/>
                    <a:pt x="2664" y="1637"/>
                    <a:pt x="2664" y="1637"/>
                  </a:cubicBezTo>
                  <a:cubicBezTo>
                    <a:pt x="2672" y="1629"/>
                    <a:pt x="2672" y="1613"/>
                    <a:pt x="2672" y="1605"/>
                  </a:cubicBezTo>
                  <a:cubicBezTo>
                    <a:pt x="2664" y="1597"/>
                    <a:pt x="2664" y="1581"/>
                    <a:pt x="2672" y="1574"/>
                  </a:cubicBezTo>
                  <a:lnTo>
                    <a:pt x="2672" y="1574"/>
                  </a:lnTo>
                  <a:cubicBezTo>
                    <a:pt x="2688" y="1558"/>
                    <a:pt x="2703" y="1534"/>
                    <a:pt x="2695" y="1518"/>
                  </a:cubicBezTo>
                  <a:cubicBezTo>
                    <a:pt x="2695" y="1502"/>
                    <a:pt x="2688" y="1495"/>
                    <a:pt x="2672" y="1487"/>
                  </a:cubicBezTo>
                  <a:cubicBezTo>
                    <a:pt x="2624" y="1463"/>
                    <a:pt x="2616" y="1439"/>
                    <a:pt x="2616" y="1408"/>
                  </a:cubicBezTo>
                  <a:cubicBezTo>
                    <a:pt x="2616" y="1400"/>
                    <a:pt x="2616" y="1392"/>
                    <a:pt x="2616" y="1384"/>
                  </a:cubicBezTo>
                  <a:cubicBezTo>
                    <a:pt x="2608" y="1352"/>
                    <a:pt x="2672" y="1297"/>
                    <a:pt x="2743" y="1234"/>
                  </a:cubicBezTo>
                  <a:cubicBezTo>
                    <a:pt x="2767" y="1218"/>
                    <a:pt x="2790" y="1194"/>
                    <a:pt x="2798" y="1186"/>
                  </a:cubicBezTo>
                  <a:lnTo>
                    <a:pt x="2798" y="1186"/>
                  </a:lnTo>
                  <a:cubicBezTo>
                    <a:pt x="2790" y="1170"/>
                    <a:pt x="2782" y="1147"/>
                    <a:pt x="2814" y="1115"/>
                  </a:cubicBezTo>
                  <a:cubicBezTo>
                    <a:pt x="2822" y="1107"/>
                    <a:pt x="2830" y="1099"/>
                    <a:pt x="2838" y="1091"/>
                  </a:cubicBezTo>
                  <a:cubicBezTo>
                    <a:pt x="2861" y="1075"/>
                    <a:pt x="2885" y="1060"/>
                    <a:pt x="2885" y="1044"/>
                  </a:cubicBezTo>
                  <a:cubicBezTo>
                    <a:pt x="2885" y="1028"/>
                    <a:pt x="2948" y="941"/>
                    <a:pt x="2964" y="925"/>
                  </a:cubicBezTo>
                  <a:cubicBezTo>
                    <a:pt x="2972" y="917"/>
                    <a:pt x="2972" y="910"/>
                    <a:pt x="2972" y="902"/>
                  </a:cubicBezTo>
                  <a:cubicBezTo>
                    <a:pt x="2972" y="862"/>
                    <a:pt x="2956" y="815"/>
                    <a:pt x="2925" y="791"/>
                  </a:cubicBezTo>
                  <a:cubicBezTo>
                    <a:pt x="2893" y="767"/>
                    <a:pt x="2885" y="728"/>
                    <a:pt x="2877" y="688"/>
                  </a:cubicBezTo>
                  <a:cubicBezTo>
                    <a:pt x="2869" y="688"/>
                    <a:pt x="2869" y="688"/>
                    <a:pt x="2869" y="688"/>
                  </a:cubicBezTo>
                  <a:cubicBezTo>
                    <a:pt x="2854" y="688"/>
                    <a:pt x="2506" y="641"/>
                    <a:pt x="2450" y="609"/>
                  </a:cubicBezTo>
                  <a:cubicBezTo>
                    <a:pt x="2403" y="585"/>
                    <a:pt x="2268" y="546"/>
                    <a:pt x="2221" y="546"/>
                  </a:cubicBezTo>
                  <a:cubicBezTo>
                    <a:pt x="2213" y="546"/>
                    <a:pt x="2213" y="554"/>
                    <a:pt x="2213" y="554"/>
                  </a:cubicBezTo>
                  <a:cubicBezTo>
                    <a:pt x="2197" y="554"/>
                    <a:pt x="2182" y="562"/>
                    <a:pt x="2150" y="562"/>
                  </a:cubicBezTo>
                  <a:cubicBezTo>
                    <a:pt x="2134" y="562"/>
                    <a:pt x="2110" y="562"/>
                    <a:pt x="2102" y="554"/>
                  </a:cubicBezTo>
                  <a:cubicBezTo>
                    <a:pt x="2087" y="546"/>
                    <a:pt x="2055" y="538"/>
                    <a:pt x="2039" y="538"/>
                  </a:cubicBezTo>
                  <a:cubicBezTo>
                    <a:pt x="2023" y="538"/>
                    <a:pt x="2023" y="538"/>
                    <a:pt x="2015" y="546"/>
                  </a:cubicBezTo>
                  <a:cubicBezTo>
                    <a:pt x="2015" y="546"/>
                    <a:pt x="2015" y="546"/>
                    <a:pt x="2015" y="554"/>
                  </a:cubicBezTo>
                  <a:cubicBezTo>
                    <a:pt x="2015" y="554"/>
                    <a:pt x="2023" y="562"/>
                    <a:pt x="2015" y="562"/>
                  </a:cubicBezTo>
                  <a:cubicBezTo>
                    <a:pt x="2015" y="562"/>
                    <a:pt x="2015" y="562"/>
                    <a:pt x="2008" y="562"/>
                  </a:cubicBezTo>
                  <a:cubicBezTo>
                    <a:pt x="2000" y="562"/>
                    <a:pt x="1984" y="562"/>
                    <a:pt x="1968" y="562"/>
                  </a:cubicBezTo>
                  <a:cubicBezTo>
                    <a:pt x="1937" y="562"/>
                    <a:pt x="1905" y="562"/>
                    <a:pt x="1881" y="562"/>
                  </a:cubicBezTo>
                  <a:cubicBezTo>
                    <a:pt x="1842" y="562"/>
                    <a:pt x="1826" y="562"/>
                    <a:pt x="1818" y="570"/>
                  </a:cubicBezTo>
                  <a:cubicBezTo>
                    <a:pt x="1810" y="578"/>
                    <a:pt x="1778" y="585"/>
                    <a:pt x="1755" y="585"/>
                  </a:cubicBezTo>
                  <a:cubicBezTo>
                    <a:pt x="1731" y="585"/>
                    <a:pt x="1715" y="578"/>
                    <a:pt x="1707" y="562"/>
                  </a:cubicBezTo>
                  <a:cubicBezTo>
                    <a:pt x="1684" y="538"/>
                    <a:pt x="1652" y="530"/>
                    <a:pt x="1636" y="530"/>
                  </a:cubicBezTo>
                  <a:cubicBezTo>
                    <a:pt x="1628" y="530"/>
                    <a:pt x="1628" y="530"/>
                    <a:pt x="1620" y="530"/>
                  </a:cubicBezTo>
                  <a:cubicBezTo>
                    <a:pt x="1612" y="538"/>
                    <a:pt x="1581" y="554"/>
                    <a:pt x="1557" y="554"/>
                  </a:cubicBezTo>
                  <a:cubicBezTo>
                    <a:pt x="1541" y="554"/>
                    <a:pt x="1533" y="546"/>
                    <a:pt x="1533" y="546"/>
                  </a:cubicBezTo>
                  <a:cubicBezTo>
                    <a:pt x="1525" y="538"/>
                    <a:pt x="1510" y="530"/>
                    <a:pt x="1486" y="530"/>
                  </a:cubicBezTo>
                  <a:cubicBezTo>
                    <a:pt x="1478" y="530"/>
                    <a:pt x="1462" y="530"/>
                    <a:pt x="1454" y="538"/>
                  </a:cubicBezTo>
                  <a:cubicBezTo>
                    <a:pt x="1438" y="538"/>
                    <a:pt x="1438" y="530"/>
                    <a:pt x="1423" y="514"/>
                  </a:cubicBezTo>
                  <a:cubicBezTo>
                    <a:pt x="1423" y="506"/>
                    <a:pt x="1415" y="506"/>
                    <a:pt x="1415" y="498"/>
                  </a:cubicBezTo>
                  <a:cubicBezTo>
                    <a:pt x="1407" y="498"/>
                    <a:pt x="1407" y="498"/>
                    <a:pt x="1407" y="498"/>
                  </a:cubicBezTo>
                  <a:cubicBezTo>
                    <a:pt x="1391" y="475"/>
                    <a:pt x="1383" y="467"/>
                    <a:pt x="1360" y="467"/>
                  </a:cubicBezTo>
                  <a:cubicBezTo>
                    <a:pt x="1344" y="467"/>
                    <a:pt x="1336" y="467"/>
                    <a:pt x="1328" y="467"/>
                  </a:cubicBezTo>
                  <a:cubicBezTo>
                    <a:pt x="1328" y="467"/>
                    <a:pt x="1320" y="475"/>
                    <a:pt x="1312" y="475"/>
                  </a:cubicBezTo>
                  <a:cubicBezTo>
                    <a:pt x="1296" y="475"/>
                    <a:pt x="1288" y="467"/>
                    <a:pt x="1272" y="459"/>
                  </a:cubicBezTo>
                  <a:cubicBezTo>
                    <a:pt x="1257" y="459"/>
                    <a:pt x="1249" y="451"/>
                    <a:pt x="1241" y="451"/>
                  </a:cubicBezTo>
                  <a:cubicBezTo>
                    <a:pt x="1233" y="451"/>
                    <a:pt x="1225" y="459"/>
                    <a:pt x="1217" y="459"/>
                  </a:cubicBezTo>
                  <a:cubicBezTo>
                    <a:pt x="1209" y="467"/>
                    <a:pt x="1201" y="467"/>
                    <a:pt x="1185" y="475"/>
                  </a:cubicBezTo>
                  <a:cubicBezTo>
                    <a:pt x="1170" y="483"/>
                    <a:pt x="1154" y="483"/>
                    <a:pt x="1130" y="483"/>
                  </a:cubicBezTo>
                  <a:cubicBezTo>
                    <a:pt x="1098" y="483"/>
                    <a:pt x="1067" y="475"/>
                    <a:pt x="1051" y="459"/>
                  </a:cubicBezTo>
                  <a:cubicBezTo>
                    <a:pt x="1035" y="443"/>
                    <a:pt x="1012" y="443"/>
                    <a:pt x="988" y="435"/>
                  </a:cubicBezTo>
                  <a:cubicBezTo>
                    <a:pt x="972" y="435"/>
                    <a:pt x="964" y="435"/>
                    <a:pt x="956" y="427"/>
                  </a:cubicBezTo>
                  <a:cubicBezTo>
                    <a:pt x="940" y="411"/>
                    <a:pt x="932" y="388"/>
                    <a:pt x="940" y="356"/>
                  </a:cubicBezTo>
                  <a:cubicBezTo>
                    <a:pt x="940" y="340"/>
                    <a:pt x="948" y="325"/>
                    <a:pt x="956" y="317"/>
                  </a:cubicBezTo>
                  <a:cubicBezTo>
                    <a:pt x="964" y="277"/>
                    <a:pt x="980" y="230"/>
                    <a:pt x="964" y="198"/>
                  </a:cubicBezTo>
                  <a:cubicBezTo>
                    <a:pt x="956" y="190"/>
                    <a:pt x="956" y="190"/>
                    <a:pt x="956" y="182"/>
                  </a:cubicBezTo>
                  <a:cubicBezTo>
                    <a:pt x="932" y="143"/>
                    <a:pt x="909" y="111"/>
                    <a:pt x="877" y="111"/>
                  </a:cubicBezTo>
                  <a:cubicBezTo>
                    <a:pt x="869" y="111"/>
                    <a:pt x="861" y="119"/>
                    <a:pt x="854" y="119"/>
                  </a:cubicBezTo>
                  <a:cubicBezTo>
                    <a:pt x="845" y="119"/>
                    <a:pt x="845" y="119"/>
                    <a:pt x="838" y="119"/>
                  </a:cubicBezTo>
                  <a:cubicBezTo>
                    <a:pt x="830" y="119"/>
                    <a:pt x="822" y="111"/>
                    <a:pt x="822" y="95"/>
                  </a:cubicBezTo>
                  <a:cubicBezTo>
                    <a:pt x="822" y="95"/>
                    <a:pt x="822" y="87"/>
                    <a:pt x="814" y="87"/>
                  </a:cubicBezTo>
                  <a:cubicBezTo>
                    <a:pt x="814" y="56"/>
                    <a:pt x="814" y="56"/>
                    <a:pt x="790" y="48"/>
                  </a:cubicBezTo>
                  <a:cubicBezTo>
                    <a:pt x="774" y="40"/>
                    <a:pt x="727" y="24"/>
                    <a:pt x="687" y="8"/>
                  </a:cubicBezTo>
                  <a:cubicBezTo>
                    <a:pt x="687" y="16"/>
                    <a:pt x="687" y="16"/>
                    <a:pt x="687" y="24"/>
                  </a:cubicBezTo>
                  <a:cubicBezTo>
                    <a:pt x="687" y="40"/>
                    <a:pt x="680" y="48"/>
                    <a:pt x="680" y="56"/>
                  </a:cubicBezTo>
                  <a:cubicBezTo>
                    <a:pt x="680" y="64"/>
                    <a:pt x="680" y="72"/>
                    <a:pt x="672" y="87"/>
                  </a:cubicBezTo>
                  <a:cubicBezTo>
                    <a:pt x="672" y="95"/>
                    <a:pt x="672" y="95"/>
                    <a:pt x="672" y="95"/>
                  </a:cubicBezTo>
                  <a:cubicBezTo>
                    <a:pt x="664" y="95"/>
                    <a:pt x="664" y="103"/>
                    <a:pt x="664" y="111"/>
                  </a:cubicBezTo>
                  <a:cubicBezTo>
                    <a:pt x="664" y="127"/>
                    <a:pt x="648" y="158"/>
                    <a:pt x="640" y="190"/>
                  </a:cubicBezTo>
                  <a:cubicBezTo>
                    <a:pt x="624" y="222"/>
                    <a:pt x="616" y="253"/>
                    <a:pt x="608" y="285"/>
                  </a:cubicBezTo>
                  <a:cubicBezTo>
                    <a:pt x="592" y="340"/>
                    <a:pt x="569" y="420"/>
                    <a:pt x="545" y="467"/>
                  </a:cubicBezTo>
                  <a:cubicBezTo>
                    <a:pt x="537" y="491"/>
                    <a:pt x="521" y="506"/>
                    <a:pt x="514" y="522"/>
                  </a:cubicBezTo>
                  <a:cubicBezTo>
                    <a:pt x="498" y="546"/>
                    <a:pt x="490" y="570"/>
                    <a:pt x="482" y="601"/>
                  </a:cubicBezTo>
                  <a:cubicBezTo>
                    <a:pt x="474" y="633"/>
                    <a:pt x="466" y="641"/>
                    <a:pt x="458" y="649"/>
                  </a:cubicBezTo>
                  <a:cubicBezTo>
                    <a:pt x="450" y="657"/>
                    <a:pt x="450" y="657"/>
                    <a:pt x="450" y="680"/>
                  </a:cubicBezTo>
                  <a:cubicBezTo>
                    <a:pt x="450" y="688"/>
                    <a:pt x="450" y="696"/>
                    <a:pt x="450" y="704"/>
                  </a:cubicBezTo>
                  <a:cubicBezTo>
                    <a:pt x="450" y="728"/>
                    <a:pt x="450" y="736"/>
                    <a:pt x="434" y="751"/>
                  </a:cubicBezTo>
                  <a:cubicBezTo>
                    <a:pt x="427" y="759"/>
                    <a:pt x="427" y="767"/>
                    <a:pt x="427" y="783"/>
                  </a:cubicBezTo>
                  <a:cubicBezTo>
                    <a:pt x="427" y="791"/>
                    <a:pt x="427" y="799"/>
                    <a:pt x="419" y="815"/>
                  </a:cubicBezTo>
                  <a:cubicBezTo>
                    <a:pt x="419" y="823"/>
                    <a:pt x="411" y="831"/>
                    <a:pt x="411" y="831"/>
                  </a:cubicBezTo>
                  <a:cubicBezTo>
                    <a:pt x="403" y="831"/>
                    <a:pt x="395" y="838"/>
                    <a:pt x="387" y="870"/>
                  </a:cubicBezTo>
                  <a:cubicBezTo>
                    <a:pt x="379" y="910"/>
                    <a:pt x="355" y="957"/>
                    <a:pt x="332" y="1004"/>
                  </a:cubicBezTo>
                  <a:cubicBezTo>
                    <a:pt x="316" y="1036"/>
                    <a:pt x="308" y="1060"/>
                    <a:pt x="300" y="1075"/>
                  </a:cubicBezTo>
                  <a:cubicBezTo>
                    <a:pt x="300" y="1084"/>
                    <a:pt x="300" y="1091"/>
                    <a:pt x="292" y="1099"/>
                  </a:cubicBezTo>
                  <a:cubicBezTo>
                    <a:pt x="284" y="1139"/>
                    <a:pt x="276" y="1170"/>
                    <a:pt x="253" y="1186"/>
                  </a:cubicBezTo>
                  <a:cubicBezTo>
                    <a:pt x="229" y="1210"/>
                    <a:pt x="213" y="1226"/>
                    <a:pt x="205" y="1257"/>
                  </a:cubicBezTo>
                  <a:cubicBezTo>
                    <a:pt x="197" y="1273"/>
                    <a:pt x="197" y="1281"/>
                    <a:pt x="181" y="1281"/>
                  </a:cubicBezTo>
                  <a:cubicBezTo>
                    <a:pt x="181" y="1281"/>
                    <a:pt x="181" y="1281"/>
                    <a:pt x="174" y="1281"/>
                  </a:cubicBezTo>
                  <a:lnTo>
                    <a:pt x="174" y="1281"/>
                  </a:lnTo>
                  <a:cubicBezTo>
                    <a:pt x="174" y="1281"/>
                    <a:pt x="174" y="1281"/>
                    <a:pt x="166" y="1281"/>
                  </a:cubicBezTo>
                  <a:cubicBezTo>
                    <a:pt x="166" y="1281"/>
                    <a:pt x="166" y="1281"/>
                    <a:pt x="166" y="1297"/>
                  </a:cubicBezTo>
                  <a:cubicBezTo>
                    <a:pt x="174" y="1337"/>
                    <a:pt x="126" y="1376"/>
                    <a:pt x="110" y="1400"/>
                  </a:cubicBezTo>
                  <a:cubicBezTo>
                    <a:pt x="102" y="1400"/>
                    <a:pt x="102" y="1400"/>
                    <a:pt x="102" y="1400"/>
                  </a:cubicBezTo>
                  <a:cubicBezTo>
                    <a:pt x="79" y="1431"/>
                    <a:pt x="63" y="1463"/>
                    <a:pt x="55" y="1502"/>
                  </a:cubicBezTo>
                  <a:cubicBezTo>
                    <a:pt x="55" y="1526"/>
                    <a:pt x="63" y="1550"/>
                    <a:pt x="71" y="1566"/>
                  </a:cubicBezTo>
                  <a:cubicBezTo>
                    <a:pt x="79" y="1589"/>
                    <a:pt x="79" y="1605"/>
                    <a:pt x="63" y="1621"/>
                  </a:cubicBezTo>
                  <a:cubicBezTo>
                    <a:pt x="39" y="1645"/>
                    <a:pt x="23" y="1676"/>
                    <a:pt x="23" y="1700"/>
                  </a:cubicBezTo>
                  <a:cubicBezTo>
                    <a:pt x="23" y="1700"/>
                    <a:pt x="23" y="1708"/>
                    <a:pt x="23" y="1724"/>
                  </a:cubicBezTo>
                  <a:cubicBezTo>
                    <a:pt x="15" y="1763"/>
                    <a:pt x="8" y="1842"/>
                    <a:pt x="39" y="1890"/>
                  </a:cubicBezTo>
                  <a:cubicBezTo>
                    <a:pt x="47" y="1906"/>
                    <a:pt x="55" y="1914"/>
                    <a:pt x="55" y="1921"/>
                  </a:cubicBezTo>
                  <a:close/>
                </a:path>
              </a:pathLst>
            </a:custGeom>
            <a:grpFill/>
            <a:ln>
              <a:solidFill>
                <a:schemeClr val="bg1">
                  <a:lumMod val="95000"/>
                </a:schemeClr>
              </a:solidFill>
            </a:ln>
            <a:effectLst/>
          </p:spPr>
          <p:txBody>
            <a:bodyPr wrap="none" anchor="ctr"/>
            <a:lstStyle/>
            <a:p>
              <a:endParaRPr lang="en-US" sz="900"/>
            </a:p>
          </p:txBody>
        </p:sp>
        <p:sp>
          <p:nvSpPr>
            <p:cNvPr id="34" name="Freeform 221"/>
            <p:cNvSpPr>
              <a:spLocks noChangeArrowheads="1"/>
            </p:cNvSpPr>
            <p:nvPr/>
          </p:nvSpPr>
          <p:spPr bwMode="auto">
            <a:xfrm>
              <a:off x="7593649" y="3120785"/>
              <a:ext cx="1289534" cy="955554"/>
            </a:xfrm>
            <a:custGeom>
              <a:avLst/>
              <a:gdLst>
                <a:gd name="T0" fmla="*/ 2332 w 2451"/>
                <a:gd name="T1" fmla="*/ 1020 h 1819"/>
                <a:gd name="T2" fmla="*/ 656 w 2451"/>
                <a:gd name="T3" fmla="*/ 0 h 1819"/>
                <a:gd name="T4" fmla="*/ 719 w 2451"/>
                <a:gd name="T5" fmla="*/ 95 h 1819"/>
                <a:gd name="T6" fmla="*/ 767 w 2451"/>
                <a:gd name="T7" fmla="*/ 174 h 1819"/>
                <a:gd name="T8" fmla="*/ 743 w 2451"/>
                <a:gd name="T9" fmla="*/ 261 h 1819"/>
                <a:gd name="T10" fmla="*/ 703 w 2451"/>
                <a:gd name="T11" fmla="*/ 293 h 1819"/>
                <a:gd name="T12" fmla="*/ 759 w 2451"/>
                <a:gd name="T13" fmla="*/ 364 h 1819"/>
                <a:gd name="T14" fmla="*/ 759 w 2451"/>
                <a:gd name="T15" fmla="*/ 458 h 1819"/>
                <a:gd name="T16" fmla="*/ 727 w 2451"/>
                <a:gd name="T17" fmla="*/ 553 h 1819"/>
                <a:gd name="T18" fmla="*/ 672 w 2451"/>
                <a:gd name="T19" fmla="*/ 648 h 1819"/>
                <a:gd name="T20" fmla="*/ 664 w 2451"/>
                <a:gd name="T21" fmla="*/ 743 h 1819"/>
                <a:gd name="T22" fmla="*/ 577 w 2451"/>
                <a:gd name="T23" fmla="*/ 830 h 1819"/>
                <a:gd name="T24" fmla="*/ 443 w 2451"/>
                <a:gd name="T25" fmla="*/ 814 h 1819"/>
                <a:gd name="T26" fmla="*/ 506 w 2451"/>
                <a:gd name="T27" fmla="*/ 751 h 1819"/>
                <a:gd name="T28" fmla="*/ 529 w 2451"/>
                <a:gd name="T29" fmla="*/ 767 h 1819"/>
                <a:gd name="T30" fmla="*/ 569 w 2451"/>
                <a:gd name="T31" fmla="*/ 791 h 1819"/>
                <a:gd name="T32" fmla="*/ 616 w 2451"/>
                <a:gd name="T33" fmla="*/ 664 h 1819"/>
                <a:gd name="T34" fmla="*/ 624 w 2451"/>
                <a:gd name="T35" fmla="*/ 593 h 1819"/>
                <a:gd name="T36" fmla="*/ 640 w 2451"/>
                <a:gd name="T37" fmla="*/ 522 h 1819"/>
                <a:gd name="T38" fmla="*/ 616 w 2451"/>
                <a:gd name="T39" fmla="*/ 427 h 1819"/>
                <a:gd name="T40" fmla="*/ 545 w 2451"/>
                <a:gd name="T41" fmla="*/ 387 h 1819"/>
                <a:gd name="T42" fmla="*/ 419 w 2451"/>
                <a:gd name="T43" fmla="*/ 324 h 1819"/>
                <a:gd name="T44" fmla="*/ 71 w 2451"/>
                <a:gd name="T45" fmla="*/ 127 h 1819"/>
                <a:gd name="T46" fmla="*/ 23 w 2451"/>
                <a:gd name="T47" fmla="*/ 277 h 1819"/>
                <a:gd name="T48" fmla="*/ 63 w 2451"/>
                <a:gd name="T49" fmla="*/ 451 h 1819"/>
                <a:gd name="T50" fmla="*/ 79 w 2451"/>
                <a:gd name="T51" fmla="*/ 648 h 1819"/>
                <a:gd name="T52" fmla="*/ 47 w 2451"/>
                <a:gd name="T53" fmla="*/ 775 h 1819"/>
                <a:gd name="T54" fmla="*/ 110 w 2451"/>
                <a:gd name="T55" fmla="*/ 798 h 1819"/>
                <a:gd name="T56" fmla="*/ 94 w 2451"/>
                <a:gd name="T57" fmla="*/ 846 h 1819"/>
                <a:gd name="T58" fmla="*/ 55 w 2451"/>
                <a:gd name="T59" fmla="*/ 885 h 1819"/>
                <a:gd name="T60" fmla="*/ 110 w 2451"/>
                <a:gd name="T61" fmla="*/ 941 h 1819"/>
                <a:gd name="T62" fmla="*/ 71 w 2451"/>
                <a:gd name="T63" fmla="*/ 964 h 1819"/>
                <a:gd name="T64" fmla="*/ 47 w 2451"/>
                <a:gd name="T65" fmla="*/ 1035 h 1819"/>
                <a:gd name="T66" fmla="*/ 23 w 2451"/>
                <a:gd name="T67" fmla="*/ 1012 h 1819"/>
                <a:gd name="T68" fmla="*/ 8 w 2451"/>
                <a:gd name="T69" fmla="*/ 1028 h 1819"/>
                <a:gd name="T70" fmla="*/ 23 w 2451"/>
                <a:gd name="T71" fmla="*/ 1138 h 1819"/>
                <a:gd name="T72" fmla="*/ 158 w 2451"/>
                <a:gd name="T73" fmla="*/ 1225 h 1819"/>
                <a:gd name="T74" fmla="*/ 300 w 2451"/>
                <a:gd name="T75" fmla="*/ 1328 h 1819"/>
                <a:gd name="T76" fmla="*/ 292 w 2451"/>
                <a:gd name="T77" fmla="*/ 1557 h 1819"/>
                <a:gd name="T78" fmla="*/ 521 w 2451"/>
                <a:gd name="T79" fmla="*/ 1605 h 1819"/>
                <a:gd name="T80" fmla="*/ 696 w 2451"/>
                <a:gd name="T81" fmla="*/ 1597 h 1819"/>
                <a:gd name="T82" fmla="*/ 790 w 2451"/>
                <a:gd name="T83" fmla="*/ 1660 h 1819"/>
                <a:gd name="T84" fmla="*/ 956 w 2451"/>
                <a:gd name="T85" fmla="*/ 1660 h 1819"/>
                <a:gd name="T86" fmla="*/ 1154 w 2451"/>
                <a:gd name="T87" fmla="*/ 1692 h 1819"/>
                <a:gd name="T88" fmla="*/ 1351 w 2451"/>
                <a:gd name="T89" fmla="*/ 1676 h 1819"/>
                <a:gd name="T90" fmla="*/ 1549 w 2451"/>
                <a:gd name="T91" fmla="*/ 1676 h 1819"/>
                <a:gd name="T92" fmla="*/ 2205 w 2451"/>
                <a:gd name="T93" fmla="*/ 1810 h 1819"/>
                <a:gd name="T94" fmla="*/ 2213 w 2451"/>
                <a:gd name="T95" fmla="*/ 1763 h 1819"/>
                <a:gd name="T96" fmla="*/ 2229 w 2451"/>
                <a:gd name="T97" fmla="*/ 1486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1" h="1819">
                  <a:moveTo>
                    <a:pt x="2332" y="1020"/>
                  </a:moveTo>
                  <a:lnTo>
                    <a:pt x="2332" y="1020"/>
                  </a:lnTo>
                  <a:cubicBezTo>
                    <a:pt x="2340" y="996"/>
                    <a:pt x="2427" y="538"/>
                    <a:pt x="2450" y="427"/>
                  </a:cubicBezTo>
                  <a:cubicBezTo>
                    <a:pt x="1351" y="198"/>
                    <a:pt x="656" y="0"/>
                    <a:pt x="656" y="0"/>
                  </a:cubicBezTo>
                  <a:cubicBezTo>
                    <a:pt x="672" y="8"/>
                    <a:pt x="687" y="0"/>
                    <a:pt x="696" y="24"/>
                  </a:cubicBezTo>
                  <a:cubicBezTo>
                    <a:pt x="703" y="40"/>
                    <a:pt x="696" y="71"/>
                    <a:pt x="719" y="95"/>
                  </a:cubicBezTo>
                  <a:cubicBezTo>
                    <a:pt x="735" y="111"/>
                    <a:pt x="751" y="111"/>
                    <a:pt x="759" y="127"/>
                  </a:cubicBezTo>
                  <a:cubicBezTo>
                    <a:pt x="767" y="142"/>
                    <a:pt x="774" y="150"/>
                    <a:pt x="767" y="174"/>
                  </a:cubicBezTo>
                  <a:cubicBezTo>
                    <a:pt x="767" y="206"/>
                    <a:pt x="759" y="221"/>
                    <a:pt x="751" y="229"/>
                  </a:cubicBezTo>
                  <a:cubicBezTo>
                    <a:pt x="743" y="237"/>
                    <a:pt x="735" y="245"/>
                    <a:pt x="743" y="261"/>
                  </a:cubicBezTo>
                  <a:cubicBezTo>
                    <a:pt x="743" y="277"/>
                    <a:pt x="743" y="277"/>
                    <a:pt x="727" y="277"/>
                  </a:cubicBezTo>
                  <a:cubicBezTo>
                    <a:pt x="703" y="277"/>
                    <a:pt x="687" y="269"/>
                    <a:pt x="703" y="293"/>
                  </a:cubicBezTo>
                  <a:cubicBezTo>
                    <a:pt x="727" y="308"/>
                    <a:pt x="727" y="316"/>
                    <a:pt x="735" y="332"/>
                  </a:cubicBezTo>
                  <a:cubicBezTo>
                    <a:pt x="743" y="340"/>
                    <a:pt x="767" y="340"/>
                    <a:pt x="759" y="364"/>
                  </a:cubicBezTo>
                  <a:cubicBezTo>
                    <a:pt x="751" y="387"/>
                    <a:pt x="735" y="380"/>
                    <a:pt x="743" y="403"/>
                  </a:cubicBezTo>
                  <a:cubicBezTo>
                    <a:pt x="743" y="427"/>
                    <a:pt x="751" y="443"/>
                    <a:pt x="759" y="458"/>
                  </a:cubicBezTo>
                  <a:cubicBezTo>
                    <a:pt x="767" y="466"/>
                    <a:pt x="767" y="498"/>
                    <a:pt x="759" y="514"/>
                  </a:cubicBezTo>
                  <a:cubicBezTo>
                    <a:pt x="751" y="538"/>
                    <a:pt x="743" y="545"/>
                    <a:pt x="727" y="553"/>
                  </a:cubicBezTo>
                  <a:cubicBezTo>
                    <a:pt x="711" y="569"/>
                    <a:pt x="703" y="585"/>
                    <a:pt x="687" y="601"/>
                  </a:cubicBezTo>
                  <a:cubicBezTo>
                    <a:pt x="672" y="617"/>
                    <a:pt x="664" y="624"/>
                    <a:pt x="672" y="648"/>
                  </a:cubicBezTo>
                  <a:cubicBezTo>
                    <a:pt x="680" y="672"/>
                    <a:pt x="680" y="680"/>
                    <a:pt x="672" y="696"/>
                  </a:cubicBezTo>
                  <a:cubicBezTo>
                    <a:pt x="664" y="711"/>
                    <a:pt x="664" y="719"/>
                    <a:pt x="664" y="743"/>
                  </a:cubicBezTo>
                  <a:cubicBezTo>
                    <a:pt x="656" y="767"/>
                    <a:pt x="656" y="767"/>
                    <a:pt x="640" y="791"/>
                  </a:cubicBezTo>
                  <a:cubicBezTo>
                    <a:pt x="616" y="814"/>
                    <a:pt x="624" y="814"/>
                    <a:pt x="577" y="830"/>
                  </a:cubicBezTo>
                  <a:cubicBezTo>
                    <a:pt x="537" y="846"/>
                    <a:pt x="553" y="870"/>
                    <a:pt x="506" y="854"/>
                  </a:cubicBezTo>
                  <a:cubicBezTo>
                    <a:pt x="458" y="838"/>
                    <a:pt x="427" y="838"/>
                    <a:pt x="443" y="814"/>
                  </a:cubicBezTo>
                  <a:cubicBezTo>
                    <a:pt x="450" y="791"/>
                    <a:pt x="474" y="783"/>
                    <a:pt x="482" y="759"/>
                  </a:cubicBezTo>
                  <a:cubicBezTo>
                    <a:pt x="498" y="735"/>
                    <a:pt x="506" y="727"/>
                    <a:pt x="506" y="751"/>
                  </a:cubicBezTo>
                  <a:cubicBezTo>
                    <a:pt x="506" y="775"/>
                    <a:pt x="482" y="798"/>
                    <a:pt x="506" y="798"/>
                  </a:cubicBezTo>
                  <a:cubicBezTo>
                    <a:pt x="529" y="798"/>
                    <a:pt x="514" y="783"/>
                    <a:pt x="529" y="767"/>
                  </a:cubicBezTo>
                  <a:cubicBezTo>
                    <a:pt x="545" y="759"/>
                    <a:pt x="537" y="735"/>
                    <a:pt x="553" y="759"/>
                  </a:cubicBezTo>
                  <a:cubicBezTo>
                    <a:pt x="561" y="775"/>
                    <a:pt x="545" y="783"/>
                    <a:pt x="569" y="791"/>
                  </a:cubicBezTo>
                  <a:cubicBezTo>
                    <a:pt x="593" y="791"/>
                    <a:pt x="608" y="759"/>
                    <a:pt x="616" y="735"/>
                  </a:cubicBezTo>
                  <a:cubicBezTo>
                    <a:pt x="616" y="704"/>
                    <a:pt x="632" y="672"/>
                    <a:pt x="616" y="664"/>
                  </a:cubicBezTo>
                  <a:cubicBezTo>
                    <a:pt x="593" y="664"/>
                    <a:pt x="577" y="656"/>
                    <a:pt x="593" y="640"/>
                  </a:cubicBezTo>
                  <a:cubicBezTo>
                    <a:pt x="616" y="624"/>
                    <a:pt x="608" y="609"/>
                    <a:pt x="624" y="593"/>
                  </a:cubicBezTo>
                  <a:cubicBezTo>
                    <a:pt x="632" y="577"/>
                    <a:pt x="664" y="585"/>
                    <a:pt x="664" y="569"/>
                  </a:cubicBezTo>
                  <a:cubicBezTo>
                    <a:pt x="664" y="545"/>
                    <a:pt x="656" y="522"/>
                    <a:pt x="640" y="522"/>
                  </a:cubicBezTo>
                  <a:cubicBezTo>
                    <a:pt x="624" y="522"/>
                    <a:pt x="624" y="530"/>
                    <a:pt x="624" y="498"/>
                  </a:cubicBezTo>
                  <a:cubicBezTo>
                    <a:pt x="616" y="466"/>
                    <a:pt x="624" y="451"/>
                    <a:pt x="616" y="427"/>
                  </a:cubicBezTo>
                  <a:cubicBezTo>
                    <a:pt x="608" y="395"/>
                    <a:pt x="593" y="380"/>
                    <a:pt x="585" y="395"/>
                  </a:cubicBezTo>
                  <a:cubicBezTo>
                    <a:pt x="569" y="411"/>
                    <a:pt x="561" y="411"/>
                    <a:pt x="545" y="387"/>
                  </a:cubicBezTo>
                  <a:cubicBezTo>
                    <a:pt x="537" y="364"/>
                    <a:pt x="521" y="348"/>
                    <a:pt x="498" y="348"/>
                  </a:cubicBezTo>
                  <a:cubicBezTo>
                    <a:pt x="474" y="348"/>
                    <a:pt x="474" y="348"/>
                    <a:pt x="419" y="324"/>
                  </a:cubicBezTo>
                  <a:cubicBezTo>
                    <a:pt x="363" y="300"/>
                    <a:pt x="174" y="269"/>
                    <a:pt x="87" y="134"/>
                  </a:cubicBezTo>
                  <a:cubicBezTo>
                    <a:pt x="87" y="134"/>
                    <a:pt x="71" y="111"/>
                    <a:pt x="71" y="127"/>
                  </a:cubicBezTo>
                  <a:cubicBezTo>
                    <a:pt x="71" y="150"/>
                    <a:pt x="79" y="142"/>
                    <a:pt x="71" y="158"/>
                  </a:cubicBezTo>
                  <a:cubicBezTo>
                    <a:pt x="63" y="174"/>
                    <a:pt x="16" y="229"/>
                    <a:pt x="23" y="277"/>
                  </a:cubicBezTo>
                  <a:cubicBezTo>
                    <a:pt x="31" y="316"/>
                    <a:pt x="55" y="332"/>
                    <a:pt x="63" y="371"/>
                  </a:cubicBezTo>
                  <a:cubicBezTo>
                    <a:pt x="71" y="411"/>
                    <a:pt x="71" y="411"/>
                    <a:pt x="63" y="451"/>
                  </a:cubicBezTo>
                  <a:cubicBezTo>
                    <a:pt x="55" y="498"/>
                    <a:pt x="63" y="561"/>
                    <a:pt x="71" y="601"/>
                  </a:cubicBezTo>
                  <a:cubicBezTo>
                    <a:pt x="79" y="640"/>
                    <a:pt x="87" y="609"/>
                    <a:pt x="79" y="648"/>
                  </a:cubicBezTo>
                  <a:cubicBezTo>
                    <a:pt x="71" y="680"/>
                    <a:pt x="71" y="704"/>
                    <a:pt x="63" y="727"/>
                  </a:cubicBezTo>
                  <a:cubicBezTo>
                    <a:pt x="55" y="751"/>
                    <a:pt x="39" y="759"/>
                    <a:pt x="47" y="775"/>
                  </a:cubicBezTo>
                  <a:cubicBezTo>
                    <a:pt x="63" y="798"/>
                    <a:pt x="63" y="775"/>
                    <a:pt x="79" y="775"/>
                  </a:cubicBezTo>
                  <a:cubicBezTo>
                    <a:pt x="87" y="783"/>
                    <a:pt x="103" y="791"/>
                    <a:pt x="110" y="798"/>
                  </a:cubicBezTo>
                  <a:cubicBezTo>
                    <a:pt x="126" y="814"/>
                    <a:pt x="142" y="814"/>
                    <a:pt x="134" y="822"/>
                  </a:cubicBezTo>
                  <a:cubicBezTo>
                    <a:pt x="118" y="830"/>
                    <a:pt x="126" y="846"/>
                    <a:pt x="94" y="846"/>
                  </a:cubicBezTo>
                  <a:cubicBezTo>
                    <a:pt x="71" y="846"/>
                    <a:pt x="55" y="814"/>
                    <a:pt x="55" y="822"/>
                  </a:cubicBezTo>
                  <a:cubicBezTo>
                    <a:pt x="55" y="838"/>
                    <a:pt x="47" y="854"/>
                    <a:pt x="55" y="885"/>
                  </a:cubicBezTo>
                  <a:cubicBezTo>
                    <a:pt x="55" y="917"/>
                    <a:pt x="23" y="933"/>
                    <a:pt x="63" y="941"/>
                  </a:cubicBezTo>
                  <a:cubicBezTo>
                    <a:pt x="103" y="941"/>
                    <a:pt x="103" y="925"/>
                    <a:pt x="110" y="941"/>
                  </a:cubicBezTo>
                  <a:cubicBezTo>
                    <a:pt x="126" y="949"/>
                    <a:pt x="126" y="957"/>
                    <a:pt x="110" y="957"/>
                  </a:cubicBezTo>
                  <a:cubicBezTo>
                    <a:pt x="94" y="957"/>
                    <a:pt x="71" y="949"/>
                    <a:pt x="71" y="964"/>
                  </a:cubicBezTo>
                  <a:cubicBezTo>
                    <a:pt x="63" y="980"/>
                    <a:pt x="63" y="988"/>
                    <a:pt x="63" y="1004"/>
                  </a:cubicBezTo>
                  <a:cubicBezTo>
                    <a:pt x="71" y="1020"/>
                    <a:pt x="55" y="1020"/>
                    <a:pt x="47" y="1035"/>
                  </a:cubicBezTo>
                  <a:cubicBezTo>
                    <a:pt x="39" y="1059"/>
                    <a:pt x="47" y="1091"/>
                    <a:pt x="31" y="1067"/>
                  </a:cubicBezTo>
                  <a:cubicBezTo>
                    <a:pt x="23" y="1044"/>
                    <a:pt x="16" y="1044"/>
                    <a:pt x="23" y="1012"/>
                  </a:cubicBezTo>
                  <a:cubicBezTo>
                    <a:pt x="31" y="972"/>
                    <a:pt x="39" y="957"/>
                    <a:pt x="23" y="972"/>
                  </a:cubicBezTo>
                  <a:cubicBezTo>
                    <a:pt x="8" y="988"/>
                    <a:pt x="0" y="1004"/>
                    <a:pt x="8" y="1028"/>
                  </a:cubicBezTo>
                  <a:cubicBezTo>
                    <a:pt x="16" y="1051"/>
                    <a:pt x="8" y="1083"/>
                    <a:pt x="16" y="1107"/>
                  </a:cubicBezTo>
                  <a:cubicBezTo>
                    <a:pt x="23" y="1123"/>
                    <a:pt x="23" y="1130"/>
                    <a:pt x="23" y="1138"/>
                  </a:cubicBezTo>
                  <a:cubicBezTo>
                    <a:pt x="63" y="1154"/>
                    <a:pt x="110" y="1170"/>
                    <a:pt x="126" y="1178"/>
                  </a:cubicBezTo>
                  <a:cubicBezTo>
                    <a:pt x="158" y="1186"/>
                    <a:pt x="150" y="1186"/>
                    <a:pt x="158" y="1225"/>
                  </a:cubicBezTo>
                  <a:cubicBezTo>
                    <a:pt x="166" y="1265"/>
                    <a:pt x="181" y="1241"/>
                    <a:pt x="213" y="1241"/>
                  </a:cubicBezTo>
                  <a:cubicBezTo>
                    <a:pt x="253" y="1241"/>
                    <a:pt x="276" y="1281"/>
                    <a:pt x="300" y="1328"/>
                  </a:cubicBezTo>
                  <a:cubicBezTo>
                    <a:pt x="332" y="1368"/>
                    <a:pt x="284" y="1447"/>
                    <a:pt x="284" y="1486"/>
                  </a:cubicBezTo>
                  <a:cubicBezTo>
                    <a:pt x="276" y="1518"/>
                    <a:pt x="276" y="1541"/>
                    <a:pt x="292" y="1557"/>
                  </a:cubicBezTo>
                  <a:cubicBezTo>
                    <a:pt x="308" y="1565"/>
                    <a:pt x="363" y="1565"/>
                    <a:pt x="395" y="1589"/>
                  </a:cubicBezTo>
                  <a:cubicBezTo>
                    <a:pt x="419" y="1613"/>
                    <a:pt x="482" y="1613"/>
                    <a:pt x="521" y="1605"/>
                  </a:cubicBezTo>
                  <a:cubicBezTo>
                    <a:pt x="561" y="1589"/>
                    <a:pt x="569" y="1565"/>
                    <a:pt x="608" y="1589"/>
                  </a:cubicBezTo>
                  <a:cubicBezTo>
                    <a:pt x="648" y="1605"/>
                    <a:pt x="656" y="1597"/>
                    <a:pt x="696" y="1597"/>
                  </a:cubicBezTo>
                  <a:cubicBezTo>
                    <a:pt x="727" y="1597"/>
                    <a:pt x="735" y="1605"/>
                    <a:pt x="751" y="1628"/>
                  </a:cubicBezTo>
                  <a:cubicBezTo>
                    <a:pt x="774" y="1652"/>
                    <a:pt x="774" y="1660"/>
                    <a:pt x="790" y="1660"/>
                  </a:cubicBezTo>
                  <a:cubicBezTo>
                    <a:pt x="806" y="1660"/>
                    <a:pt x="854" y="1652"/>
                    <a:pt x="869" y="1676"/>
                  </a:cubicBezTo>
                  <a:cubicBezTo>
                    <a:pt x="885" y="1692"/>
                    <a:pt x="940" y="1668"/>
                    <a:pt x="956" y="1660"/>
                  </a:cubicBezTo>
                  <a:cubicBezTo>
                    <a:pt x="972" y="1644"/>
                    <a:pt x="1020" y="1660"/>
                    <a:pt x="1043" y="1692"/>
                  </a:cubicBezTo>
                  <a:cubicBezTo>
                    <a:pt x="1067" y="1723"/>
                    <a:pt x="1138" y="1708"/>
                    <a:pt x="1154" y="1692"/>
                  </a:cubicBezTo>
                  <a:cubicBezTo>
                    <a:pt x="1170" y="1684"/>
                    <a:pt x="1233" y="1684"/>
                    <a:pt x="1304" y="1692"/>
                  </a:cubicBezTo>
                  <a:cubicBezTo>
                    <a:pt x="1383" y="1692"/>
                    <a:pt x="1336" y="1684"/>
                    <a:pt x="1351" y="1676"/>
                  </a:cubicBezTo>
                  <a:cubicBezTo>
                    <a:pt x="1367" y="1660"/>
                    <a:pt x="1407" y="1676"/>
                    <a:pt x="1438" y="1684"/>
                  </a:cubicBezTo>
                  <a:cubicBezTo>
                    <a:pt x="1462" y="1692"/>
                    <a:pt x="1526" y="1692"/>
                    <a:pt x="1549" y="1676"/>
                  </a:cubicBezTo>
                  <a:cubicBezTo>
                    <a:pt x="1573" y="1668"/>
                    <a:pt x="1731" y="1708"/>
                    <a:pt x="1786" y="1739"/>
                  </a:cubicBezTo>
                  <a:cubicBezTo>
                    <a:pt x="1842" y="1763"/>
                    <a:pt x="2205" y="1810"/>
                    <a:pt x="2205" y="1810"/>
                  </a:cubicBezTo>
                  <a:cubicBezTo>
                    <a:pt x="2213" y="1818"/>
                    <a:pt x="2213" y="1818"/>
                    <a:pt x="2213" y="1818"/>
                  </a:cubicBezTo>
                  <a:cubicBezTo>
                    <a:pt x="2213" y="1794"/>
                    <a:pt x="2213" y="1771"/>
                    <a:pt x="2213" y="1763"/>
                  </a:cubicBezTo>
                  <a:cubicBezTo>
                    <a:pt x="2213" y="1739"/>
                    <a:pt x="2237" y="1700"/>
                    <a:pt x="2221" y="1676"/>
                  </a:cubicBezTo>
                  <a:cubicBezTo>
                    <a:pt x="2213" y="1660"/>
                    <a:pt x="2205" y="1518"/>
                    <a:pt x="2229" y="1486"/>
                  </a:cubicBezTo>
                  <a:cubicBezTo>
                    <a:pt x="2245" y="1455"/>
                    <a:pt x="2324" y="1051"/>
                    <a:pt x="2332" y="1020"/>
                  </a:cubicBezTo>
                </a:path>
              </a:pathLst>
            </a:custGeom>
            <a:grpFill/>
            <a:ln>
              <a:solidFill>
                <a:schemeClr val="bg1">
                  <a:lumMod val="95000"/>
                </a:schemeClr>
              </a:solidFill>
            </a:ln>
            <a:effectLst/>
          </p:spPr>
          <p:txBody>
            <a:bodyPr wrap="none" anchor="ctr"/>
            <a:lstStyle/>
            <a:p>
              <a:endParaRPr lang="en-US" sz="900"/>
            </a:p>
          </p:txBody>
        </p:sp>
        <p:sp>
          <p:nvSpPr>
            <p:cNvPr id="35" name="Freeform 222"/>
            <p:cNvSpPr>
              <a:spLocks noChangeArrowheads="1"/>
            </p:cNvSpPr>
            <p:nvPr/>
          </p:nvSpPr>
          <p:spPr bwMode="auto">
            <a:xfrm>
              <a:off x="7593649" y="3116146"/>
              <a:ext cx="1294173" cy="960193"/>
            </a:xfrm>
            <a:custGeom>
              <a:avLst/>
              <a:gdLst>
                <a:gd name="T0" fmla="*/ 1486 w 2459"/>
                <a:gd name="T1" fmla="*/ 1700 h 1827"/>
                <a:gd name="T2" fmla="*/ 1304 w 2459"/>
                <a:gd name="T3" fmla="*/ 1700 h 1827"/>
                <a:gd name="T4" fmla="*/ 893 w 2459"/>
                <a:gd name="T5" fmla="*/ 1692 h 1827"/>
                <a:gd name="T6" fmla="*/ 696 w 2459"/>
                <a:gd name="T7" fmla="*/ 1605 h 1827"/>
                <a:gd name="T8" fmla="*/ 466 w 2459"/>
                <a:gd name="T9" fmla="*/ 1621 h 1827"/>
                <a:gd name="T10" fmla="*/ 292 w 2459"/>
                <a:gd name="T11" fmla="*/ 1320 h 1827"/>
                <a:gd name="T12" fmla="*/ 23 w 2459"/>
                <a:gd name="T13" fmla="*/ 1146 h 1827"/>
                <a:gd name="T14" fmla="*/ 23 w 2459"/>
                <a:gd name="T15" fmla="*/ 972 h 1827"/>
                <a:gd name="T16" fmla="*/ 39 w 2459"/>
                <a:gd name="T17" fmla="*/ 1075 h 1827"/>
                <a:gd name="T18" fmla="*/ 87 w 2459"/>
                <a:gd name="T19" fmla="*/ 957 h 1827"/>
                <a:gd name="T20" fmla="*/ 39 w 2459"/>
                <a:gd name="T21" fmla="*/ 941 h 1827"/>
                <a:gd name="T22" fmla="*/ 94 w 2459"/>
                <a:gd name="T23" fmla="*/ 846 h 1827"/>
                <a:gd name="T24" fmla="*/ 79 w 2459"/>
                <a:gd name="T25" fmla="*/ 791 h 1827"/>
                <a:gd name="T26" fmla="*/ 71 w 2459"/>
                <a:gd name="T27" fmla="*/ 656 h 1827"/>
                <a:gd name="T28" fmla="*/ 63 w 2459"/>
                <a:gd name="T29" fmla="*/ 379 h 1827"/>
                <a:gd name="T30" fmla="*/ 71 w 2459"/>
                <a:gd name="T31" fmla="*/ 126 h 1827"/>
                <a:gd name="T32" fmla="*/ 553 w 2459"/>
                <a:gd name="T33" fmla="*/ 395 h 1827"/>
                <a:gd name="T34" fmla="*/ 632 w 2459"/>
                <a:gd name="T35" fmla="*/ 522 h 1827"/>
                <a:gd name="T36" fmla="*/ 616 w 2459"/>
                <a:gd name="T37" fmla="*/ 625 h 1827"/>
                <a:gd name="T38" fmla="*/ 545 w 2459"/>
                <a:gd name="T39" fmla="*/ 783 h 1827"/>
                <a:gd name="T40" fmla="*/ 498 w 2459"/>
                <a:gd name="T41" fmla="*/ 806 h 1827"/>
                <a:gd name="T42" fmla="*/ 443 w 2459"/>
                <a:gd name="T43" fmla="*/ 830 h 1827"/>
                <a:gd name="T44" fmla="*/ 632 w 2459"/>
                <a:gd name="T45" fmla="*/ 791 h 1827"/>
                <a:gd name="T46" fmla="*/ 687 w 2459"/>
                <a:gd name="T47" fmla="*/ 609 h 1827"/>
                <a:gd name="T48" fmla="*/ 743 w 2459"/>
                <a:gd name="T49" fmla="*/ 388 h 1827"/>
                <a:gd name="T50" fmla="*/ 719 w 2459"/>
                <a:gd name="T51" fmla="*/ 277 h 1827"/>
                <a:gd name="T52" fmla="*/ 767 w 2459"/>
                <a:gd name="T53" fmla="*/ 182 h 1827"/>
                <a:gd name="T54" fmla="*/ 672 w 2459"/>
                <a:gd name="T55" fmla="*/ 16 h 1827"/>
                <a:gd name="T56" fmla="*/ 2340 w 2459"/>
                <a:gd name="T57" fmla="*/ 1028 h 1827"/>
                <a:gd name="T58" fmla="*/ 1557 w 2459"/>
                <a:gd name="T59" fmla="*/ 1684 h 1827"/>
                <a:gd name="T60" fmla="*/ 2221 w 2459"/>
                <a:gd name="T61" fmla="*/ 1684 h 1827"/>
                <a:gd name="T62" fmla="*/ 703 w 2459"/>
                <a:gd name="T63" fmla="*/ 55 h 1827"/>
                <a:gd name="T64" fmla="*/ 743 w 2459"/>
                <a:gd name="T65" fmla="*/ 269 h 1827"/>
                <a:gd name="T66" fmla="*/ 703 w 2459"/>
                <a:gd name="T67" fmla="*/ 293 h 1827"/>
                <a:gd name="T68" fmla="*/ 767 w 2459"/>
                <a:gd name="T69" fmla="*/ 459 h 1827"/>
                <a:gd name="T70" fmla="*/ 680 w 2459"/>
                <a:gd name="T71" fmla="*/ 656 h 1827"/>
                <a:gd name="T72" fmla="*/ 577 w 2459"/>
                <a:gd name="T73" fmla="*/ 846 h 1827"/>
                <a:gd name="T74" fmla="*/ 482 w 2459"/>
                <a:gd name="T75" fmla="*/ 767 h 1827"/>
                <a:gd name="T76" fmla="*/ 529 w 2459"/>
                <a:gd name="T77" fmla="*/ 775 h 1827"/>
                <a:gd name="T78" fmla="*/ 616 w 2459"/>
                <a:gd name="T79" fmla="*/ 712 h 1827"/>
                <a:gd name="T80" fmla="*/ 656 w 2459"/>
                <a:gd name="T81" fmla="*/ 577 h 1827"/>
                <a:gd name="T82" fmla="*/ 616 w 2459"/>
                <a:gd name="T83" fmla="*/ 435 h 1827"/>
                <a:gd name="T84" fmla="*/ 419 w 2459"/>
                <a:gd name="T85" fmla="*/ 340 h 1827"/>
                <a:gd name="T86" fmla="*/ 63 w 2459"/>
                <a:gd name="T87" fmla="*/ 182 h 1827"/>
                <a:gd name="T88" fmla="*/ 79 w 2459"/>
                <a:gd name="T89" fmla="*/ 609 h 1827"/>
                <a:gd name="T90" fmla="*/ 55 w 2459"/>
                <a:gd name="T91" fmla="*/ 783 h 1827"/>
                <a:gd name="T92" fmla="*/ 126 w 2459"/>
                <a:gd name="T93" fmla="*/ 814 h 1827"/>
                <a:gd name="T94" fmla="*/ 55 w 2459"/>
                <a:gd name="T95" fmla="*/ 838 h 1827"/>
                <a:gd name="T96" fmla="*/ 118 w 2459"/>
                <a:gd name="T97" fmla="*/ 941 h 1827"/>
                <a:gd name="T98" fmla="*/ 63 w 2459"/>
                <a:gd name="T99" fmla="*/ 1036 h 1827"/>
                <a:gd name="T100" fmla="*/ 23 w 2459"/>
                <a:gd name="T101" fmla="*/ 996 h 1827"/>
                <a:gd name="T102" fmla="*/ 31 w 2459"/>
                <a:gd name="T103" fmla="*/ 1138 h 1827"/>
                <a:gd name="T104" fmla="*/ 292 w 2459"/>
                <a:gd name="T105" fmla="*/ 1320 h 1827"/>
                <a:gd name="T106" fmla="*/ 466 w 2459"/>
                <a:gd name="T107" fmla="*/ 1613 h 1827"/>
                <a:gd name="T108" fmla="*/ 696 w 2459"/>
                <a:gd name="T109" fmla="*/ 1597 h 1827"/>
                <a:gd name="T110" fmla="*/ 893 w 2459"/>
                <a:gd name="T111" fmla="*/ 1684 h 1827"/>
                <a:gd name="T112" fmla="*/ 1304 w 2459"/>
                <a:gd name="T113" fmla="*/ 1692 h 1827"/>
                <a:gd name="T114" fmla="*/ 1549 w 2459"/>
                <a:gd name="T115" fmla="*/ 168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9" h="1827">
                  <a:moveTo>
                    <a:pt x="2221" y="1826"/>
                  </a:moveTo>
                  <a:lnTo>
                    <a:pt x="2221" y="1826"/>
                  </a:lnTo>
                  <a:cubicBezTo>
                    <a:pt x="2205" y="1826"/>
                    <a:pt x="2205" y="1826"/>
                    <a:pt x="2205" y="1826"/>
                  </a:cubicBezTo>
                  <a:cubicBezTo>
                    <a:pt x="2190" y="1826"/>
                    <a:pt x="1842" y="1779"/>
                    <a:pt x="1786" y="1747"/>
                  </a:cubicBezTo>
                  <a:cubicBezTo>
                    <a:pt x="1739" y="1723"/>
                    <a:pt x="1604" y="1684"/>
                    <a:pt x="1557" y="1684"/>
                  </a:cubicBezTo>
                  <a:cubicBezTo>
                    <a:pt x="1549" y="1684"/>
                    <a:pt x="1549" y="1692"/>
                    <a:pt x="1549" y="1692"/>
                  </a:cubicBezTo>
                  <a:cubicBezTo>
                    <a:pt x="1533" y="1692"/>
                    <a:pt x="1518" y="1700"/>
                    <a:pt x="1486" y="1700"/>
                  </a:cubicBezTo>
                  <a:cubicBezTo>
                    <a:pt x="1470" y="1700"/>
                    <a:pt x="1446" y="1700"/>
                    <a:pt x="1438" y="1692"/>
                  </a:cubicBezTo>
                  <a:cubicBezTo>
                    <a:pt x="1423" y="1684"/>
                    <a:pt x="1391" y="1676"/>
                    <a:pt x="1375" y="1676"/>
                  </a:cubicBezTo>
                  <a:cubicBezTo>
                    <a:pt x="1359" y="1676"/>
                    <a:pt x="1359" y="1676"/>
                    <a:pt x="1351" y="1684"/>
                  </a:cubicBezTo>
                  <a:cubicBezTo>
                    <a:pt x="1351" y="1684"/>
                    <a:pt x="1351" y="1684"/>
                    <a:pt x="1351" y="1692"/>
                  </a:cubicBezTo>
                  <a:cubicBezTo>
                    <a:pt x="1351" y="1692"/>
                    <a:pt x="1359" y="1700"/>
                    <a:pt x="1351" y="1700"/>
                  </a:cubicBezTo>
                  <a:cubicBezTo>
                    <a:pt x="1351" y="1700"/>
                    <a:pt x="1351" y="1700"/>
                    <a:pt x="1344" y="1700"/>
                  </a:cubicBezTo>
                  <a:cubicBezTo>
                    <a:pt x="1336" y="1700"/>
                    <a:pt x="1320" y="1700"/>
                    <a:pt x="1304" y="1700"/>
                  </a:cubicBezTo>
                  <a:cubicBezTo>
                    <a:pt x="1273" y="1700"/>
                    <a:pt x="1241" y="1700"/>
                    <a:pt x="1217" y="1700"/>
                  </a:cubicBezTo>
                  <a:cubicBezTo>
                    <a:pt x="1178" y="1700"/>
                    <a:pt x="1162" y="1700"/>
                    <a:pt x="1154" y="1708"/>
                  </a:cubicBezTo>
                  <a:cubicBezTo>
                    <a:pt x="1146" y="1716"/>
                    <a:pt x="1114" y="1723"/>
                    <a:pt x="1091" y="1723"/>
                  </a:cubicBezTo>
                  <a:cubicBezTo>
                    <a:pt x="1067" y="1723"/>
                    <a:pt x="1051" y="1716"/>
                    <a:pt x="1043" y="1700"/>
                  </a:cubicBezTo>
                  <a:cubicBezTo>
                    <a:pt x="1020" y="1676"/>
                    <a:pt x="988" y="1668"/>
                    <a:pt x="972" y="1668"/>
                  </a:cubicBezTo>
                  <a:cubicBezTo>
                    <a:pt x="964" y="1668"/>
                    <a:pt x="964" y="1668"/>
                    <a:pt x="956" y="1668"/>
                  </a:cubicBezTo>
                  <a:cubicBezTo>
                    <a:pt x="948" y="1676"/>
                    <a:pt x="917" y="1692"/>
                    <a:pt x="893" y="1692"/>
                  </a:cubicBezTo>
                  <a:cubicBezTo>
                    <a:pt x="877" y="1692"/>
                    <a:pt x="869" y="1684"/>
                    <a:pt x="869" y="1684"/>
                  </a:cubicBezTo>
                  <a:cubicBezTo>
                    <a:pt x="861" y="1676"/>
                    <a:pt x="846" y="1668"/>
                    <a:pt x="822" y="1668"/>
                  </a:cubicBezTo>
                  <a:cubicBezTo>
                    <a:pt x="814" y="1668"/>
                    <a:pt x="798" y="1668"/>
                    <a:pt x="790" y="1676"/>
                  </a:cubicBezTo>
                  <a:cubicBezTo>
                    <a:pt x="774" y="1676"/>
                    <a:pt x="774" y="1668"/>
                    <a:pt x="759" y="1652"/>
                  </a:cubicBezTo>
                  <a:cubicBezTo>
                    <a:pt x="759" y="1644"/>
                    <a:pt x="751" y="1644"/>
                    <a:pt x="751" y="1636"/>
                  </a:cubicBezTo>
                  <a:cubicBezTo>
                    <a:pt x="743" y="1636"/>
                    <a:pt x="743" y="1636"/>
                    <a:pt x="743" y="1636"/>
                  </a:cubicBezTo>
                  <a:cubicBezTo>
                    <a:pt x="727" y="1613"/>
                    <a:pt x="719" y="1605"/>
                    <a:pt x="696" y="1605"/>
                  </a:cubicBezTo>
                  <a:cubicBezTo>
                    <a:pt x="680" y="1605"/>
                    <a:pt x="672" y="1605"/>
                    <a:pt x="664" y="1605"/>
                  </a:cubicBezTo>
                  <a:cubicBezTo>
                    <a:pt x="664" y="1605"/>
                    <a:pt x="656" y="1613"/>
                    <a:pt x="648" y="1613"/>
                  </a:cubicBezTo>
                  <a:cubicBezTo>
                    <a:pt x="632" y="1613"/>
                    <a:pt x="624" y="1605"/>
                    <a:pt x="608" y="1597"/>
                  </a:cubicBezTo>
                  <a:cubicBezTo>
                    <a:pt x="593" y="1597"/>
                    <a:pt x="585" y="1589"/>
                    <a:pt x="577" y="1589"/>
                  </a:cubicBezTo>
                  <a:cubicBezTo>
                    <a:pt x="569" y="1589"/>
                    <a:pt x="561" y="1597"/>
                    <a:pt x="553" y="1597"/>
                  </a:cubicBezTo>
                  <a:cubicBezTo>
                    <a:pt x="545" y="1605"/>
                    <a:pt x="537" y="1605"/>
                    <a:pt x="521" y="1613"/>
                  </a:cubicBezTo>
                  <a:cubicBezTo>
                    <a:pt x="506" y="1621"/>
                    <a:pt x="490" y="1621"/>
                    <a:pt x="466" y="1621"/>
                  </a:cubicBezTo>
                  <a:cubicBezTo>
                    <a:pt x="434" y="1621"/>
                    <a:pt x="403" y="1613"/>
                    <a:pt x="387" y="1597"/>
                  </a:cubicBezTo>
                  <a:cubicBezTo>
                    <a:pt x="371" y="1581"/>
                    <a:pt x="348" y="1581"/>
                    <a:pt x="324" y="1573"/>
                  </a:cubicBezTo>
                  <a:cubicBezTo>
                    <a:pt x="308" y="1573"/>
                    <a:pt x="300" y="1573"/>
                    <a:pt x="292" y="1565"/>
                  </a:cubicBezTo>
                  <a:cubicBezTo>
                    <a:pt x="276" y="1549"/>
                    <a:pt x="268" y="1526"/>
                    <a:pt x="276" y="1494"/>
                  </a:cubicBezTo>
                  <a:cubicBezTo>
                    <a:pt x="276" y="1478"/>
                    <a:pt x="284" y="1463"/>
                    <a:pt x="292" y="1455"/>
                  </a:cubicBezTo>
                  <a:cubicBezTo>
                    <a:pt x="300" y="1415"/>
                    <a:pt x="316" y="1368"/>
                    <a:pt x="300" y="1336"/>
                  </a:cubicBezTo>
                  <a:cubicBezTo>
                    <a:pt x="292" y="1328"/>
                    <a:pt x="292" y="1328"/>
                    <a:pt x="292" y="1320"/>
                  </a:cubicBezTo>
                  <a:cubicBezTo>
                    <a:pt x="268" y="1281"/>
                    <a:pt x="245" y="1249"/>
                    <a:pt x="213" y="1249"/>
                  </a:cubicBezTo>
                  <a:cubicBezTo>
                    <a:pt x="205" y="1249"/>
                    <a:pt x="197" y="1257"/>
                    <a:pt x="190" y="1257"/>
                  </a:cubicBezTo>
                  <a:cubicBezTo>
                    <a:pt x="181" y="1257"/>
                    <a:pt x="181" y="1257"/>
                    <a:pt x="174" y="1257"/>
                  </a:cubicBezTo>
                  <a:cubicBezTo>
                    <a:pt x="166" y="1257"/>
                    <a:pt x="158" y="1249"/>
                    <a:pt x="158" y="1233"/>
                  </a:cubicBezTo>
                  <a:cubicBezTo>
                    <a:pt x="158" y="1233"/>
                    <a:pt x="158" y="1225"/>
                    <a:pt x="150" y="1225"/>
                  </a:cubicBezTo>
                  <a:cubicBezTo>
                    <a:pt x="150" y="1194"/>
                    <a:pt x="150" y="1194"/>
                    <a:pt x="126" y="1186"/>
                  </a:cubicBezTo>
                  <a:cubicBezTo>
                    <a:pt x="110" y="1178"/>
                    <a:pt x="63" y="1162"/>
                    <a:pt x="23" y="1146"/>
                  </a:cubicBezTo>
                  <a:lnTo>
                    <a:pt x="23" y="1146"/>
                  </a:lnTo>
                  <a:lnTo>
                    <a:pt x="23" y="1146"/>
                  </a:lnTo>
                  <a:cubicBezTo>
                    <a:pt x="23" y="1138"/>
                    <a:pt x="23" y="1138"/>
                    <a:pt x="16" y="1131"/>
                  </a:cubicBezTo>
                  <a:cubicBezTo>
                    <a:pt x="16" y="1131"/>
                    <a:pt x="16" y="1123"/>
                    <a:pt x="16" y="1115"/>
                  </a:cubicBezTo>
                  <a:cubicBezTo>
                    <a:pt x="8" y="1099"/>
                    <a:pt x="8" y="1083"/>
                    <a:pt x="8" y="1067"/>
                  </a:cubicBezTo>
                  <a:cubicBezTo>
                    <a:pt x="8" y="1059"/>
                    <a:pt x="8" y="1043"/>
                    <a:pt x="8" y="1036"/>
                  </a:cubicBezTo>
                  <a:cubicBezTo>
                    <a:pt x="0" y="1012"/>
                    <a:pt x="8" y="988"/>
                    <a:pt x="23" y="972"/>
                  </a:cubicBezTo>
                  <a:cubicBezTo>
                    <a:pt x="23" y="972"/>
                    <a:pt x="23" y="965"/>
                    <a:pt x="31" y="965"/>
                  </a:cubicBezTo>
                  <a:lnTo>
                    <a:pt x="31" y="972"/>
                  </a:lnTo>
                  <a:cubicBezTo>
                    <a:pt x="39" y="972"/>
                    <a:pt x="31" y="980"/>
                    <a:pt x="31" y="996"/>
                  </a:cubicBezTo>
                  <a:cubicBezTo>
                    <a:pt x="31" y="1004"/>
                    <a:pt x="31" y="1012"/>
                    <a:pt x="23" y="1020"/>
                  </a:cubicBezTo>
                  <a:cubicBezTo>
                    <a:pt x="23" y="1052"/>
                    <a:pt x="23" y="1052"/>
                    <a:pt x="31" y="1067"/>
                  </a:cubicBezTo>
                  <a:cubicBezTo>
                    <a:pt x="39" y="1075"/>
                    <a:pt x="39" y="1075"/>
                    <a:pt x="39" y="1075"/>
                  </a:cubicBezTo>
                  <a:lnTo>
                    <a:pt x="39" y="1075"/>
                  </a:lnTo>
                  <a:cubicBezTo>
                    <a:pt x="39" y="1075"/>
                    <a:pt x="39" y="1075"/>
                    <a:pt x="39" y="1067"/>
                  </a:cubicBezTo>
                  <a:cubicBezTo>
                    <a:pt x="39" y="1059"/>
                    <a:pt x="39" y="1052"/>
                    <a:pt x="39" y="1043"/>
                  </a:cubicBezTo>
                  <a:cubicBezTo>
                    <a:pt x="47" y="1036"/>
                    <a:pt x="47" y="1036"/>
                    <a:pt x="55" y="1028"/>
                  </a:cubicBezTo>
                  <a:cubicBezTo>
                    <a:pt x="63" y="1028"/>
                    <a:pt x="63" y="1020"/>
                    <a:pt x="63" y="1012"/>
                  </a:cubicBezTo>
                  <a:cubicBezTo>
                    <a:pt x="63" y="996"/>
                    <a:pt x="63" y="988"/>
                    <a:pt x="63" y="972"/>
                  </a:cubicBezTo>
                  <a:cubicBezTo>
                    <a:pt x="63" y="965"/>
                    <a:pt x="71" y="957"/>
                    <a:pt x="79" y="957"/>
                  </a:cubicBezTo>
                  <a:lnTo>
                    <a:pt x="87" y="957"/>
                  </a:lnTo>
                  <a:cubicBezTo>
                    <a:pt x="94" y="965"/>
                    <a:pt x="103" y="965"/>
                    <a:pt x="103" y="965"/>
                  </a:cubicBezTo>
                  <a:cubicBezTo>
                    <a:pt x="118" y="957"/>
                    <a:pt x="118" y="957"/>
                    <a:pt x="118" y="957"/>
                  </a:cubicBezTo>
                  <a:cubicBezTo>
                    <a:pt x="118" y="957"/>
                    <a:pt x="118" y="957"/>
                    <a:pt x="110" y="949"/>
                  </a:cubicBezTo>
                  <a:cubicBezTo>
                    <a:pt x="110" y="941"/>
                    <a:pt x="110" y="941"/>
                    <a:pt x="103" y="941"/>
                  </a:cubicBezTo>
                  <a:lnTo>
                    <a:pt x="103" y="949"/>
                  </a:lnTo>
                  <a:cubicBezTo>
                    <a:pt x="94" y="949"/>
                    <a:pt x="79" y="949"/>
                    <a:pt x="63" y="949"/>
                  </a:cubicBezTo>
                  <a:cubicBezTo>
                    <a:pt x="55" y="949"/>
                    <a:pt x="47" y="949"/>
                    <a:pt x="39" y="941"/>
                  </a:cubicBezTo>
                  <a:cubicBezTo>
                    <a:pt x="39" y="933"/>
                    <a:pt x="39" y="933"/>
                    <a:pt x="47" y="925"/>
                  </a:cubicBezTo>
                  <a:cubicBezTo>
                    <a:pt x="47" y="917"/>
                    <a:pt x="47" y="901"/>
                    <a:pt x="47" y="893"/>
                  </a:cubicBezTo>
                  <a:cubicBezTo>
                    <a:pt x="47" y="862"/>
                    <a:pt x="47" y="854"/>
                    <a:pt x="47" y="838"/>
                  </a:cubicBezTo>
                  <a:cubicBezTo>
                    <a:pt x="47" y="830"/>
                    <a:pt x="47" y="830"/>
                    <a:pt x="47" y="830"/>
                  </a:cubicBezTo>
                  <a:cubicBezTo>
                    <a:pt x="55" y="830"/>
                    <a:pt x="55" y="830"/>
                    <a:pt x="55" y="830"/>
                  </a:cubicBezTo>
                  <a:cubicBezTo>
                    <a:pt x="63" y="830"/>
                    <a:pt x="63" y="830"/>
                    <a:pt x="63" y="830"/>
                  </a:cubicBezTo>
                  <a:cubicBezTo>
                    <a:pt x="71" y="838"/>
                    <a:pt x="79" y="846"/>
                    <a:pt x="94" y="846"/>
                  </a:cubicBezTo>
                  <a:cubicBezTo>
                    <a:pt x="110" y="846"/>
                    <a:pt x="110" y="846"/>
                    <a:pt x="118" y="838"/>
                  </a:cubicBezTo>
                  <a:lnTo>
                    <a:pt x="126" y="830"/>
                  </a:lnTo>
                  <a:cubicBezTo>
                    <a:pt x="134" y="830"/>
                    <a:pt x="134" y="830"/>
                    <a:pt x="134" y="830"/>
                  </a:cubicBezTo>
                  <a:cubicBezTo>
                    <a:pt x="134" y="822"/>
                    <a:pt x="126" y="822"/>
                    <a:pt x="126" y="822"/>
                  </a:cubicBezTo>
                  <a:cubicBezTo>
                    <a:pt x="118" y="822"/>
                    <a:pt x="110" y="814"/>
                    <a:pt x="110" y="814"/>
                  </a:cubicBezTo>
                  <a:cubicBezTo>
                    <a:pt x="103" y="806"/>
                    <a:pt x="94" y="799"/>
                    <a:pt x="87" y="791"/>
                  </a:cubicBezTo>
                  <a:cubicBezTo>
                    <a:pt x="79" y="791"/>
                    <a:pt x="79" y="791"/>
                    <a:pt x="79" y="791"/>
                  </a:cubicBezTo>
                  <a:cubicBezTo>
                    <a:pt x="71" y="791"/>
                    <a:pt x="71" y="791"/>
                    <a:pt x="63" y="791"/>
                  </a:cubicBezTo>
                  <a:cubicBezTo>
                    <a:pt x="63" y="791"/>
                    <a:pt x="63" y="799"/>
                    <a:pt x="55" y="799"/>
                  </a:cubicBezTo>
                  <a:lnTo>
                    <a:pt x="47" y="791"/>
                  </a:lnTo>
                  <a:cubicBezTo>
                    <a:pt x="39" y="775"/>
                    <a:pt x="39" y="767"/>
                    <a:pt x="47" y="751"/>
                  </a:cubicBezTo>
                  <a:cubicBezTo>
                    <a:pt x="55" y="751"/>
                    <a:pt x="55" y="743"/>
                    <a:pt x="55" y="735"/>
                  </a:cubicBezTo>
                  <a:cubicBezTo>
                    <a:pt x="63" y="719"/>
                    <a:pt x="63" y="704"/>
                    <a:pt x="63" y="696"/>
                  </a:cubicBezTo>
                  <a:cubicBezTo>
                    <a:pt x="71" y="680"/>
                    <a:pt x="71" y="672"/>
                    <a:pt x="71" y="656"/>
                  </a:cubicBezTo>
                  <a:cubicBezTo>
                    <a:pt x="71" y="648"/>
                    <a:pt x="71" y="648"/>
                    <a:pt x="71" y="648"/>
                  </a:cubicBezTo>
                  <a:cubicBezTo>
                    <a:pt x="79" y="632"/>
                    <a:pt x="79" y="632"/>
                    <a:pt x="79" y="632"/>
                  </a:cubicBezTo>
                  <a:cubicBezTo>
                    <a:pt x="71" y="632"/>
                    <a:pt x="71" y="625"/>
                    <a:pt x="71" y="609"/>
                  </a:cubicBezTo>
                  <a:cubicBezTo>
                    <a:pt x="71" y="601"/>
                    <a:pt x="71" y="601"/>
                    <a:pt x="71" y="601"/>
                  </a:cubicBezTo>
                  <a:cubicBezTo>
                    <a:pt x="63" y="561"/>
                    <a:pt x="55" y="506"/>
                    <a:pt x="63" y="459"/>
                  </a:cubicBezTo>
                  <a:cubicBezTo>
                    <a:pt x="63" y="451"/>
                    <a:pt x="63" y="443"/>
                    <a:pt x="63" y="443"/>
                  </a:cubicBezTo>
                  <a:cubicBezTo>
                    <a:pt x="63" y="411"/>
                    <a:pt x="63" y="411"/>
                    <a:pt x="63" y="379"/>
                  </a:cubicBezTo>
                  <a:cubicBezTo>
                    <a:pt x="55" y="364"/>
                    <a:pt x="47" y="348"/>
                    <a:pt x="39" y="340"/>
                  </a:cubicBezTo>
                  <a:cubicBezTo>
                    <a:pt x="31" y="324"/>
                    <a:pt x="23" y="308"/>
                    <a:pt x="23" y="285"/>
                  </a:cubicBezTo>
                  <a:cubicBezTo>
                    <a:pt x="16" y="245"/>
                    <a:pt x="47" y="198"/>
                    <a:pt x="55" y="174"/>
                  </a:cubicBezTo>
                  <a:cubicBezTo>
                    <a:pt x="63" y="174"/>
                    <a:pt x="63" y="166"/>
                    <a:pt x="63" y="166"/>
                  </a:cubicBezTo>
                  <a:cubicBezTo>
                    <a:pt x="71" y="158"/>
                    <a:pt x="71" y="158"/>
                    <a:pt x="71" y="150"/>
                  </a:cubicBezTo>
                  <a:cubicBezTo>
                    <a:pt x="71" y="150"/>
                    <a:pt x="71" y="150"/>
                    <a:pt x="63" y="135"/>
                  </a:cubicBezTo>
                  <a:lnTo>
                    <a:pt x="71" y="126"/>
                  </a:lnTo>
                  <a:lnTo>
                    <a:pt x="71" y="126"/>
                  </a:lnTo>
                  <a:cubicBezTo>
                    <a:pt x="79" y="126"/>
                    <a:pt x="87" y="135"/>
                    <a:pt x="87" y="135"/>
                  </a:cubicBezTo>
                  <a:cubicBezTo>
                    <a:pt x="158" y="245"/>
                    <a:pt x="300" y="293"/>
                    <a:pt x="379" y="316"/>
                  </a:cubicBezTo>
                  <a:cubicBezTo>
                    <a:pt x="395" y="324"/>
                    <a:pt x="411" y="324"/>
                    <a:pt x="419" y="332"/>
                  </a:cubicBezTo>
                  <a:cubicBezTo>
                    <a:pt x="434" y="332"/>
                    <a:pt x="443" y="340"/>
                    <a:pt x="450" y="340"/>
                  </a:cubicBezTo>
                  <a:cubicBezTo>
                    <a:pt x="474" y="356"/>
                    <a:pt x="474" y="356"/>
                    <a:pt x="498" y="356"/>
                  </a:cubicBezTo>
                  <a:cubicBezTo>
                    <a:pt x="529" y="356"/>
                    <a:pt x="537" y="372"/>
                    <a:pt x="553" y="395"/>
                  </a:cubicBezTo>
                  <a:cubicBezTo>
                    <a:pt x="553" y="403"/>
                    <a:pt x="561" y="411"/>
                    <a:pt x="569" y="411"/>
                  </a:cubicBezTo>
                  <a:lnTo>
                    <a:pt x="577" y="403"/>
                  </a:lnTo>
                  <a:cubicBezTo>
                    <a:pt x="577" y="395"/>
                    <a:pt x="585" y="395"/>
                    <a:pt x="593" y="395"/>
                  </a:cubicBezTo>
                  <a:cubicBezTo>
                    <a:pt x="601" y="395"/>
                    <a:pt x="616" y="411"/>
                    <a:pt x="616" y="435"/>
                  </a:cubicBezTo>
                  <a:cubicBezTo>
                    <a:pt x="624" y="443"/>
                    <a:pt x="624" y="451"/>
                    <a:pt x="624" y="466"/>
                  </a:cubicBezTo>
                  <a:cubicBezTo>
                    <a:pt x="624" y="474"/>
                    <a:pt x="624" y="490"/>
                    <a:pt x="624" y="506"/>
                  </a:cubicBezTo>
                  <a:cubicBezTo>
                    <a:pt x="624" y="514"/>
                    <a:pt x="624" y="522"/>
                    <a:pt x="632" y="522"/>
                  </a:cubicBezTo>
                  <a:lnTo>
                    <a:pt x="632" y="522"/>
                  </a:lnTo>
                  <a:cubicBezTo>
                    <a:pt x="632" y="522"/>
                    <a:pt x="632" y="522"/>
                    <a:pt x="640" y="522"/>
                  </a:cubicBezTo>
                  <a:cubicBezTo>
                    <a:pt x="648" y="522"/>
                    <a:pt x="648" y="522"/>
                    <a:pt x="656" y="530"/>
                  </a:cubicBezTo>
                  <a:cubicBezTo>
                    <a:pt x="664" y="538"/>
                    <a:pt x="664" y="561"/>
                    <a:pt x="664" y="577"/>
                  </a:cubicBezTo>
                  <a:cubicBezTo>
                    <a:pt x="664" y="585"/>
                    <a:pt x="656" y="593"/>
                    <a:pt x="640" y="593"/>
                  </a:cubicBezTo>
                  <a:cubicBezTo>
                    <a:pt x="640" y="593"/>
                    <a:pt x="632" y="601"/>
                    <a:pt x="624" y="601"/>
                  </a:cubicBezTo>
                  <a:cubicBezTo>
                    <a:pt x="616" y="609"/>
                    <a:pt x="616" y="617"/>
                    <a:pt x="616" y="625"/>
                  </a:cubicBezTo>
                  <a:cubicBezTo>
                    <a:pt x="608" y="632"/>
                    <a:pt x="608" y="641"/>
                    <a:pt x="593" y="648"/>
                  </a:cubicBezTo>
                  <a:cubicBezTo>
                    <a:pt x="593" y="656"/>
                    <a:pt x="593" y="656"/>
                    <a:pt x="593" y="656"/>
                  </a:cubicBezTo>
                  <a:cubicBezTo>
                    <a:pt x="593" y="664"/>
                    <a:pt x="608" y="672"/>
                    <a:pt x="616" y="672"/>
                  </a:cubicBezTo>
                  <a:cubicBezTo>
                    <a:pt x="632" y="680"/>
                    <a:pt x="624" y="696"/>
                    <a:pt x="624" y="712"/>
                  </a:cubicBezTo>
                  <a:cubicBezTo>
                    <a:pt x="616" y="719"/>
                    <a:pt x="616" y="735"/>
                    <a:pt x="616" y="743"/>
                  </a:cubicBezTo>
                  <a:cubicBezTo>
                    <a:pt x="616" y="767"/>
                    <a:pt x="593" y="806"/>
                    <a:pt x="569" y="799"/>
                  </a:cubicBezTo>
                  <a:cubicBezTo>
                    <a:pt x="553" y="799"/>
                    <a:pt x="545" y="791"/>
                    <a:pt x="545" y="783"/>
                  </a:cubicBezTo>
                  <a:cubicBezTo>
                    <a:pt x="545" y="775"/>
                    <a:pt x="553" y="775"/>
                    <a:pt x="545" y="767"/>
                  </a:cubicBezTo>
                  <a:lnTo>
                    <a:pt x="545" y="759"/>
                  </a:lnTo>
                  <a:cubicBezTo>
                    <a:pt x="545" y="767"/>
                    <a:pt x="545" y="767"/>
                    <a:pt x="545" y="767"/>
                  </a:cubicBezTo>
                  <a:cubicBezTo>
                    <a:pt x="537" y="767"/>
                    <a:pt x="537" y="775"/>
                    <a:pt x="529" y="783"/>
                  </a:cubicBezTo>
                  <a:lnTo>
                    <a:pt x="521" y="791"/>
                  </a:lnTo>
                  <a:cubicBezTo>
                    <a:pt x="521" y="799"/>
                    <a:pt x="521" y="814"/>
                    <a:pt x="506" y="814"/>
                  </a:cubicBezTo>
                  <a:cubicBezTo>
                    <a:pt x="498" y="814"/>
                    <a:pt x="498" y="806"/>
                    <a:pt x="498" y="806"/>
                  </a:cubicBezTo>
                  <a:cubicBezTo>
                    <a:pt x="490" y="799"/>
                    <a:pt x="498" y="791"/>
                    <a:pt x="498" y="783"/>
                  </a:cubicBezTo>
                  <a:cubicBezTo>
                    <a:pt x="498" y="775"/>
                    <a:pt x="506" y="767"/>
                    <a:pt x="506" y="759"/>
                  </a:cubicBezTo>
                  <a:cubicBezTo>
                    <a:pt x="506" y="751"/>
                    <a:pt x="506" y="751"/>
                    <a:pt x="506" y="751"/>
                  </a:cubicBezTo>
                  <a:cubicBezTo>
                    <a:pt x="498" y="751"/>
                    <a:pt x="498" y="751"/>
                    <a:pt x="490" y="767"/>
                  </a:cubicBezTo>
                  <a:cubicBezTo>
                    <a:pt x="482" y="783"/>
                    <a:pt x="474" y="791"/>
                    <a:pt x="466" y="799"/>
                  </a:cubicBezTo>
                  <a:cubicBezTo>
                    <a:pt x="458" y="806"/>
                    <a:pt x="450" y="814"/>
                    <a:pt x="443" y="822"/>
                  </a:cubicBezTo>
                  <a:lnTo>
                    <a:pt x="443" y="830"/>
                  </a:lnTo>
                  <a:cubicBezTo>
                    <a:pt x="443" y="838"/>
                    <a:pt x="458" y="846"/>
                    <a:pt x="482" y="854"/>
                  </a:cubicBezTo>
                  <a:cubicBezTo>
                    <a:pt x="490" y="854"/>
                    <a:pt x="498" y="854"/>
                    <a:pt x="506" y="862"/>
                  </a:cubicBezTo>
                  <a:cubicBezTo>
                    <a:pt x="521" y="862"/>
                    <a:pt x="529" y="862"/>
                    <a:pt x="537" y="862"/>
                  </a:cubicBezTo>
                  <a:cubicBezTo>
                    <a:pt x="537" y="862"/>
                    <a:pt x="545" y="862"/>
                    <a:pt x="545" y="854"/>
                  </a:cubicBezTo>
                  <a:cubicBezTo>
                    <a:pt x="553" y="854"/>
                    <a:pt x="561" y="846"/>
                    <a:pt x="577" y="838"/>
                  </a:cubicBezTo>
                  <a:cubicBezTo>
                    <a:pt x="608" y="830"/>
                    <a:pt x="616" y="822"/>
                    <a:pt x="624" y="806"/>
                  </a:cubicBezTo>
                  <a:cubicBezTo>
                    <a:pt x="624" y="806"/>
                    <a:pt x="632" y="799"/>
                    <a:pt x="632" y="791"/>
                  </a:cubicBezTo>
                  <a:cubicBezTo>
                    <a:pt x="656" y="775"/>
                    <a:pt x="656" y="775"/>
                    <a:pt x="656" y="759"/>
                  </a:cubicBezTo>
                  <a:lnTo>
                    <a:pt x="656" y="751"/>
                  </a:lnTo>
                  <a:lnTo>
                    <a:pt x="656" y="743"/>
                  </a:lnTo>
                  <a:cubicBezTo>
                    <a:pt x="664" y="727"/>
                    <a:pt x="664" y="719"/>
                    <a:pt x="672" y="704"/>
                  </a:cubicBezTo>
                  <a:cubicBezTo>
                    <a:pt x="680" y="688"/>
                    <a:pt x="680" y="688"/>
                    <a:pt x="672" y="656"/>
                  </a:cubicBezTo>
                  <a:cubicBezTo>
                    <a:pt x="664" y="632"/>
                    <a:pt x="672" y="625"/>
                    <a:pt x="680" y="617"/>
                  </a:cubicBezTo>
                  <a:cubicBezTo>
                    <a:pt x="680" y="609"/>
                    <a:pt x="680" y="609"/>
                    <a:pt x="687" y="609"/>
                  </a:cubicBezTo>
                  <a:cubicBezTo>
                    <a:pt x="687" y="601"/>
                    <a:pt x="687" y="601"/>
                    <a:pt x="696" y="593"/>
                  </a:cubicBezTo>
                  <a:cubicBezTo>
                    <a:pt x="703" y="585"/>
                    <a:pt x="711" y="569"/>
                    <a:pt x="727" y="561"/>
                  </a:cubicBezTo>
                  <a:cubicBezTo>
                    <a:pt x="743" y="553"/>
                    <a:pt x="743" y="546"/>
                    <a:pt x="751" y="530"/>
                  </a:cubicBezTo>
                  <a:cubicBezTo>
                    <a:pt x="751" y="522"/>
                    <a:pt x="751" y="522"/>
                    <a:pt x="751" y="522"/>
                  </a:cubicBezTo>
                  <a:cubicBezTo>
                    <a:pt x="767" y="498"/>
                    <a:pt x="767" y="474"/>
                    <a:pt x="759" y="466"/>
                  </a:cubicBezTo>
                  <a:cubicBezTo>
                    <a:pt x="751" y="459"/>
                    <a:pt x="743" y="435"/>
                    <a:pt x="735" y="411"/>
                  </a:cubicBezTo>
                  <a:cubicBezTo>
                    <a:pt x="735" y="395"/>
                    <a:pt x="743" y="395"/>
                    <a:pt x="743" y="388"/>
                  </a:cubicBezTo>
                  <a:cubicBezTo>
                    <a:pt x="751" y="388"/>
                    <a:pt x="751" y="379"/>
                    <a:pt x="759" y="372"/>
                  </a:cubicBezTo>
                  <a:cubicBezTo>
                    <a:pt x="759" y="364"/>
                    <a:pt x="751" y="356"/>
                    <a:pt x="743" y="348"/>
                  </a:cubicBezTo>
                  <a:cubicBezTo>
                    <a:pt x="735" y="348"/>
                    <a:pt x="735" y="348"/>
                    <a:pt x="727" y="340"/>
                  </a:cubicBezTo>
                  <a:lnTo>
                    <a:pt x="727" y="332"/>
                  </a:lnTo>
                  <a:cubicBezTo>
                    <a:pt x="719" y="324"/>
                    <a:pt x="719" y="316"/>
                    <a:pt x="703" y="301"/>
                  </a:cubicBezTo>
                  <a:cubicBezTo>
                    <a:pt x="696" y="301"/>
                    <a:pt x="687" y="293"/>
                    <a:pt x="696" y="285"/>
                  </a:cubicBezTo>
                  <a:cubicBezTo>
                    <a:pt x="696" y="277"/>
                    <a:pt x="703" y="277"/>
                    <a:pt x="719" y="277"/>
                  </a:cubicBezTo>
                  <a:cubicBezTo>
                    <a:pt x="727" y="277"/>
                    <a:pt x="727" y="277"/>
                    <a:pt x="727" y="277"/>
                  </a:cubicBezTo>
                  <a:cubicBezTo>
                    <a:pt x="727" y="277"/>
                    <a:pt x="727" y="277"/>
                    <a:pt x="735" y="277"/>
                  </a:cubicBezTo>
                  <a:lnTo>
                    <a:pt x="735" y="277"/>
                  </a:lnTo>
                  <a:lnTo>
                    <a:pt x="735" y="277"/>
                  </a:lnTo>
                  <a:cubicBezTo>
                    <a:pt x="735" y="277"/>
                    <a:pt x="735" y="277"/>
                    <a:pt x="735" y="269"/>
                  </a:cubicBezTo>
                  <a:cubicBezTo>
                    <a:pt x="735" y="253"/>
                    <a:pt x="743" y="245"/>
                    <a:pt x="743" y="237"/>
                  </a:cubicBezTo>
                  <a:cubicBezTo>
                    <a:pt x="759" y="221"/>
                    <a:pt x="759" y="206"/>
                    <a:pt x="767" y="182"/>
                  </a:cubicBezTo>
                  <a:cubicBezTo>
                    <a:pt x="767" y="166"/>
                    <a:pt x="767" y="158"/>
                    <a:pt x="759" y="150"/>
                  </a:cubicBezTo>
                  <a:cubicBezTo>
                    <a:pt x="759" y="142"/>
                    <a:pt x="759" y="142"/>
                    <a:pt x="759" y="135"/>
                  </a:cubicBezTo>
                  <a:cubicBezTo>
                    <a:pt x="751" y="126"/>
                    <a:pt x="743" y="126"/>
                    <a:pt x="735" y="119"/>
                  </a:cubicBezTo>
                  <a:cubicBezTo>
                    <a:pt x="727" y="119"/>
                    <a:pt x="719" y="111"/>
                    <a:pt x="711" y="103"/>
                  </a:cubicBezTo>
                  <a:cubicBezTo>
                    <a:pt x="696" y="87"/>
                    <a:pt x="696" y="71"/>
                    <a:pt x="696" y="55"/>
                  </a:cubicBezTo>
                  <a:cubicBezTo>
                    <a:pt x="696" y="48"/>
                    <a:pt x="696" y="39"/>
                    <a:pt x="696" y="32"/>
                  </a:cubicBezTo>
                  <a:cubicBezTo>
                    <a:pt x="687" y="16"/>
                    <a:pt x="680" y="16"/>
                    <a:pt x="672" y="16"/>
                  </a:cubicBezTo>
                  <a:cubicBezTo>
                    <a:pt x="672" y="16"/>
                    <a:pt x="664" y="16"/>
                    <a:pt x="656" y="8"/>
                  </a:cubicBezTo>
                  <a:cubicBezTo>
                    <a:pt x="640" y="0"/>
                    <a:pt x="640" y="0"/>
                    <a:pt x="640" y="0"/>
                  </a:cubicBezTo>
                  <a:cubicBezTo>
                    <a:pt x="656" y="0"/>
                    <a:pt x="656" y="0"/>
                    <a:pt x="656" y="0"/>
                  </a:cubicBezTo>
                  <a:cubicBezTo>
                    <a:pt x="664" y="8"/>
                    <a:pt x="1367" y="206"/>
                    <a:pt x="2450" y="427"/>
                  </a:cubicBezTo>
                  <a:cubicBezTo>
                    <a:pt x="2458" y="435"/>
                    <a:pt x="2458" y="435"/>
                    <a:pt x="2458" y="435"/>
                  </a:cubicBezTo>
                  <a:cubicBezTo>
                    <a:pt x="2450" y="435"/>
                    <a:pt x="2450" y="435"/>
                    <a:pt x="2450" y="435"/>
                  </a:cubicBezTo>
                  <a:cubicBezTo>
                    <a:pt x="2427" y="569"/>
                    <a:pt x="2348" y="1004"/>
                    <a:pt x="2340" y="1028"/>
                  </a:cubicBezTo>
                  <a:cubicBezTo>
                    <a:pt x="2340" y="1036"/>
                    <a:pt x="2324" y="1083"/>
                    <a:pt x="2316" y="1138"/>
                  </a:cubicBezTo>
                  <a:cubicBezTo>
                    <a:pt x="2284" y="1273"/>
                    <a:pt x="2245" y="1471"/>
                    <a:pt x="2229" y="1494"/>
                  </a:cubicBezTo>
                  <a:cubicBezTo>
                    <a:pt x="2213" y="1526"/>
                    <a:pt x="2213" y="1660"/>
                    <a:pt x="2229" y="1684"/>
                  </a:cubicBezTo>
                  <a:cubicBezTo>
                    <a:pt x="2237" y="1700"/>
                    <a:pt x="2229" y="1723"/>
                    <a:pt x="2221" y="1747"/>
                  </a:cubicBezTo>
                  <a:cubicBezTo>
                    <a:pt x="2221" y="1755"/>
                    <a:pt x="2221" y="1763"/>
                    <a:pt x="2221" y="1771"/>
                  </a:cubicBezTo>
                  <a:cubicBezTo>
                    <a:pt x="2213" y="1779"/>
                    <a:pt x="2213" y="1795"/>
                    <a:pt x="2221" y="1826"/>
                  </a:cubicBezTo>
                  <a:close/>
                  <a:moveTo>
                    <a:pt x="1557" y="1684"/>
                  </a:moveTo>
                  <a:lnTo>
                    <a:pt x="1557" y="1684"/>
                  </a:lnTo>
                  <a:cubicBezTo>
                    <a:pt x="1604" y="1684"/>
                    <a:pt x="1739" y="1716"/>
                    <a:pt x="1786" y="1739"/>
                  </a:cubicBezTo>
                  <a:cubicBezTo>
                    <a:pt x="1842" y="1771"/>
                    <a:pt x="2197" y="1818"/>
                    <a:pt x="2205" y="1818"/>
                  </a:cubicBezTo>
                  <a:cubicBezTo>
                    <a:pt x="2213" y="1818"/>
                    <a:pt x="2213" y="1818"/>
                    <a:pt x="2213" y="1818"/>
                  </a:cubicBezTo>
                  <a:cubicBezTo>
                    <a:pt x="2213" y="1795"/>
                    <a:pt x="2205" y="1779"/>
                    <a:pt x="2213" y="1771"/>
                  </a:cubicBezTo>
                  <a:cubicBezTo>
                    <a:pt x="2213" y="1763"/>
                    <a:pt x="2213" y="1755"/>
                    <a:pt x="2213" y="1747"/>
                  </a:cubicBezTo>
                  <a:cubicBezTo>
                    <a:pt x="2221" y="1723"/>
                    <a:pt x="2229" y="1700"/>
                    <a:pt x="2221" y="1684"/>
                  </a:cubicBezTo>
                  <a:cubicBezTo>
                    <a:pt x="2205" y="1668"/>
                    <a:pt x="2205" y="1518"/>
                    <a:pt x="2221" y="1486"/>
                  </a:cubicBezTo>
                  <a:cubicBezTo>
                    <a:pt x="2237" y="1471"/>
                    <a:pt x="2284" y="1257"/>
                    <a:pt x="2308" y="1138"/>
                  </a:cubicBezTo>
                  <a:cubicBezTo>
                    <a:pt x="2324" y="1075"/>
                    <a:pt x="2332" y="1036"/>
                    <a:pt x="2332" y="1028"/>
                  </a:cubicBezTo>
                  <a:cubicBezTo>
                    <a:pt x="2340" y="1004"/>
                    <a:pt x="2419" y="577"/>
                    <a:pt x="2443" y="435"/>
                  </a:cubicBezTo>
                  <a:cubicBezTo>
                    <a:pt x="1518" y="245"/>
                    <a:pt x="861" y="63"/>
                    <a:pt x="696" y="24"/>
                  </a:cubicBezTo>
                  <a:lnTo>
                    <a:pt x="696" y="24"/>
                  </a:lnTo>
                  <a:cubicBezTo>
                    <a:pt x="703" y="39"/>
                    <a:pt x="703" y="48"/>
                    <a:pt x="703" y="55"/>
                  </a:cubicBezTo>
                  <a:cubicBezTo>
                    <a:pt x="703" y="71"/>
                    <a:pt x="703" y="87"/>
                    <a:pt x="719" y="95"/>
                  </a:cubicBezTo>
                  <a:cubicBezTo>
                    <a:pt x="727" y="103"/>
                    <a:pt x="735" y="111"/>
                    <a:pt x="743" y="111"/>
                  </a:cubicBezTo>
                  <a:cubicBezTo>
                    <a:pt x="751" y="119"/>
                    <a:pt x="759" y="126"/>
                    <a:pt x="759" y="135"/>
                  </a:cubicBezTo>
                  <a:cubicBezTo>
                    <a:pt x="767" y="142"/>
                    <a:pt x="767" y="142"/>
                    <a:pt x="767" y="142"/>
                  </a:cubicBezTo>
                  <a:cubicBezTo>
                    <a:pt x="767" y="150"/>
                    <a:pt x="774" y="158"/>
                    <a:pt x="774" y="182"/>
                  </a:cubicBezTo>
                  <a:cubicBezTo>
                    <a:pt x="767" y="206"/>
                    <a:pt x="767" y="221"/>
                    <a:pt x="751" y="237"/>
                  </a:cubicBezTo>
                  <a:cubicBezTo>
                    <a:pt x="751" y="245"/>
                    <a:pt x="743" y="253"/>
                    <a:pt x="743" y="269"/>
                  </a:cubicBezTo>
                  <a:cubicBezTo>
                    <a:pt x="743" y="277"/>
                    <a:pt x="743" y="277"/>
                    <a:pt x="743" y="285"/>
                  </a:cubicBezTo>
                  <a:lnTo>
                    <a:pt x="735" y="285"/>
                  </a:lnTo>
                  <a:cubicBezTo>
                    <a:pt x="735" y="285"/>
                    <a:pt x="735" y="285"/>
                    <a:pt x="727" y="285"/>
                  </a:cubicBezTo>
                  <a:lnTo>
                    <a:pt x="727" y="285"/>
                  </a:lnTo>
                  <a:cubicBezTo>
                    <a:pt x="719" y="285"/>
                    <a:pt x="719" y="285"/>
                    <a:pt x="719" y="285"/>
                  </a:cubicBezTo>
                  <a:cubicBezTo>
                    <a:pt x="703" y="285"/>
                    <a:pt x="703" y="285"/>
                    <a:pt x="703" y="285"/>
                  </a:cubicBezTo>
                  <a:lnTo>
                    <a:pt x="703" y="293"/>
                  </a:lnTo>
                  <a:cubicBezTo>
                    <a:pt x="719" y="308"/>
                    <a:pt x="727" y="316"/>
                    <a:pt x="727" y="324"/>
                  </a:cubicBezTo>
                  <a:cubicBezTo>
                    <a:pt x="735" y="332"/>
                    <a:pt x="735" y="332"/>
                    <a:pt x="735" y="340"/>
                  </a:cubicBezTo>
                  <a:cubicBezTo>
                    <a:pt x="735" y="340"/>
                    <a:pt x="743" y="340"/>
                    <a:pt x="751" y="348"/>
                  </a:cubicBezTo>
                  <a:cubicBezTo>
                    <a:pt x="759" y="348"/>
                    <a:pt x="767" y="356"/>
                    <a:pt x="759" y="372"/>
                  </a:cubicBezTo>
                  <a:cubicBezTo>
                    <a:pt x="759" y="379"/>
                    <a:pt x="751" y="388"/>
                    <a:pt x="751" y="395"/>
                  </a:cubicBezTo>
                  <a:cubicBezTo>
                    <a:pt x="743" y="395"/>
                    <a:pt x="743" y="403"/>
                    <a:pt x="743" y="411"/>
                  </a:cubicBezTo>
                  <a:cubicBezTo>
                    <a:pt x="751" y="435"/>
                    <a:pt x="759" y="451"/>
                    <a:pt x="767" y="459"/>
                  </a:cubicBezTo>
                  <a:cubicBezTo>
                    <a:pt x="774" y="474"/>
                    <a:pt x="767" y="506"/>
                    <a:pt x="759" y="522"/>
                  </a:cubicBezTo>
                  <a:cubicBezTo>
                    <a:pt x="759" y="530"/>
                    <a:pt x="759" y="530"/>
                    <a:pt x="759" y="530"/>
                  </a:cubicBezTo>
                  <a:cubicBezTo>
                    <a:pt x="751" y="546"/>
                    <a:pt x="743" y="553"/>
                    <a:pt x="727" y="569"/>
                  </a:cubicBezTo>
                  <a:cubicBezTo>
                    <a:pt x="719" y="577"/>
                    <a:pt x="711" y="585"/>
                    <a:pt x="703" y="601"/>
                  </a:cubicBezTo>
                  <a:cubicBezTo>
                    <a:pt x="696" y="601"/>
                    <a:pt x="696" y="609"/>
                    <a:pt x="687" y="609"/>
                  </a:cubicBezTo>
                  <a:cubicBezTo>
                    <a:pt x="687" y="617"/>
                    <a:pt x="687" y="617"/>
                    <a:pt x="687" y="617"/>
                  </a:cubicBezTo>
                  <a:cubicBezTo>
                    <a:pt x="672" y="632"/>
                    <a:pt x="672" y="632"/>
                    <a:pt x="680" y="656"/>
                  </a:cubicBezTo>
                  <a:cubicBezTo>
                    <a:pt x="687" y="680"/>
                    <a:pt x="687" y="688"/>
                    <a:pt x="680" y="712"/>
                  </a:cubicBezTo>
                  <a:cubicBezTo>
                    <a:pt x="672" y="719"/>
                    <a:pt x="672" y="727"/>
                    <a:pt x="664" y="743"/>
                  </a:cubicBezTo>
                  <a:lnTo>
                    <a:pt x="664" y="751"/>
                  </a:lnTo>
                  <a:cubicBezTo>
                    <a:pt x="664" y="759"/>
                    <a:pt x="664" y="759"/>
                    <a:pt x="664" y="759"/>
                  </a:cubicBezTo>
                  <a:cubicBezTo>
                    <a:pt x="664" y="775"/>
                    <a:pt x="656" y="775"/>
                    <a:pt x="640" y="799"/>
                  </a:cubicBezTo>
                  <a:cubicBezTo>
                    <a:pt x="632" y="806"/>
                    <a:pt x="632" y="806"/>
                    <a:pt x="632" y="814"/>
                  </a:cubicBezTo>
                  <a:cubicBezTo>
                    <a:pt x="616" y="822"/>
                    <a:pt x="616" y="830"/>
                    <a:pt x="577" y="846"/>
                  </a:cubicBezTo>
                  <a:cubicBezTo>
                    <a:pt x="561" y="854"/>
                    <a:pt x="553" y="854"/>
                    <a:pt x="553" y="862"/>
                  </a:cubicBezTo>
                  <a:cubicBezTo>
                    <a:pt x="545" y="870"/>
                    <a:pt x="537" y="878"/>
                    <a:pt x="506" y="862"/>
                  </a:cubicBezTo>
                  <a:cubicBezTo>
                    <a:pt x="498" y="862"/>
                    <a:pt x="490" y="862"/>
                    <a:pt x="482" y="862"/>
                  </a:cubicBezTo>
                  <a:cubicBezTo>
                    <a:pt x="458" y="854"/>
                    <a:pt x="443" y="846"/>
                    <a:pt x="434" y="838"/>
                  </a:cubicBezTo>
                  <a:cubicBezTo>
                    <a:pt x="434" y="830"/>
                    <a:pt x="434" y="822"/>
                    <a:pt x="434" y="822"/>
                  </a:cubicBezTo>
                  <a:cubicBezTo>
                    <a:pt x="443" y="806"/>
                    <a:pt x="450" y="799"/>
                    <a:pt x="458" y="791"/>
                  </a:cubicBezTo>
                  <a:cubicBezTo>
                    <a:pt x="466" y="783"/>
                    <a:pt x="474" y="783"/>
                    <a:pt x="482" y="767"/>
                  </a:cubicBezTo>
                  <a:cubicBezTo>
                    <a:pt x="482" y="759"/>
                    <a:pt x="490" y="743"/>
                    <a:pt x="506" y="743"/>
                  </a:cubicBezTo>
                  <a:cubicBezTo>
                    <a:pt x="506" y="743"/>
                    <a:pt x="514" y="743"/>
                    <a:pt x="514" y="759"/>
                  </a:cubicBezTo>
                  <a:cubicBezTo>
                    <a:pt x="514" y="767"/>
                    <a:pt x="506" y="775"/>
                    <a:pt x="506" y="783"/>
                  </a:cubicBezTo>
                  <a:cubicBezTo>
                    <a:pt x="506" y="791"/>
                    <a:pt x="498" y="799"/>
                    <a:pt x="498" y="799"/>
                  </a:cubicBezTo>
                  <a:cubicBezTo>
                    <a:pt x="506" y="806"/>
                    <a:pt x="506" y="806"/>
                    <a:pt x="506" y="806"/>
                  </a:cubicBezTo>
                  <a:cubicBezTo>
                    <a:pt x="514" y="806"/>
                    <a:pt x="514" y="799"/>
                    <a:pt x="514" y="791"/>
                  </a:cubicBezTo>
                  <a:cubicBezTo>
                    <a:pt x="514" y="791"/>
                    <a:pt x="521" y="783"/>
                    <a:pt x="529" y="775"/>
                  </a:cubicBezTo>
                  <a:cubicBezTo>
                    <a:pt x="529" y="767"/>
                    <a:pt x="537" y="767"/>
                    <a:pt x="537" y="759"/>
                  </a:cubicBezTo>
                  <a:cubicBezTo>
                    <a:pt x="537" y="759"/>
                    <a:pt x="537" y="751"/>
                    <a:pt x="545" y="751"/>
                  </a:cubicBezTo>
                  <a:cubicBezTo>
                    <a:pt x="545" y="751"/>
                    <a:pt x="553" y="759"/>
                    <a:pt x="553" y="767"/>
                  </a:cubicBezTo>
                  <a:cubicBezTo>
                    <a:pt x="553" y="775"/>
                    <a:pt x="553" y="775"/>
                    <a:pt x="553" y="783"/>
                  </a:cubicBezTo>
                  <a:cubicBezTo>
                    <a:pt x="553" y="791"/>
                    <a:pt x="553" y="791"/>
                    <a:pt x="569" y="791"/>
                  </a:cubicBezTo>
                  <a:cubicBezTo>
                    <a:pt x="593" y="799"/>
                    <a:pt x="608" y="767"/>
                    <a:pt x="608" y="743"/>
                  </a:cubicBezTo>
                  <a:cubicBezTo>
                    <a:pt x="608" y="727"/>
                    <a:pt x="616" y="719"/>
                    <a:pt x="616" y="712"/>
                  </a:cubicBezTo>
                  <a:cubicBezTo>
                    <a:pt x="624" y="688"/>
                    <a:pt x="624" y="680"/>
                    <a:pt x="616" y="680"/>
                  </a:cubicBezTo>
                  <a:cubicBezTo>
                    <a:pt x="601" y="672"/>
                    <a:pt x="585" y="672"/>
                    <a:pt x="585" y="664"/>
                  </a:cubicBezTo>
                  <a:cubicBezTo>
                    <a:pt x="585" y="656"/>
                    <a:pt x="585" y="648"/>
                    <a:pt x="593" y="648"/>
                  </a:cubicBezTo>
                  <a:cubicBezTo>
                    <a:pt x="601" y="632"/>
                    <a:pt x="608" y="625"/>
                    <a:pt x="608" y="617"/>
                  </a:cubicBezTo>
                  <a:cubicBezTo>
                    <a:pt x="608" y="609"/>
                    <a:pt x="616" y="609"/>
                    <a:pt x="616" y="601"/>
                  </a:cubicBezTo>
                  <a:cubicBezTo>
                    <a:pt x="624" y="593"/>
                    <a:pt x="632" y="593"/>
                    <a:pt x="640" y="585"/>
                  </a:cubicBezTo>
                  <a:cubicBezTo>
                    <a:pt x="656" y="585"/>
                    <a:pt x="656" y="585"/>
                    <a:pt x="656" y="577"/>
                  </a:cubicBezTo>
                  <a:cubicBezTo>
                    <a:pt x="656" y="561"/>
                    <a:pt x="656" y="538"/>
                    <a:pt x="648" y="530"/>
                  </a:cubicBezTo>
                  <a:lnTo>
                    <a:pt x="640" y="530"/>
                  </a:lnTo>
                  <a:lnTo>
                    <a:pt x="632" y="530"/>
                  </a:lnTo>
                  <a:cubicBezTo>
                    <a:pt x="632" y="530"/>
                    <a:pt x="632" y="530"/>
                    <a:pt x="624" y="530"/>
                  </a:cubicBezTo>
                  <a:cubicBezTo>
                    <a:pt x="624" y="530"/>
                    <a:pt x="616" y="522"/>
                    <a:pt x="616" y="506"/>
                  </a:cubicBezTo>
                  <a:cubicBezTo>
                    <a:pt x="616" y="490"/>
                    <a:pt x="616" y="474"/>
                    <a:pt x="616" y="466"/>
                  </a:cubicBezTo>
                  <a:cubicBezTo>
                    <a:pt x="616" y="459"/>
                    <a:pt x="616" y="443"/>
                    <a:pt x="616" y="435"/>
                  </a:cubicBezTo>
                  <a:cubicBezTo>
                    <a:pt x="608" y="411"/>
                    <a:pt x="601" y="403"/>
                    <a:pt x="593" y="403"/>
                  </a:cubicBezTo>
                  <a:cubicBezTo>
                    <a:pt x="585" y="403"/>
                    <a:pt x="585" y="403"/>
                    <a:pt x="585" y="403"/>
                  </a:cubicBezTo>
                  <a:cubicBezTo>
                    <a:pt x="577" y="419"/>
                    <a:pt x="569" y="419"/>
                    <a:pt x="569" y="419"/>
                  </a:cubicBezTo>
                  <a:cubicBezTo>
                    <a:pt x="561" y="419"/>
                    <a:pt x="553" y="411"/>
                    <a:pt x="545" y="395"/>
                  </a:cubicBezTo>
                  <a:cubicBezTo>
                    <a:pt x="529" y="372"/>
                    <a:pt x="521" y="364"/>
                    <a:pt x="498" y="364"/>
                  </a:cubicBezTo>
                  <a:cubicBezTo>
                    <a:pt x="474" y="364"/>
                    <a:pt x="474" y="364"/>
                    <a:pt x="443" y="348"/>
                  </a:cubicBezTo>
                  <a:cubicBezTo>
                    <a:pt x="434" y="348"/>
                    <a:pt x="427" y="340"/>
                    <a:pt x="419" y="340"/>
                  </a:cubicBezTo>
                  <a:cubicBezTo>
                    <a:pt x="411" y="332"/>
                    <a:pt x="395" y="332"/>
                    <a:pt x="379" y="324"/>
                  </a:cubicBezTo>
                  <a:cubicBezTo>
                    <a:pt x="300" y="301"/>
                    <a:pt x="158" y="253"/>
                    <a:pt x="87" y="142"/>
                  </a:cubicBezTo>
                  <a:cubicBezTo>
                    <a:pt x="79" y="135"/>
                    <a:pt x="79" y="135"/>
                    <a:pt x="71" y="135"/>
                  </a:cubicBezTo>
                  <a:lnTo>
                    <a:pt x="71" y="135"/>
                  </a:lnTo>
                  <a:cubicBezTo>
                    <a:pt x="71" y="142"/>
                    <a:pt x="79" y="150"/>
                    <a:pt x="79" y="150"/>
                  </a:cubicBezTo>
                  <a:cubicBezTo>
                    <a:pt x="79" y="158"/>
                    <a:pt x="79" y="158"/>
                    <a:pt x="71" y="166"/>
                  </a:cubicBezTo>
                  <a:cubicBezTo>
                    <a:pt x="71" y="174"/>
                    <a:pt x="71" y="174"/>
                    <a:pt x="63" y="182"/>
                  </a:cubicBezTo>
                  <a:cubicBezTo>
                    <a:pt x="47" y="206"/>
                    <a:pt x="23" y="245"/>
                    <a:pt x="31" y="285"/>
                  </a:cubicBezTo>
                  <a:cubicBezTo>
                    <a:pt x="31" y="301"/>
                    <a:pt x="39" y="316"/>
                    <a:pt x="47" y="332"/>
                  </a:cubicBezTo>
                  <a:cubicBezTo>
                    <a:pt x="55" y="348"/>
                    <a:pt x="63" y="356"/>
                    <a:pt x="71" y="379"/>
                  </a:cubicBezTo>
                  <a:cubicBezTo>
                    <a:pt x="71" y="411"/>
                    <a:pt x="71" y="411"/>
                    <a:pt x="71" y="443"/>
                  </a:cubicBezTo>
                  <a:cubicBezTo>
                    <a:pt x="71" y="451"/>
                    <a:pt x="71" y="451"/>
                    <a:pt x="63" y="466"/>
                  </a:cubicBezTo>
                  <a:cubicBezTo>
                    <a:pt x="63" y="506"/>
                    <a:pt x="71" y="561"/>
                    <a:pt x="71" y="601"/>
                  </a:cubicBezTo>
                  <a:cubicBezTo>
                    <a:pt x="79" y="609"/>
                    <a:pt x="79" y="609"/>
                    <a:pt x="79" y="609"/>
                  </a:cubicBezTo>
                  <a:cubicBezTo>
                    <a:pt x="79" y="625"/>
                    <a:pt x="79" y="632"/>
                    <a:pt x="79" y="632"/>
                  </a:cubicBezTo>
                  <a:cubicBezTo>
                    <a:pt x="87" y="632"/>
                    <a:pt x="87" y="632"/>
                    <a:pt x="79" y="656"/>
                  </a:cubicBezTo>
                  <a:lnTo>
                    <a:pt x="79" y="656"/>
                  </a:lnTo>
                  <a:cubicBezTo>
                    <a:pt x="79" y="672"/>
                    <a:pt x="79" y="680"/>
                    <a:pt x="71" y="696"/>
                  </a:cubicBezTo>
                  <a:cubicBezTo>
                    <a:pt x="71" y="712"/>
                    <a:pt x="71" y="719"/>
                    <a:pt x="63" y="735"/>
                  </a:cubicBezTo>
                  <a:cubicBezTo>
                    <a:pt x="63" y="743"/>
                    <a:pt x="55" y="751"/>
                    <a:pt x="55" y="759"/>
                  </a:cubicBezTo>
                  <a:cubicBezTo>
                    <a:pt x="47" y="767"/>
                    <a:pt x="47" y="775"/>
                    <a:pt x="55" y="783"/>
                  </a:cubicBezTo>
                  <a:cubicBezTo>
                    <a:pt x="55" y="791"/>
                    <a:pt x="55" y="791"/>
                    <a:pt x="55" y="791"/>
                  </a:cubicBezTo>
                  <a:cubicBezTo>
                    <a:pt x="55" y="791"/>
                    <a:pt x="63" y="791"/>
                    <a:pt x="63" y="783"/>
                  </a:cubicBezTo>
                  <a:lnTo>
                    <a:pt x="71" y="783"/>
                  </a:lnTo>
                  <a:lnTo>
                    <a:pt x="79" y="783"/>
                  </a:lnTo>
                  <a:cubicBezTo>
                    <a:pt x="79" y="783"/>
                    <a:pt x="87" y="783"/>
                    <a:pt x="87" y="791"/>
                  </a:cubicBezTo>
                  <a:cubicBezTo>
                    <a:pt x="94" y="791"/>
                    <a:pt x="110" y="799"/>
                    <a:pt x="118" y="806"/>
                  </a:cubicBezTo>
                  <a:lnTo>
                    <a:pt x="126" y="814"/>
                  </a:lnTo>
                  <a:cubicBezTo>
                    <a:pt x="134" y="822"/>
                    <a:pt x="142" y="822"/>
                    <a:pt x="142" y="830"/>
                  </a:cubicBezTo>
                  <a:cubicBezTo>
                    <a:pt x="142" y="830"/>
                    <a:pt x="134" y="830"/>
                    <a:pt x="134" y="838"/>
                  </a:cubicBezTo>
                  <a:cubicBezTo>
                    <a:pt x="126" y="838"/>
                    <a:pt x="126" y="838"/>
                    <a:pt x="126" y="846"/>
                  </a:cubicBezTo>
                  <a:cubicBezTo>
                    <a:pt x="118" y="846"/>
                    <a:pt x="118" y="854"/>
                    <a:pt x="94" y="854"/>
                  </a:cubicBezTo>
                  <a:cubicBezTo>
                    <a:pt x="79" y="854"/>
                    <a:pt x="71" y="846"/>
                    <a:pt x="63" y="838"/>
                  </a:cubicBezTo>
                  <a:cubicBezTo>
                    <a:pt x="63" y="838"/>
                    <a:pt x="63" y="838"/>
                    <a:pt x="55" y="838"/>
                  </a:cubicBezTo>
                  <a:lnTo>
                    <a:pt x="55" y="838"/>
                  </a:lnTo>
                  <a:lnTo>
                    <a:pt x="55" y="838"/>
                  </a:lnTo>
                  <a:cubicBezTo>
                    <a:pt x="55" y="854"/>
                    <a:pt x="55" y="862"/>
                    <a:pt x="55" y="893"/>
                  </a:cubicBezTo>
                  <a:cubicBezTo>
                    <a:pt x="55" y="909"/>
                    <a:pt x="55" y="917"/>
                    <a:pt x="47" y="925"/>
                  </a:cubicBezTo>
                  <a:cubicBezTo>
                    <a:pt x="47" y="933"/>
                    <a:pt x="47" y="933"/>
                    <a:pt x="47" y="941"/>
                  </a:cubicBezTo>
                  <a:cubicBezTo>
                    <a:pt x="47" y="941"/>
                    <a:pt x="55" y="941"/>
                    <a:pt x="63" y="941"/>
                  </a:cubicBezTo>
                  <a:cubicBezTo>
                    <a:pt x="79" y="941"/>
                    <a:pt x="87" y="941"/>
                    <a:pt x="94" y="941"/>
                  </a:cubicBezTo>
                  <a:cubicBezTo>
                    <a:pt x="110" y="933"/>
                    <a:pt x="110" y="933"/>
                    <a:pt x="118" y="941"/>
                  </a:cubicBezTo>
                  <a:cubicBezTo>
                    <a:pt x="126" y="949"/>
                    <a:pt x="126" y="957"/>
                    <a:pt x="126" y="965"/>
                  </a:cubicBezTo>
                  <a:cubicBezTo>
                    <a:pt x="118" y="965"/>
                    <a:pt x="110" y="965"/>
                    <a:pt x="110" y="972"/>
                  </a:cubicBezTo>
                  <a:cubicBezTo>
                    <a:pt x="103" y="972"/>
                    <a:pt x="94" y="972"/>
                    <a:pt x="87" y="965"/>
                  </a:cubicBezTo>
                  <a:lnTo>
                    <a:pt x="79" y="965"/>
                  </a:lnTo>
                  <a:cubicBezTo>
                    <a:pt x="71" y="965"/>
                    <a:pt x="71" y="965"/>
                    <a:pt x="71" y="972"/>
                  </a:cubicBezTo>
                  <a:cubicBezTo>
                    <a:pt x="71" y="988"/>
                    <a:pt x="71" y="996"/>
                    <a:pt x="71" y="1012"/>
                  </a:cubicBezTo>
                  <a:cubicBezTo>
                    <a:pt x="71" y="1028"/>
                    <a:pt x="63" y="1028"/>
                    <a:pt x="63" y="1036"/>
                  </a:cubicBezTo>
                  <a:cubicBezTo>
                    <a:pt x="55" y="1036"/>
                    <a:pt x="47" y="1043"/>
                    <a:pt x="47" y="1052"/>
                  </a:cubicBezTo>
                  <a:cubicBezTo>
                    <a:pt x="47" y="1052"/>
                    <a:pt x="47" y="1067"/>
                    <a:pt x="47" y="1075"/>
                  </a:cubicBezTo>
                  <a:cubicBezTo>
                    <a:pt x="47" y="1083"/>
                    <a:pt x="47" y="1083"/>
                    <a:pt x="39" y="1083"/>
                  </a:cubicBezTo>
                  <a:cubicBezTo>
                    <a:pt x="39" y="1083"/>
                    <a:pt x="31" y="1083"/>
                    <a:pt x="31" y="1075"/>
                  </a:cubicBezTo>
                  <a:cubicBezTo>
                    <a:pt x="23" y="1075"/>
                    <a:pt x="23" y="1075"/>
                    <a:pt x="23" y="1075"/>
                  </a:cubicBezTo>
                  <a:cubicBezTo>
                    <a:pt x="16" y="1052"/>
                    <a:pt x="16" y="1052"/>
                    <a:pt x="23" y="1020"/>
                  </a:cubicBezTo>
                  <a:cubicBezTo>
                    <a:pt x="23" y="1012"/>
                    <a:pt x="23" y="1004"/>
                    <a:pt x="23" y="996"/>
                  </a:cubicBezTo>
                  <a:cubicBezTo>
                    <a:pt x="23" y="988"/>
                    <a:pt x="23" y="980"/>
                    <a:pt x="23" y="980"/>
                  </a:cubicBezTo>
                  <a:lnTo>
                    <a:pt x="23" y="980"/>
                  </a:lnTo>
                  <a:cubicBezTo>
                    <a:pt x="16" y="996"/>
                    <a:pt x="8" y="1012"/>
                    <a:pt x="8" y="1036"/>
                  </a:cubicBezTo>
                  <a:cubicBezTo>
                    <a:pt x="16" y="1043"/>
                    <a:pt x="16" y="1059"/>
                    <a:pt x="16" y="1067"/>
                  </a:cubicBezTo>
                  <a:cubicBezTo>
                    <a:pt x="16" y="1083"/>
                    <a:pt x="16" y="1099"/>
                    <a:pt x="23" y="1115"/>
                  </a:cubicBezTo>
                  <a:cubicBezTo>
                    <a:pt x="23" y="1123"/>
                    <a:pt x="23" y="1131"/>
                    <a:pt x="23" y="1131"/>
                  </a:cubicBezTo>
                  <a:cubicBezTo>
                    <a:pt x="23" y="1138"/>
                    <a:pt x="31" y="1138"/>
                    <a:pt x="31" y="1138"/>
                  </a:cubicBezTo>
                  <a:cubicBezTo>
                    <a:pt x="79" y="1162"/>
                    <a:pt x="118" y="1178"/>
                    <a:pt x="126" y="1178"/>
                  </a:cubicBezTo>
                  <a:cubicBezTo>
                    <a:pt x="158" y="1186"/>
                    <a:pt x="158" y="1194"/>
                    <a:pt x="158" y="1225"/>
                  </a:cubicBezTo>
                  <a:cubicBezTo>
                    <a:pt x="158" y="1225"/>
                    <a:pt x="166" y="1225"/>
                    <a:pt x="166" y="1233"/>
                  </a:cubicBezTo>
                  <a:cubicBezTo>
                    <a:pt x="166" y="1257"/>
                    <a:pt x="174" y="1257"/>
                    <a:pt x="174" y="1257"/>
                  </a:cubicBezTo>
                  <a:lnTo>
                    <a:pt x="181" y="1249"/>
                  </a:lnTo>
                  <a:cubicBezTo>
                    <a:pt x="190" y="1249"/>
                    <a:pt x="205" y="1241"/>
                    <a:pt x="213" y="1241"/>
                  </a:cubicBezTo>
                  <a:cubicBezTo>
                    <a:pt x="253" y="1241"/>
                    <a:pt x="268" y="1281"/>
                    <a:pt x="292" y="1320"/>
                  </a:cubicBezTo>
                  <a:cubicBezTo>
                    <a:pt x="300" y="1320"/>
                    <a:pt x="300" y="1328"/>
                    <a:pt x="308" y="1328"/>
                  </a:cubicBezTo>
                  <a:cubicBezTo>
                    <a:pt x="324" y="1368"/>
                    <a:pt x="308" y="1415"/>
                    <a:pt x="292" y="1455"/>
                  </a:cubicBezTo>
                  <a:cubicBezTo>
                    <a:pt x="292" y="1471"/>
                    <a:pt x="284" y="1478"/>
                    <a:pt x="284" y="1494"/>
                  </a:cubicBezTo>
                  <a:cubicBezTo>
                    <a:pt x="276" y="1526"/>
                    <a:pt x="284" y="1549"/>
                    <a:pt x="292" y="1558"/>
                  </a:cubicBezTo>
                  <a:cubicBezTo>
                    <a:pt x="300" y="1565"/>
                    <a:pt x="316" y="1565"/>
                    <a:pt x="324" y="1565"/>
                  </a:cubicBezTo>
                  <a:cubicBezTo>
                    <a:pt x="348" y="1573"/>
                    <a:pt x="379" y="1573"/>
                    <a:pt x="395" y="1589"/>
                  </a:cubicBezTo>
                  <a:cubicBezTo>
                    <a:pt x="411" y="1605"/>
                    <a:pt x="434" y="1613"/>
                    <a:pt x="466" y="1613"/>
                  </a:cubicBezTo>
                  <a:cubicBezTo>
                    <a:pt x="490" y="1613"/>
                    <a:pt x="506" y="1613"/>
                    <a:pt x="521" y="1605"/>
                  </a:cubicBezTo>
                  <a:cubicBezTo>
                    <a:pt x="529" y="1605"/>
                    <a:pt x="545" y="1597"/>
                    <a:pt x="545" y="1597"/>
                  </a:cubicBezTo>
                  <a:cubicBezTo>
                    <a:pt x="561" y="1589"/>
                    <a:pt x="569" y="1581"/>
                    <a:pt x="577" y="1581"/>
                  </a:cubicBezTo>
                  <a:cubicBezTo>
                    <a:pt x="585" y="1581"/>
                    <a:pt x="601" y="1589"/>
                    <a:pt x="608" y="1589"/>
                  </a:cubicBezTo>
                  <a:cubicBezTo>
                    <a:pt x="624" y="1597"/>
                    <a:pt x="640" y="1605"/>
                    <a:pt x="648" y="1605"/>
                  </a:cubicBezTo>
                  <a:cubicBezTo>
                    <a:pt x="656" y="1605"/>
                    <a:pt x="656" y="1605"/>
                    <a:pt x="664" y="1597"/>
                  </a:cubicBezTo>
                  <a:cubicBezTo>
                    <a:pt x="672" y="1597"/>
                    <a:pt x="680" y="1597"/>
                    <a:pt x="696" y="1597"/>
                  </a:cubicBezTo>
                  <a:cubicBezTo>
                    <a:pt x="727" y="1597"/>
                    <a:pt x="735" y="1605"/>
                    <a:pt x="751" y="1629"/>
                  </a:cubicBezTo>
                  <a:cubicBezTo>
                    <a:pt x="759" y="1636"/>
                    <a:pt x="759" y="1636"/>
                    <a:pt x="759" y="1636"/>
                  </a:cubicBezTo>
                  <a:cubicBezTo>
                    <a:pt x="759" y="1636"/>
                    <a:pt x="759" y="1644"/>
                    <a:pt x="767" y="1644"/>
                  </a:cubicBezTo>
                  <a:cubicBezTo>
                    <a:pt x="774" y="1668"/>
                    <a:pt x="782" y="1668"/>
                    <a:pt x="790" y="1668"/>
                  </a:cubicBezTo>
                  <a:cubicBezTo>
                    <a:pt x="798" y="1668"/>
                    <a:pt x="806" y="1660"/>
                    <a:pt x="822" y="1660"/>
                  </a:cubicBezTo>
                  <a:cubicBezTo>
                    <a:pt x="838" y="1660"/>
                    <a:pt x="861" y="1668"/>
                    <a:pt x="869" y="1676"/>
                  </a:cubicBezTo>
                  <a:cubicBezTo>
                    <a:pt x="877" y="1684"/>
                    <a:pt x="885" y="1684"/>
                    <a:pt x="893" y="1684"/>
                  </a:cubicBezTo>
                  <a:cubicBezTo>
                    <a:pt x="909" y="1684"/>
                    <a:pt x="940" y="1668"/>
                    <a:pt x="956" y="1660"/>
                  </a:cubicBezTo>
                  <a:cubicBezTo>
                    <a:pt x="956" y="1660"/>
                    <a:pt x="964" y="1660"/>
                    <a:pt x="972" y="1660"/>
                  </a:cubicBezTo>
                  <a:cubicBezTo>
                    <a:pt x="996" y="1660"/>
                    <a:pt x="1027" y="1668"/>
                    <a:pt x="1051" y="1700"/>
                  </a:cubicBezTo>
                  <a:cubicBezTo>
                    <a:pt x="1059" y="1708"/>
                    <a:pt x="1075" y="1716"/>
                    <a:pt x="1091" y="1716"/>
                  </a:cubicBezTo>
                  <a:cubicBezTo>
                    <a:pt x="1114" y="1716"/>
                    <a:pt x="1146" y="1708"/>
                    <a:pt x="1154" y="1700"/>
                  </a:cubicBezTo>
                  <a:cubicBezTo>
                    <a:pt x="1162" y="1692"/>
                    <a:pt x="1186" y="1692"/>
                    <a:pt x="1217" y="1692"/>
                  </a:cubicBezTo>
                  <a:cubicBezTo>
                    <a:pt x="1241" y="1692"/>
                    <a:pt x="1273" y="1692"/>
                    <a:pt x="1304" y="1692"/>
                  </a:cubicBezTo>
                  <a:cubicBezTo>
                    <a:pt x="1336" y="1692"/>
                    <a:pt x="1344" y="1692"/>
                    <a:pt x="1344" y="1692"/>
                  </a:cubicBezTo>
                  <a:lnTo>
                    <a:pt x="1344" y="1692"/>
                  </a:lnTo>
                  <a:cubicBezTo>
                    <a:pt x="1344" y="1692"/>
                    <a:pt x="1344" y="1684"/>
                    <a:pt x="1351" y="1676"/>
                  </a:cubicBezTo>
                  <a:cubicBezTo>
                    <a:pt x="1351" y="1676"/>
                    <a:pt x="1359" y="1668"/>
                    <a:pt x="1375" y="1668"/>
                  </a:cubicBezTo>
                  <a:cubicBezTo>
                    <a:pt x="1391" y="1668"/>
                    <a:pt x="1415" y="1676"/>
                    <a:pt x="1438" y="1684"/>
                  </a:cubicBezTo>
                  <a:cubicBezTo>
                    <a:pt x="1446" y="1692"/>
                    <a:pt x="1470" y="1692"/>
                    <a:pt x="1486" y="1692"/>
                  </a:cubicBezTo>
                  <a:cubicBezTo>
                    <a:pt x="1510" y="1692"/>
                    <a:pt x="1533" y="1684"/>
                    <a:pt x="1549" y="1684"/>
                  </a:cubicBezTo>
                  <a:cubicBezTo>
                    <a:pt x="1549" y="1684"/>
                    <a:pt x="1549" y="1684"/>
                    <a:pt x="1557" y="1684"/>
                  </a:cubicBezTo>
                  <a:close/>
                </a:path>
              </a:pathLst>
            </a:custGeom>
            <a:grpFill/>
            <a:ln>
              <a:solidFill>
                <a:schemeClr val="bg1">
                  <a:lumMod val="95000"/>
                </a:schemeClr>
              </a:solidFill>
            </a:ln>
            <a:effectLst/>
          </p:spPr>
          <p:txBody>
            <a:bodyPr wrap="none" anchor="ctr"/>
            <a:lstStyle/>
            <a:p>
              <a:endParaRPr lang="en-US" sz="900"/>
            </a:p>
          </p:txBody>
        </p:sp>
        <p:sp>
          <p:nvSpPr>
            <p:cNvPr id="36" name="Freeform 261"/>
            <p:cNvSpPr>
              <a:spLocks noChangeArrowheads="1"/>
            </p:cNvSpPr>
            <p:nvPr/>
          </p:nvSpPr>
          <p:spPr bwMode="auto">
            <a:xfrm>
              <a:off x="8516733" y="3345758"/>
              <a:ext cx="1185166" cy="1897192"/>
            </a:xfrm>
            <a:custGeom>
              <a:avLst/>
              <a:gdLst>
                <a:gd name="T0" fmla="*/ 2213 w 2254"/>
                <a:gd name="T1" fmla="*/ 2364 h 3606"/>
                <a:gd name="T2" fmla="*/ 2213 w 2254"/>
                <a:gd name="T3" fmla="*/ 2364 h 3606"/>
                <a:gd name="T4" fmla="*/ 2142 w 2254"/>
                <a:gd name="T5" fmla="*/ 2292 h 3606"/>
                <a:gd name="T6" fmla="*/ 2079 w 2254"/>
                <a:gd name="T7" fmla="*/ 2395 h 3606"/>
                <a:gd name="T8" fmla="*/ 2039 w 2254"/>
                <a:gd name="T9" fmla="*/ 2371 h 3606"/>
                <a:gd name="T10" fmla="*/ 1992 w 2254"/>
                <a:gd name="T11" fmla="*/ 2371 h 3606"/>
                <a:gd name="T12" fmla="*/ 1897 w 2254"/>
                <a:gd name="T13" fmla="*/ 2348 h 3606"/>
                <a:gd name="T14" fmla="*/ 1834 w 2254"/>
                <a:gd name="T15" fmla="*/ 2340 h 3606"/>
                <a:gd name="T16" fmla="*/ 1778 w 2254"/>
                <a:gd name="T17" fmla="*/ 2371 h 3606"/>
                <a:gd name="T18" fmla="*/ 1707 w 2254"/>
                <a:gd name="T19" fmla="*/ 2348 h 3606"/>
                <a:gd name="T20" fmla="*/ 1652 w 2254"/>
                <a:gd name="T21" fmla="*/ 2387 h 3606"/>
                <a:gd name="T22" fmla="*/ 1620 w 2254"/>
                <a:gd name="T23" fmla="*/ 2355 h 3606"/>
                <a:gd name="T24" fmla="*/ 1589 w 2254"/>
                <a:gd name="T25" fmla="*/ 2229 h 3606"/>
                <a:gd name="T26" fmla="*/ 1518 w 2254"/>
                <a:gd name="T27" fmla="*/ 2158 h 3606"/>
                <a:gd name="T28" fmla="*/ 1494 w 2254"/>
                <a:gd name="T29" fmla="*/ 2079 h 3606"/>
                <a:gd name="T30" fmla="*/ 1478 w 2254"/>
                <a:gd name="T31" fmla="*/ 1960 h 3606"/>
                <a:gd name="T32" fmla="*/ 1423 w 2254"/>
                <a:gd name="T33" fmla="*/ 1850 h 3606"/>
                <a:gd name="T34" fmla="*/ 1439 w 2254"/>
                <a:gd name="T35" fmla="*/ 1739 h 3606"/>
                <a:gd name="T36" fmla="*/ 1352 w 2254"/>
                <a:gd name="T37" fmla="*/ 1747 h 3606"/>
                <a:gd name="T38" fmla="*/ 1257 w 2254"/>
                <a:gd name="T39" fmla="*/ 1794 h 3606"/>
                <a:gd name="T40" fmla="*/ 1225 w 2254"/>
                <a:gd name="T41" fmla="*/ 1771 h 3606"/>
                <a:gd name="T42" fmla="*/ 1186 w 2254"/>
                <a:gd name="T43" fmla="*/ 1739 h 3606"/>
                <a:gd name="T44" fmla="*/ 1194 w 2254"/>
                <a:gd name="T45" fmla="*/ 1668 h 3606"/>
                <a:gd name="T46" fmla="*/ 1241 w 2254"/>
                <a:gd name="T47" fmla="*/ 1644 h 3606"/>
                <a:gd name="T48" fmla="*/ 1257 w 2254"/>
                <a:gd name="T49" fmla="*/ 1565 h 3606"/>
                <a:gd name="T50" fmla="*/ 1257 w 2254"/>
                <a:gd name="T51" fmla="*/ 1454 h 3606"/>
                <a:gd name="T52" fmla="*/ 1304 w 2254"/>
                <a:gd name="T53" fmla="*/ 1367 h 3606"/>
                <a:gd name="T54" fmla="*/ 1336 w 2254"/>
                <a:gd name="T55" fmla="*/ 1249 h 3606"/>
                <a:gd name="T56" fmla="*/ 1272 w 2254"/>
                <a:gd name="T57" fmla="*/ 1249 h 3606"/>
                <a:gd name="T58" fmla="*/ 1194 w 2254"/>
                <a:gd name="T59" fmla="*/ 1162 h 3606"/>
                <a:gd name="T60" fmla="*/ 1170 w 2254"/>
                <a:gd name="T61" fmla="*/ 1083 h 3606"/>
                <a:gd name="T62" fmla="*/ 1114 w 2254"/>
                <a:gd name="T63" fmla="*/ 1012 h 3606"/>
                <a:gd name="T64" fmla="*/ 1091 w 2254"/>
                <a:gd name="T65" fmla="*/ 917 h 3606"/>
                <a:gd name="T66" fmla="*/ 1035 w 2254"/>
                <a:gd name="T67" fmla="*/ 870 h 3606"/>
                <a:gd name="T68" fmla="*/ 980 w 2254"/>
                <a:gd name="T69" fmla="*/ 798 h 3606"/>
                <a:gd name="T70" fmla="*/ 1004 w 2254"/>
                <a:gd name="T71" fmla="*/ 696 h 3606"/>
                <a:gd name="T72" fmla="*/ 925 w 2254"/>
                <a:gd name="T73" fmla="*/ 545 h 3606"/>
                <a:gd name="T74" fmla="*/ 941 w 2254"/>
                <a:gd name="T75" fmla="*/ 450 h 3606"/>
                <a:gd name="T76" fmla="*/ 972 w 2254"/>
                <a:gd name="T77" fmla="*/ 292 h 3606"/>
                <a:gd name="T78" fmla="*/ 996 w 2254"/>
                <a:gd name="T79" fmla="*/ 126 h 3606"/>
                <a:gd name="T80" fmla="*/ 1004 w 2254"/>
                <a:gd name="T81" fmla="*/ 63 h 3606"/>
                <a:gd name="T82" fmla="*/ 672 w 2254"/>
                <a:gd name="T83" fmla="*/ 0 h 3606"/>
                <a:gd name="T84" fmla="*/ 553 w 2254"/>
                <a:gd name="T85" fmla="*/ 593 h 3606"/>
                <a:gd name="T86" fmla="*/ 450 w 2254"/>
                <a:gd name="T87" fmla="*/ 1051 h 3606"/>
                <a:gd name="T88" fmla="*/ 442 w 2254"/>
                <a:gd name="T89" fmla="*/ 1249 h 3606"/>
                <a:gd name="T90" fmla="*/ 435 w 2254"/>
                <a:gd name="T91" fmla="*/ 1328 h 3606"/>
                <a:gd name="T92" fmla="*/ 482 w 2254"/>
                <a:gd name="T93" fmla="*/ 1486 h 3606"/>
                <a:gd name="T94" fmla="*/ 522 w 2254"/>
                <a:gd name="T95" fmla="*/ 1628 h 3606"/>
                <a:gd name="T96" fmla="*/ 442 w 2254"/>
                <a:gd name="T97" fmla="*/ 1747 h 3606"/>
                <a:gd name="T98" fmla="*/ 371 w 2254"/>
                <a:gd name="T99" fmla="*/ 1818 h 3606"/>
                <a:gd name="T100" fmla="*/ 355 w 2254"/>
                <a:gd name="T101" fmla="*/ 1889 h 3606"/>
                <a:gd name="T102" fmla="*/ 174 w 2254"/>
                <a:gd name="T103" fmla="*/ 2079 h 3606"/>
                <a:gd name="T104" fmla="*/ 229 w 2254"/>
                <a:gd name="T105" fmla="*/ 2182 h 3606"/>
                <a:gd name="T106" fmla="*/ 229 w 2254"/>
                <a:gd name="T107" fmla="*/ 2277 h 3606"/>
                <a:gd name="T108" fmla="*/ 221 w 2254"/>
                <a:gd name="T109" fmla="*/ 2340 h 3606"/>
                <a:gd name="T110" fmla="*/ 174 w 2254"/>
                <a:gd name="T111" fmla="*/ 2435 h 3606"/>
                <a:gd name="T112" fmla="*/ 0 w 2254"/>
                <a:gd name="T113" fmla="*/ 3217 h 3606"/>
                <a:gd name="T114" fmla="*/ 2063 w 2254"/>
                <a:gd name="T115" fmla="*/ 3605 h 3606"/>
                <a:gd name="T116" fmla="*/ 2253 w 2254"/>
                <a:gd name="T117" fmla="*/ 2427 h 3606"/>
                <a:gd name="T118" fmla="*/ 2213 w 2254"/>
                <a:gd name="T119" fmla="*/ 2364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4" h="3606">
                  <a:moveTo>
                    <a:pt x="2213" y="2364"/>
                  </a:moveTo>
                  <a:lnTo>
                    <a:pt x="2213" y="2364"/>
                  </a:lnTo>
                  <a:cubicBezTo>
                    <a:pt x="2205" y="2316"/>
                    <a:pt x="2174" y="2316"/>
                    <a:pt x="2142" y="2292"/>
                  </a:cubicBezTo>
                  <a:cubicBezTo>
                    <a:pt x="2111" y="2277"/>
                    <a:pt x="2126" y="2348"/>
                    <a:pt x="2079" y="2395"/>
                  </a:cubicBezTo>
                  <a:cubicBezTo>
                    <a:pt x="2031" y="2435"/>
                    <a:pt x="2079" y="2395"/>
                    <a:pt x="2039" y="2371"/>
                  </a:cubicBezTo>
                  <a:cubicBezTo>
                    <a:pt x="2000" y="2348"/>
                    <a:pt x="2024" y="2364"/>
                    <a:pt x="1992" y="2371"/>
                  </a:cubicBezTo>
                  <a:cubicBezTo>
                    <a:pt x="1952" y="2379"/>
                    <a:pt x="1929" y="2371"/>
                    <a:pt x="1897" y="2348"/>
                  </a:cubicBezTo>
                  <a:cubicBezTo>
                    <a:pt x="1865" y="2324"/>
                    <a:pt x="1850" y="2332"/>
                    <a:pt x="1834" y="2340"/>
                  </a:cubicBezTo>
                  <a:cubicBezTo>
                    <a:pt x="1818" y="2348"/>
                    <a:pt x="1802" y="2371"/>
                    <a:pt x="1778" y="2371"/>
                  </a:cubicBezTo>
                  <a:cubicBezTo>
                    <a:pt x="1747" y="2364"/>
                    <a:pt x="1739" y="2355"/>
                    <a:pt x="1707" y="2348"/>
                  </a:cubicBezTo>
                  <a:cubicBezTo>
                    <a:pt x="1676" y="2332"/>
                    <a:pt x="1676" y="2355"/>
                    <a:pt x="1652" y="2387"/>
                  </a:cubicBezTo>
                  <a:cubicBezTo>
                    <a:pt x="1628" y="2411"/>
                    <a:pt x="1628" y="2371"/>
                    <a:pt x="1620" y="2355"/>
                  </a:cubicBezTo>
                  <a:cubicBezTo>
                    <a:pt x="1605" y="2332"/>
                    <a:pt x="1589" y="2269"/>
                    <a:pt x="1589" y="2229"/>
                  </a:cubicBezTo>
                  <a:cubicBezTo>
                    <a:pt x="1589" y="2190"/>
                    <a:pt x="1573" y="2166"/>
                    <a:pt x="1518" y="2158"/>
                  </a:cubicBezTo>
                  <a:cubicBezTo>
                    <a:pt x="1454" y="2142"/>
                    <a:pt x="1478" y="2126"/>
                    <a:pt x="1494" y="2079"/>
                  </a:cubicBezTo>
                  <a:cubicBezTo>
                    <a:pt x="1510" y="2031"/>
                    <a:pt x="1502" y="2000"/>
                    <a:pt x="1478" y="1960"/>
                  </a:cubicBezTo>
                  <a:cubicBezTo>
                    <a:pt x="1446" y="1921"/>
                    <a:pt x="1439" y="1889"/>
                    <a:pt x="1423" y="1850"/>
                  </a:cubicBezTo>
                  <a:cubicBezTo>
                    <a:pt x="1407" y="1818"/>
                    <a:pt x="1439" y="1787"/>
                    <a:pt x="1439" y="1739"/>
                  </a:cubicBezTo>
                  <a:cubicBezTo>
                    <a:pt x="1431" y="1700"/>
                    <a:pt x="1383" y="1723"/>
                    <a:pt x="1352" y="1747"/>
                  </a:cubicBezTo>
                  <a:cubicBezTo>
                    <a:pt x="1328" y="1778"/>
                    <a:pt x="1312" y="1778"/>
                    <a:pt x="1257" y="1794"/>
                  </a:cubicBezTo>
                  <a:cubicBezTo>
                    <a:pt x="1194" y="1802"/>
                    <a:pt x="1257" y="1794"/>
                    <a:pt x="1225" y="1771"/>
                  </a:cubicBezTo>
                  <a:cubicBezTo>
                    <a:pt x="1194" y="1747"/>
                    <a:pt x="1178" y="1747"/>
                    <a:pt x="1186" y="1739"/>
                  </a:cubicBezTo>
                  <a:cubicBezTo>
                    <a:pt x="1194" y="1723"/>
                    <a:pt x="1201" y="1700"/>
                    <a:pt x="1194" y="1668"/>
                  </a:cubicBezTo>
                  <a:cubicBezTo>
                    <a:pt x="1194" y="1636"/>
                    <a:pt x="1217" y="1644"/>
                    <a:pt x="1241" y="1644"/>
                  </a:cubicBezTo>
                  <a:cubicBezTo>
                    <a:pt x="1257" y="1644"/>
                    <a:pt x="1265" y="1581"/>
                    <a:pt x="1257" y="1565"/>
                  </a:cubicBezTo>
                  <a:cubicBezTo>
                    <a:pt x="1257" y="1541"/>
                    <a:pt x="1241" y="1502"/>
                    <a:pt x="1257" y="1454"/>
                  </a:cubicBezTo>
                  <a:cubicBezTo>
                    <a:pt x="1265" y="1415"/>
                    <a:pt x="1296" y="1383"/>
                    <a:pt x="1304" y="1367"/>
                  </a:cubicBezTo>
                  <a:cubicBezTo>
                    <a:pt x="1320" y="1344"/>
                    <a:pt x="1344" y="1296"/>
                    <a:pt x="1336" y="1249"/>
                  </a:cubicBezTo>
                  <a:cubicBezTo>
                    <a:pt x="1328" y="1201"/>
                    <a:pt x="1304" y="1257"/>
                    <a:pt x="1272" y="1249"/>
                  </a:cubicBezTo>
                  <a:cubicBezTo>
                    <a:pt x="1233" y="1241"/>
                    <a:pt x="1233" y="1194"/>
                    <a:pt x="1194" y="1162"/>
                  </a:cubicBezTo>
                  <a:cubicBezTo>
                    <a:pt x="1146" y="1130"/>
                    <a:pt x="1178" y="1130"/>
                    <a:pt x="1170" y="1083"/>
                  </a:cubicBezTo>
                  <a:cubicBezTo>
                    <a:pt x="1162" y="1036"/>
                    <a:pt x="1154" y="1036"/>
                    <a:pt x="1114" y="1012"/>
                  </a:cubicBezTo>
                  <a:cubicBezTo>
                    <a:pt x="1075" y="988"/>
                    <a:pt x="1099" y="956"/>
                    <a:pt x="1091" y="917"/>
                  </a:cubicBezTo>
                  <a:cubicBezTo>
                    <a:pt x="1083" y="877"/>
                    <a:pt x="1051" y="893"/>
                    <a:pt x="1035" y="870"/>
                  </a:cubicBezTo>
                  <a:cubicBezTo>
                    <a:pt x="1012" y="838"/>
                    <a:pt x="980" y="838"/>
                    <a:pt x="980" y="798"/>
                  </a:cubicBezTo>
                  <a:cubicBezTo>
                    <a:pt x="980" y="767"/>
                    <a:pt x="1004" y="735"/>
                    <a:pt x="1004" y="696"/>
                  </a:cubicBezTo>
                  <a:cubicBezTo>
                    <a:pt x="996" y="656"/>
                    <a:pt x="941" y="577"/>
                    <a:pt x="925" y="545"/>
                  </a:cubicBezTo>
                  <a:cubicBezTo>
                    <a:pt x="917" y="514"/>
                    <a:pt x="933" y="482"/>
                    <a:pt x="941" y="450"/>
                  </a:cubicBezTo>
                  <a:cubicBezTo>
                    <a:pt x="941" y="419"/>
                    <a:pt x="964" y="332"/>
                    <a:pt x="972" y="292"/>
                  </a:cubicBezTo>
                  <a:cubicBezTo>
                    <a:pt x="988" y="253"/>
                    <a:pt x="996" y="158"/>
                    <a:pt x="996" y="126"/>
                  </a:cubicBezTo>
                  <a:cubicBezTo>
                    <a:pt x="996" y="111"/>
                    <a:pt x="996" y="79"/>
                    <a:pt x="1004" y="63"/>
                  </a:cubicBezTo>
                  <a:cubicBezTo>
                    <a:pt x="885" y="39"/>
                    <a:pt x="775" y="16"/>
                    <a:pt x="672" y="0"/>
                  </a:cubicBezTo>
                  <a:cubicBezTo>
                    <a:pt x="648" y="111"/>
                    <a:pt x="561" y="561"/>
                    <a:pt x="553" y="593"/>
                  </a:cubicBezTo>
                  <a:cubicBezTo>
                    <a:pt x="545" y="617"/>
                    <a:pt x="466" y="1020"/>
                    <a:pt x="450" y="1051"/>
                  </a:cubicBezTo>
                  <a:cubicBezTo>
                    <a:pt x="427" y="1083"/>
                    <a:pt x="427" y="1225"/>
                    <a:pt x="442" y="1249"/>
                  </a:cubicBezTo>
                  <a:cubicBezTo>
                    <a:pt x="450" y="1265"/>
                    <a:pt x="435" y="1312"/>
                    <a:pt x="435" y="1328"/>
                  </a:cubicBezTo>
                  <a:cubicBezTo>
                    <a:pt x="427" y="1352"/>
                    <a:pt x="435" y="1454"/>
                    <a:pt x="482" y="1486"/>
                  </a:cubicBezTo>
                  <a:cubicBezTo>
                    <a:pt x="529" y="1526"/>
                    <a:pt x="545" y="1613"/>
                    <a:pt x="522" y="1628"/>
                  </a:cubicBezTo>
                  <a:cubicBezTo>
                    <a:pt x="506" y="1644"/>
                    <a:pt x="442" y="1731"/>
                    <a:pt x="442" y="1747"/>
                  </a:cubicBezTo>
                  <a:cubicBezTo>
                    <a:pt x="442" y="1771"/>
                    <a:pt x="395" y="1794"/>
                    <a:pt x="371" y="1818"/>
                  </a:cubicBezTo>
                  <a:cubicBezTo>
                    <a:pt x="348" y="1850"/>
                    <a:pt x="348" y="1873"/>
                    <a:pt x="355" y="1889"/>
                  </a:cubicBezTo>
                  <a:cubicBezTo>
                    <a:pt x="355" y="1897"/>
                    <a:pt x="166" y="2040"/>
                    <a:pt x="174" y="2079"/>
                  </a:cubicBezTo>
                  <a:cubicBezTo>
                    <a:pt x="182" y="2126"/>
                    <a:pt x="166" y="2158"/>
                    <a:pt x="229" y="2182"/>
                  </a:cubicBezTo>
                  <a:cubicBezTo>
                    <a:pt x="284" y="2213"/>
                    <a:pt x="245" y="2253"/>
                    <a:pt x="229" y="2277"/>
                  </a:cubicBezTo>
                  <a:cubicBezTo>
                    <a:pt x="221" y="2292"/>
                    <a:pt x="237" y="2316"/>
                    <a:pt x="221" y="2340"/>
                  </a:cubicBezTo>
                  <a:cubicBezTo>
                    <a:pt x="205" y="2364"/>
                    <a:pt x="174" y="2411"/>
                    <a:pt x="174" y="2435"/>
                  </a:cubicBezTo>
                  <a:cubicBezTo>
                    <a:pt x="174" y="2458"/>
                    <a:pt x="31" y="3075"/>
                    <a:pt x="0" y="3217"/>
                  </a:cubicBezTo>
                  <a:cubicBezTo>
                    <a:pt x="640" y="3360"/>
                    <a:pt x="1352" y="3494"/>
                    <a:pt x="2063" y="3605"/>
                  </a:cubicBezTo>
                  <a:cubicBezTo>
                    <a:pt x="2253" y="2427"/>
                    <a:pt x="2253" y="2427"/>
                    <a:pt x="2253" y="2427"/>
                  </a:cubicBezTo>
                  <a:cubicBezTo>
                    <a:pt x="2229" y="2411"/>
                    <a:pt x="2221" y="2395"/>
                    <a:pt x="2213" y="2364"/>
                  </a:cubicBezTo>
                </a:path>
              </a:pathLst>
            </a:custGeom>
            <a:grpFill/>
            <a:ln>
              <a:solidFill>
                <a:schemeClr val="bg1">
                  <a:lumMod val="95000"/>
                </a:schemeClr>
              </a:solidFill>
            </a:ln>
            <a:effectLst/>
          </p:spPr>
          <p:txBody>
            <a:bodyPr wrap="none" anchor="ctr"/>
            <a:lstStyle/>
            <a:p>
              <a:endParaRPr lang="en-US" sz="900"/>
            </a:p>
          </p:txBody>
        </p:sp>
        <p:sp>
          <p:nvSpPr>
            <p:cNvPr id="37" name="Freeform 262"/>
            <p:cNvSpPr>
              <a:spLocks noChangeArrowheads="1"/>
            </p:cNvSpPr>
            <p:nvPr/>
          </p:nvSpPr>
          <p:spPr bwMode="auto">
            <a:xfrm>
              <a:off x="8514414" y="3341119"/>
              <a:ext cx="1194442" cy="1901831"/>
            </a:xfrm>
            <a:custGeom>
              <a:avLst/>
              <a:gdLst>
                <a:gd name="T0" fmla="*/ 8 w 2270"/>
                <a:gd name="T1" fmla="*/ 3233 h 3614"/>
                <a:gd name="T2" fmla="*/ 221 w 2270"/>
                <a:gd name="T3" fmla="*/ 2356 h 3614"/>
                <a:gd name="T4" fmla="*/ 237 w 2270"/>
                <a:gd name="T5" fmla="*/ 2277 h 3614"/>
                <a:gd name="T6" fmla="*/ 182 w 2270"/>
                <a:gd name="T7" fmla="*/ 2087 h 3614"/>
                <a:gd name="T8" fmla="*/ 379 w 2270"/>
                <a:gd name="T9" fmla="*/ 1826 h 3614"/>
                <a:gd name="T10" fmla="*/ 537 w 2270"/>
                <a:gd name="T11" fmla="*/ 1605 h 3614"/>
                <a:gd name="T12" fmla="*/ 450 w 2270"/>
                <a:gd name="T13" fmla="*/ 1257 h 3614"/>
                <a:gd name="T14" fmla="*/ 672 w 2270"/>
                <a:gd name="T15" fmla="*/ 0 h 3614"/>
                <a:gd name="T16" fmla="*/ 1012 w 2270"/>
                <a:gd name="T17" fmla="*/ 71 h 3614"/>
                <a:gd name="T18" fmla="*/ 949 w 2270"/>
                <a:gd name="T19" fmla="*/ 458 h 3614"/>
                <a:gd name="T20" fmla="*/ 1012 w 2270"/>
                <a:gd name="T21" fmla="*/ 704 h 3614"/>
                <a:gd name="T22" fmla="*/ 1043 w 2270"/>
                <a:gd name="T23" fmla="*/ 869 h 3614"/>
                <a:gd name="T24" fmla="*/ 1122 w 2270"/>
                <a:gd name="T25" fmla="*/ 1012 h 3614"/>
                <a:gd name="T26" fmla="*/ 1202 w 2270"/>
                <a:gd name="T27" fmla="*/ 1170 h 3614"/>
                <a:gd name="T28" fmla="*/ 1312 w 2270"/>
                <a:gd name="T29" fmla="*/ 1241 h 3614"/>
                <a:gd name="T30" fmla="*/ 1312 w 2270"/>
                <a:gd name="T31" fmla="*/ 1375 h 3614"/>
                <a:gd name="T32" fmla="*/ 1249 w 2270"/>
                <a:gd name="T33" fmla="*/ 1652 h 3614"/>
                <a:gd name="T34" fmla="*/ 1209 w 2270"/>
                <a:gd name="T35" fmla="*/ 1676 h 3614"/>
                <a:gd name="T36" fmla="*/ 1233 w 2270"/>
                <a:gd name="T37" fmla="*/ 1771 h 3614"/>
                <a:gd name="T38" fmla="*/ 1360 w 2270"/>
                <a:gd name="T39" fmla="*/ 1755 h 3614"/>
                <a:gd name="T40" fmla="*/ 1439 w 2270"/>
                <a:gd name="T41" fmla="*/ 1858 h 3614"/>
                <a:gd name="T42" fmla="*/ 1494 w 2270"/>
                <a:gd name="T43" fmla="*/ 2111 h 3614"/>
                <a:gd name="T44" fmla="*/ 1628 w 2270"/>
                <a:gd name="T45" fmla="*/ 2356 h 3614"/>
                <a:gd name="T46" fmla="*/ 1668 w 2270"/>
                <a:gd name="T47" fmla="*/ 2372 h 3614"/>
                <a:gd name="T48" fmla="*/ 1826 w 2270"/>
                <a:gd name="T49" fmla="*/ 2356 h 3614"/>
                <a:gd name="T50" fmla="*/ 1913 w 2270"/>
                <a:gd name="T51" fmla="*/ 2356 h 3614"/>
                <a:gd name="T52" fmla="*/ 2024 w 2270"/>
                <a:gd name="T53" fmla="*/ 2363 h 3614"/>
                <a:gd name="T54" fmla="*/ 2119 w 2270"/>
                <a:gd name="T55" fmla="*/ 2332 h 3614"/>
                <a:gd name="T56" fmla="*/ 2221 w 2270"/>
                <a:gd name="T57" fmla="*/ 2372 h 3614"/>
                <a:gd name="T58" fmla="*/ 8 w 2270"/>
                <a:gd name="T59" fmla="*/ 3225 h 3614"/>
                <a:gd name="T60" fmla="*/ 2213 w 2270"/>
                <a:gd name="T61" fmla="*/ 2372 h 3614"/>
                <a:gd name="T62" fmla="*/ 2126 w 2270"/>
                <a:gd name="T63" fmla="*/ 2332 h 3614"/>
                <a:gd name="T64" fmla="*/ 2055 w 2270"/>
                <a:gd name="T65" fmla="*/ 2419 h 3614"/>
                <a:gd name="T66" fmla="*/ 2024 w 2270"/>
                <a:gd name="T67" fmla="*/ 2372 h 3614"/>
                <a:gd name="T68" fmla="*/ 1873 w 2270"/>
                <a:gd name="T69" fmla="*/ 2348 h 3614"/>
                <a:gd name="T70" fmla="*/ 1786 w 2270"/>
                <a:gd name="T71" fmla="*/ 2379 h 3614"/>
                <a:gd name="T72" fmla="*/ 1676 w 2270"/>
                <a:gd name="T73" fmla="*/ 2372 h 3614"/>
                <a:gd name="T74" fmla="*/ 1620 w 2270"/>
                <a:gd name="T75" fmla="*/ 2363 h 3614"/>
                <a:gd name="T76" fmla="*/ 1486 w 2270"/>
                <a:gd name="T77" fmla="*/ 2111 h 3614"/>
                <a:gd name="T78" fmla="*/ 1431 w 2270"/>
                <a:gd name="T79" fmla="*/ 1866 h 3614"/>
                <a:gd name="T80" fmla="*/ 1367 w 2270"/>
                <a:gd name="T81" fmla="*/ 1763 h 3614"/>
                <a:gd name="T82" fmla="*/ 1233 w 2270"/>
                <a:gd name="T83" fmla="*/ 1795 h 3614"/>
                <a:gd name="T84" fmla="*/ 1194 w 2270"/>
                <a:gd name="T85" fmla="*/ 1747 h 3614"/>
                <a:gd name="T86" fmla="*/ 1233 w 2270"/>
                <a:gd name="T87" fmla="*/ 1644 h 3614"/>
                <a:gd name="T88" fmla="*/ 1257 w 2270"/>
                <a:gd name="T89" fmla="*/ 1462 h 3614"/>
                <a:gd name="T90" fmla="*/ 1336 w 2270"/>
                <a:gd name="T91" fmla="*/ 1241 h 3614"/>
                <a:gd name="T92" fmla="*/ 1241 w 2270"/>
                <a:gd name="T93" fmla="*/ 1225 h 3614"/>
                <a:gd name="T94" fmla="*/ 1138 w 2270"/>
                <a:gd name="T95" fmla="*/ 1036 h 3614"/>
                <a:gd name="T96" fmla="*/ 1067 w 2270"/>
                <a:gd name="T97" fmla="*/ 893 h 3614"/>
                <a:gd name="T98" fmla="*/ 996 w 2270"/>
                <a:gd name="T99" fmla="*/ 767 h 3614"/>
                <a:gd name="T100" fmla="*/ 933 w 2270"/>
                <a:gd name="T101" fmla="*/ 490 h 3614"/>
                <a:gd name="T102" fmla="*/ 1004 w 2270"/>
                <a:gd name="T103" fmla="*/ 71 h 3614"/>
                <a:gd name="T104" fmla="*/ 458 w 2270"/>
                <a:gd name="T105" fmla="*/ 1059 h 3614"/>
                <a:gd name="T106" fmla="*/ 490 w 2270"/>
                <a:gd name="T107" fmla="*/ 1494 h 3614"/>
                <a:gd name="T108" fmla="*/ 411 w 2270"/>
                <a:gd name="T109" fmla="*/ 1810 h 3614"/>
                <a:gd name="T110" fmla="*/ 308 w 2270"/>
                <a:gd name="T111" fmla="*/ 1952 h 3614"/>
                <a:gd name="T112" fmla="*/ 269 w 2270"/>
                <a:gd name="T113" fmla="*/ 2221 h 3614"/>
                <a:gd name="T114" fmla="*/ 237 w 2270"/>
                <a:gd name="T115" fmla="*/ 2348 h 3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3614">
                  <a:moveTo>
                    <a:pt x="2071" y="3613"/>
                  </a:moveTo>
                  <a:lnTo>
                    <a:pt x="2071" y="3613"/>
                  </a:lnTo>
                  <a:lnTo>
                    <a:pt x="2071" y="3613"/>
                  </a:lnTo>
                  <a:cubicBezTo>
                    <a:pt x="1431" y="3518"/>
                    <a:pt x="735" y="3391"/>
                    <a:pt x="8" y="3233"/>
                  </a:cubicBezTo>
                  <a:cubicBezTo>
                    <a:pt x="0" y="3233"/>
                    <a:pt x="0" y="3233"/>
                    <a:pt x="0" y="3233"/>
                  </a:cubicBezTo>
                  <a:cubicBezTo>
                    <a:pt x="0" y="3225"/>
                    <a:pt x="0" y="3225"/>
                    <a:pt x="0" y="3225"/>
                  </a:cubicBezTo>
                  <a:cubicBezTo>
                    <a:pt x="87" y="2854"/>
                    <a:pt x="182" y="2459"/>
                    <a:pt x="182" y="2443"/>
                  </a:cubicBezTo>
                  <a:cubicBezTo>
                    <a:pt x="182" y="2419"/>
                    <a:pt x="205" y="2379"/>
                    <a:pt x="221" y="2356"/>
                  </a:cubicBezTo>
                  <a:cubicBezTo>
                    <a:pt x="229" y="2348"/>
                    <a:pt x="229" y="2348"/>
                    <a:pt x="229" y="2348"/>
                  </a:cubicBezTo>
                  <a:cubicBezTo>
                    <a:pt x="237" y="2332"/>
                    <a:pt x="237" y="2324"/>
                    <a:pt x="229" y="2316"/>
                  </a:cubicBezTo>
                  <a:cubicBezTo>
                    <a:pt x="229" y="2300"/>
                    <a:pt x="229" y="2292"/>
                    <a:pt x="237" y="2285"/>
                  </a:cubicBezTo>
                  <a:cubicBezTo>
                    <a:pt x="237" y="2277"/>
                    <a:pt x="237" y="2277"/>
                    <a:pt x="237" y="2277"/>
                  </a:cubicBezTo>
                  <a:cubicBezTo>
                    <a:pt x="245" y="2269"/>
                    <a:pt x="269" y="2245"/>
                    <a:pt x="261" y="2221"/>
                  </a:cubicBezTo>
                  <a:cubicBezTo>
                    <a:pt x="261" y="2213"/>
                    <a:pt x="245" y="2206"/>
                    <a:pt x="229" y="2198"/>
                  </a:cubicBezTo>
                  <a:cubicBezTo>
                    <a:pt x="182" y="2174"/>
                    <a:pt x="182" y="2142"/>
                    <a:pt x="182" y="2111"/>
                  </a:cubicBezTo>
                  <a:cubicBezTo>
                    <a:pt x="182" y="2103"/>
                    <a:pt x="182" y="2095"/>
                    <a:pt x="182" y="2087"/>
                  </a:cubicBezTo>
                  <a:cubicBezTo>
                    <a:pt x="174" y="2063"/>
                    <a:pt x="237" y="2008"/>
                    <a:pt x="308" y="1945"/>
                  </a:cubicBezTo>
                  <a:cubicBezTo>
                    <a:pt x="332" y="1921"/>
                    <a:pt x="356" y="1897"/>
                    <a:pt x="356" y="1897"/>
                  </a:cubicBezTo>
                  <a:lnTo>
                    <a:pt x="356" y="1897"/>
                  </a:lnTo>
                  <a:cubicBezTo>
                    <a:pt x="356" y="1881"/>
                    <a:pt x="348" y="1850"/>
                    <a:pt x="379" y="1826"/>
                  </a:cubicBezTo>
                  <a:cubicBezTo>
                    <a:pt x="387" y="1818"/>
                    <a:pt x="395" y="1810"/>
                    <a:pt x="403" y="1802"/>
                  </a:cubicBezTo>
                  <a:cubicBezTo>
                    <a:pt x="427" y="1786"/>
                    <a:pt x="443" y="1771"/>
                    <a:pt x="443" y="1755"/>
                  </a:cubicBezTo>
                  <a:cubicBezTo>
                    <a:pt x="443" y="1731"/>
                    <a:pt x="506" y="1652"/>
                    <a:pt x="530" y="1628"/>
                  </a:cubicBezTo>
                  <a:cubicBezTo>
                    <a:pt x="537" y="1628"/>
                    <a:pt x="537" y="1621"/>
                    <a:pt x="537" y="1605"/>
                  </a:cubicBezTo>
                  <a:cubicBezTo>
                    <a:pt x="537" y="1573"/>
                    <a:pt x="514" y="1526"/>
                    <a:pt x="490" y="1502"/>
                  </a:cubicBezTo>
                  <a:cubicBezTo>
                    <a:pt x="443" y="1462"/>
                    <a:pt x="435" y="1360"/>
                    <a:pt x="435" y="1336"/>
                  </a:cubicBezTo>
                  <a:cubicBezTo>
                    <a:pt x="435" y="1328"/>
                    <a:pt x="443" y="1328"/>
                    <a:pt x="443" y="1320"/>
                  </a:cubicBezTo>
                  <a:cubicBezTo>
                    <a:pt x="450" y="1296"/>
                    <a:pt x="450" y="1273"/>
                    <a:pt x="450" y="1257"/>
                  </a:cubicBezTo>
                  <a:cubicBezTo>
                    <a:pt x="435" y="1233"/>
                    <a:pt x="435" y="1091"/>
                    <a:pt x="450" y="1059"/>
                  </a:cubicBezTo>
                  <a:cubicBezTo>
                    <a:pt x="466" y="1036"/>
                    <a:pt x="506" y="830"/>
                    <a:pt x="537" y="704"/>
                  </a:cubicBezTo>
                  <a:cubicBezTo>
                    <a:pt x="545" y="648"/>
                    <a:pt x="561" y="609"/>
                    <a:pt x="561" y="593"/>
                  </a:cubicBezTo>
                  <a:cubicBezTo>
                    <a:pt x="569" y="577"/>
                    <a:pt x="624" y="277"/>
                    <a:pt x="672" y="0"/>
                  </a:cubicBezTo>
                  <a:lnTo>
                    <a:pt x="672" y="0"/>
                  </a:lnTo>
                  <a:cubicBezTo>
                    <a:pt x="680" y="0"/>
                    <a:pt x="680" y="0"/>
                    <a:pt x="680" y="0"/>
                  </a:cubicBezTo>
                  <a:cubicBezTo>
                    <a:pt x="783" y="24"/>
                    <a:pt x="893" y="47"/>
                    <a:pt x="1012" y="71"/>
                  </a:cubicBezTo>
                  <a:lnTo>
                    <a:pt x="1012" y="71"/>
                  </a:lnTo>
                  <a:lnTo>
                    <a:pt x="1012" y="71"/>
                  </a:lnTo>
                  <a:cubicBezTo>
                    <a:pt x="1012" y="95"/>
                    <a:pt x="1004" y="119"/>
                    <a:pt x="1004" y="134"/>
                  </a:cubicBezTo>
                  <a:cubicBezTo>
                    <a:pt x="1004" y="166"/>
                    <a:pt x="1004" y="261"/>
                    <a:pt x="988" y="300"/>
                  </a:cubicBezTo>
                  <a:cubicBezTo>
                    <a:pt x="972" y="340"/>
                    <a:pt x="956" y="427"/>
                    <a:pt x="949" y="458"/>
                  </a:cubicBezTo>
                  <a:cubicBezTo>
                    <a:pt x="949" y="466"/>
                    <a:pt x="949" y="482"/>
                    <a:pt x="941" y="490"/>
                  </a:cubicBezTo>
                  <a:cubicBezTo>
                    <a:pt x="933" y="514"/>
                    <a:pt x="933" y="530"/>
                    <a:pt x="941" y="553"/>
                  </a:cubicBezTo>
                  <a:cubicBezTo>
                    <a:pt x="941" y="569"/>
                    <a:pt x="956" y="585"/>
                    <a:pt x="964" y="601"/>
                  </a:cubicBezTo>
                  <a:cubicBezTo>
                    <a:pt x="988" y="640"/>
                    <a:pt x="1012" y="680"/>
                    <a:pt x="1012" y="704"/>
                  </a:cubicBezTo>
                  <a:cubicBezTo>
                    <a:pt x="1012" y="727"/>
                    <a:pt x="1012" y="743"/>
                    <a:pt x="1004" y="767"/>
                  </a:cubicBezTo>
                  <a:cubicBezTo>
                    <a:pt x="996" y="783"/>
                    <a:pt x="996" y="798"/>
                    <a:pt x="996" y="806"/>
                  </a:cubicBezTo>
                  <a:cubicBezTo>
                    <a:pt x="996" y="830"/>
                    <a:pt x="1004" y="838"/>
                    <a:pt x="1020" y="854"/>
                  </a:cubicBezTo>
                  <a:cubicBezTo>
                    <a:pt x="1027" y="854"/>
                    <a:pt x="1036" y="862"/>
                    <a:pt x="1043" y="869"/>
                  </a:cubicBezTo>
                  <a:cubicBezTo>
                    <a:pt x="1051" y="885"/>
                    <a:pt x="1059" y="885"/>
                    <a:pt x="1067" y="885"/>
                  </a:cubicBezTo>
                  <a:cubicBezTo>
                    <a:pt x="1083" y="893"/>
                    <a:pt x="1099" y="893"/>
                    <a:pt x="1107" y="925"/>
                  </a:cubicBezTo>
                  <a:cubicBezTo>
                    <a:pt x="1107" y="933"/>
                    <a:pt x="1107" y="949"/>
                    <a:pt x="1107" y="964"/>
                  </a:cubicBezTo>
                  <a:cubicBezTo>
                    <a:pt x="1099" y="980"/>
                    <a:pt x="1099" y="1004"/>
                    <a:pt x="1122" y="1012"/>
                  </a:cubicBezTo>
                  <a:cubicBezTo>
                    <a:pt x="1130" y="1020"/>
                    <a:pt x="1138" y="1020"/>
                    <a:pt x="1146" y="1028"/>
                  </a:cubicBezTo>
                  <a:cubicBezTo>
                    <a:pt x="1170" y="1044"/>
                    <a:pt x="1178" y="1051"/>
                    <a:pt x="1186" y="1091"/>
                  </a:cubicBezTo>
                  <a:cubicBezTo>
                    <a:pt x="1186" y="1107"/>
                    <a:pt x="1186" y="1122"/>
                    <a:pt x="1178" y="1131"/>
                  </a:cubicBezTo>
                  <a:cubicBezTo>
                    <a:pt x="1178" y="1146"/>
                    <a:pt x="1178" y="1146"/>
                    <a:pt x="1202" y="1170"/>
                  </a:cubicBezTo>
                  <a:cubicBezTo>
                    <a:pt x="1225" y="1186"/>
                    <a:pt x="1233" y="1202"/>
                    <a:pt x="1249" y="1217"/>
                  </a:cubicBezTo>
                  <a:cubicBezTo>
                    <a:pt x="1257" y="1233"/>
                    <a:pt x="1265" y="1249"/>
                    <a:pt x="1280" y="1249"/>
                  </a:cubicBezTo>
                  <a:cubicBezTo>
                    <a:pt x="1280" y="1257"/>
                    <a:pt x="1280" y="1257"/>
                    <a:pt x="1289" y="1257"/>
                  </a:cubicBezTo>
                  <a:cubicBezTo>
                    <a:pt x="1296" y="1257"/>
                    <a:pt x="1304" y="1249"/>
                    <a:pt x="1312" y="1241"/>
                  </a:cubicBezTo>
                  <a:cubicBezTo>
                    <a:pt x="1320" y="1241"/>
                    <a:pt x="1328" y="1233"/>
                    <a:pt x="1336" y="1233"/>
                  </a:cubicBezTo>
                  <a:cubicBezTo>
                    <a:pt x="1344" y="1233"/>
                    <a:pt x="1344" y="1249"/>
                    <a:pt x="1344" y="1257"/>
                  </a:cubicBezTo>
                  <a:cubicBezTo>
                    <a:pt x="1352" y="1296"/>
                    <a:pt x="1336" y="1352"/>
                    <a:pt x="1320" y="1375"/>
                  </a:cubicBezTo>
                  <a:cubicBezTo>
                    <a:pt x="1312" y="1375"/>
                    <a:pt x="1312" y="1375"/>
                    <a:pt x="1312" y="1375"/>
                  </a:cubicBezTo>
                  <a:cubicBezTo>
                    <a:pt x="1296" y="1399"/>
                    <a:pt x="1273" y="1431"/>
                    <a:pt x="1265" y="1462"/>
                  </a:cubicBezTo>
                  <a:cubicBezTo>
                    <a:pt x="1257" y="1502"/>
                    <a:pt x="1265" y="1542"/>
                    <a:pt x="1273" y="1565"/>
                  </a:cubicBezTo>
                  <a:cubicBezTo>
                    <a:pt x="1273" y="1589"/>
                    <a:pt x="1273" y="1628"/>
                    <a:pt x="1257" y="1644"/>
                  </a:cubicBezTo>
                  <a:cubicBezTo>
                    <a:pt x="1257" y="1652"/>
                    <a:pt x="1249" y="1652"/>
                    <a:pt x="1249" y="1652"/>
                  </a:cubicBezTo>
                  <a:cubicBezTo>
                    <a:pt x="1241" y="1652"/>
                    <a:pt x="1241" y="1652"/>
                    <a:pt x="1241" y="1652"/>
                  </a:cubicBezTo>
                  <a:cubicBezTo>
                    <a:pt x="1233" y="1652"/>
                    <a:pt x="1233" y="1652"/>
                    <a:pt x="1233" y="1652"/>
                  </a:cubicBezTo>
                  <a:cubicBezTo>
                    <a:pt x="1225" y="1652"/>
                    <a:pt x="1217" y="1652"/>
                    <a:pt x="1209" y="1660"/>
                  </a:cubicBezTo>
                  <a:cubicBezTo>
                    <a:pt x="1209" y="1660"/>
                    <a:pt x="1209" y="1668"/>
                    <a:pt x="1209" y="1676"/>
                  </a:cubicBezTo>
                  <a:cubicBezTo>
                    <a:pt x="1209" y="1708"/>
                    <a:pt x="1202" y="1731"/>
                    <a:pt x="1194" y="1747"/>
                  </a:cubicBezTo>
                  <a:lnTo>
                    <a:pt x="1194" y="1747"/>
                  </a:lnTo>
                  <a:cubicBezTo>
                    <a:pt x="1194" y="1755"/>
                    <a:pt x="1194" y="1755"/>
                    <a:pt x="1202" y="1755"/>
                  </a:cubicBezTo>
                  <a:cubicBezTo>
                    <a:pt x="1209" y="1763"/>
                    <a:pt x="1217" y="1763"/>
                    <a:pt x="1233" y="1771"/>
                  </a:cubicBezTo>
                  <a:cubicBezTo>
                    <a:pt x="1241" y="1779"/>
                    <a:pt x="1241" y="1786"/>
                    <a:pt x="1241" y="1786"/>
                  </a:cubicBezTo>
                  <a:cubicBezTo>
                    <a:pt x="1241" y="1795"/>
                    <a:pt x="1241" y="1795"/>
                    <a:pt x="1241" y="1802"/>
                  </a:cubicBezTo>
                  <a:cubicBezTo>
                    <a:pt x="1241" y="1795"/>
                    <a:pt x="1249" y="1795"/>
                    <a:pt x="1257" y="1795"/>
                  </a:cubicBezTo>
                  <a:cubicBezTo>
                    <a:pt x="1320" y="1786"/>
                    <a:pt x="1336" y="1779"/>
                    <a:pt x="1360" y="1755"/>
                  </a:cubicBezTo>
                  <a:cubicBezTo>
                    <a:pt x="1375" y="1739"/>
                    <a:pt x="1407" y="1723"/>
                    <a:pt x="1423" y="1723"/>
                  </a:cubicBezTo>
                  <a:cubicBezTo>
                    <a:pt x="1431" y="1723"/>
                    <a:pt x="1447" y="1731"/>
                    <a:pt x="1447" y="1747"/>
                  </a:cubicBezTo>
                  <a:cubicBezTo>
                    <a:pt x="1447" y="1771"/>
                    <a:pt x="1447" y="1786"/>
                    <a:pt x="1439" y="1802"/>
                  </a:cubicBezTo>
                  <a:cubicBezTo>
                    <a:pt x="1431" y="1818"/>
                    <a:pt x="1431" y="1842"/>
                    <a:pt x="1439" y="1858"/>
                  </a:cubicBezTo>
                  <a:cubicBezTo>
                    <a:pt x="1439" y="1866"/>
                    <a:pt x="1439" y="1866"/>
                    <a:pt x="1439" y="1873"/>
                  </a:cubicBezTo>
                  <a:cubicBezTo>
                    <a:pt x="1454" y="1905"/>
                    <a:pt x="1462" y="1929"/>
                    <a:pt x="1486" y="1961"/>
                  </a:cubicBezTo>
                  <a:cubicBezTo>
                    <a:pt x="1518" y="2000"/>
                    <a:pt x="1518" y="2039"/>
                    <a:pt x="1510" y="2087"/>
                  </a:cubicBezTo>
                  <a:cubicBezTo>
                    <a:pt x="1502" y="2095"/>
                    <a:pt x="1502" y="2103"/>
                    <a:pt x="1494" y="2111"/>
                  </a:cubicBezTo>
                  <a:cubicBezTo>
                    <a:pt x="1494" y="2126"/>
                    <a:pt x="1486" y="2134"/>
                    <a:pt x="1486" y="2142"/>
                  </a:cubicBezTo>
                  <a:cubicBezTo>
                    <a:pt x="1494" y="2150"/>
                    <a:pt x="1502" y="2158"/>
                    <a:pt x="1526" y="2158"/>
                  </a:cubicBezTo>
                  <a:cubicBezTo>
                    <a:pt x="1581" y="2174"/>
                    <a:pt x="1597" y="2190"/>
                    <a:pt x="1597" y="2237"/>
                  </a:cubicBezTo>
                  <a:cubicBezTo>
                    <a:pt x="1597" y="2277"/>
                    <a:pt x="1620" y="2340"/>
                    <a:pt x="1628" y="2356"/>
                  </a:cubicBezTo>
                  <a:cubicBezTo>
                    <a:pt x="1636" y="2363"/>
                    <a:pt x="1636" y="2372"/>
                    <a:pt x="1636" y="2379"/>
                  </a:cubicBezTo>
                  <a:cubicBezTo>
                    <a:pt x="1644" y="2387"/>
                    <a:pt x="1644" y="2395"/>
                    <a:pt x="1652" y="2395"/>
                  </a:cubicBezTo>
                  <a:cubicBezTo>
                    <a:pt x="1652" y="2395"/>
                    <a:pt x="1652" y="2395"/>
                    <a:pt x="1660" y="2387"/>
                  </a:cubicBezTo>
                  <a:cubicBezTo>
                    <a:pt x="1668" y="2379"/>
                    <a:pt x="1668" y="2372"/>
                    <a:pt x="1668" y="2372"/>
                  </a:cubicBezTo>
                  <a:cubicBezTo>
                    <a:pt x="1684" y="2348"/>
                    <a:pt x="1692" y="2340"/>
                    <a:pt x="1715" y="2348"/>
                  </a:cubicBezTo>
                  <a:cubicBezTo>
                    <a:pt x="1731" y="2356"/>
                    <a:pt x="1739" y="2356"/>
                    <a:pt x="1747" y="2363"/>
                  </a:cubicBezTo>
                  <a:cubicBezTo>
                    <a:pt x="1763" y="2372"/>
                    <a:pt x="1771" y="2372"/>
                    <a:pt x="1786" y="2372"/>
                  </a:cubicBezTo>
                  <a:cubicBezTo>
                    <a:pt x="1802" y="2379"/>
                    <a:pt x="1810" y="2363"/>
                    <a:pt x="1826" y="2356"/>
                  </a:cubicBezTo>
                  <a:cubicBezTo>
                    <a:pt x="1826" y="2356"/>
                    <a:pt x="1834" y="2348"/>
                    <a:pt x="1842" y="2348"/>
                  </a:cubicBezTo>
                  <a:lnTo>
                    <a:pt x="1842" y="2348"/>
                  </a:lnTo>
                  <a:cubicBezTo>
                    <a:pt x="1850" y="2340"/>
                    <a:pt x="1858" y="2340"/>
                    <a:pt x="1873" y="2340"/>
                  </a:cubicBezTo>
                  <a:cubicBezTo>
                    <a:pt x="1881" y="2340"/>
                    <a:pt x="1897" y="2340"/>
                    <a:pt x="1913" y="2356"/>
                  </a:cubicBezTo>
                  <a:cubicBezTo>
                    <a:pt x="1937" y="2372"/>
                    <a:pt x="1953" y="2379"/>
                    <a:pt x="1976" y="2379"/>
                  </a:cubicBezTo>
                  <a:cubicBezTo>
                    <a:pt x="1984" y="2379"/>
                    <a:pt x="1984" y="2379"/>
                    <a:pt x="1992" y="2379"/>
                  </a:cubicBezTo>
                  <a:cubicBezTo>
                    <a:pt x="2008" y="2372"/>
                    <a:pt x="2016" y="2372"/>
                    <a:pt x="2016" y="2372"/>
                  </a:cubicBezTo>
                  <a:cubicBezTo>
                    <a:pt x="2016" y="2363"/>
                    <a:pt x="2024" y="2363"/>
                    <a:pt x="2024" y="2363"/>
                  </a:cubicBezTo>
                  <a:cubicBezTo>
                    <a:pt x="2032" y="2363"/>
                    <a:pt x="2039" y="2363"/>
                    <a:pt x="2047" y="2372"/>
                  </a:cubicBezTo>
                  <a:cubicBezTo>
                    <a:pt x="2071" y="2387"/>
                    <a:pt x="2063" y="2403"/>
                    <a:pt x="2063" y="2411"/>
                  </a:cubicBezTo>
                  <a:cubicBezTo>
                    <a:pt x="2071" y="2411"/>
                    <a:pt x="2071" y="2403"/>
                    <a:pt x="2079" y="2395"/>
                  </a:cubicBezTo>
                  <a:cubicBezTo>
                    <a:pt x="2103" y="2379"/>
                    <a:pt x="2111" y="2348"/>
                    <a:pt x="2119" y="2332"/>
                  </a:cubicBezTo>
                  <a:cubicBezTo>
                    <a:pt x="2126" y="2308"/>
                    <a:pt x="2134" y="2300"/>
                    <a:pt x="2142" y="2300"/>
                  </a:cubicBezTo>
                  <a:cubicBezTo>
                    <a:pt x="2150" y="2300"/>
                    <a:pt x="2150" y="2300"/>
                    <a:pt x="2150" y="2300"/>
                  </a:cubicBezTo>
                  <a:cubicBezTo>
                    <a:pt x="2158" y="2300"/>
                    <a:pt x="2166" y="2308"/>
                    <a:pt x="2166" y="2308"/>
                  </a:cubicBezTo>
                  <a:cubicBezTo>
                    <a:pt x="2197" y="2324"/>
                    <a:pt x="2213" y="2332"/>
                    <a:pt x="2221" y="2372"/>
                  </a:cubicBezTo>
                  <a:cubicBezTo>
                    <a:pt x="2229" y="2403"/>
                    <a:pt x="2237" y="2419"/>
                    <a:pt x="2261" y="2427"/>
                  </a:cubicBezTo>
                  <a:cubicBezTo>
                    <a:pt x="2269" y="2427"/>
                    <a:pt x="2269" y="2427"/>
                    <a:pt x="2269" y="2427"/>
                  </a:cubicBezTo>
                  <a:lnTo>
                    <a:pt x="2071" y="3613"/>
                  </a:lnTo>
                  <a:close/>
                  <a:moveTo>
                    <a:pt x="8" y="3225"/>
                  </a:moveTo>
                  <a:lnTo>
                    <a:pt x="8" y="3225"/>
                  </a:lnTo>
                  <a:cubicBezTo>
                    <a:pt x="743" y="3383"/>
                    <a:pt x="1431" y="3510"/>
                    <a:pt x="2063" y="3605"/>
                  </a:cubicBezTo>
                  <a:cubicBezTo>
                    <a:pt x="2261" y="2435"/>
                    <a:pt x="2261" y="2435"/>
                    <a:pt x="2261" y="2435"/>
                  </a:cubicBezTo>
                  <a:cubicBezTo>
                    <a:pt x="2237" y="2419"/>
                    <a:pt x="2221" y="2403"/>
                    <a:pt x="2213" y="2372"/>
                  </a:cubicBezTo>
                  <a:cubicBezTo>
                    <a:pt x="2213" y="2340"/>
                    <a:pt x="2190" y="2324"/>
                    <a:pt x="2166" y="2316"/>
                  </a:cubicBezTo>
                  <a:cubicBezTo>
                    <a:pt x="2158" y="2316"/>
                    <a:pt x="2158" y="2308"/>
                    <a:pt x="2150" y="2308"/>
                  </a:cubicBezTo>
                  <a:lnTo>
                    <a:pt x="2142" y="2308"/>
                  </a:lnTo>
                  <a:cubicBezTo>
                    <a:pt x="2134" y="2308"/>
                    <a:pt x="2134" y="2316"/>
                    <a:pt x="2126" y="2332"/>
                  </a:cubicBezTo>
                  <a:cubicBezTo>
                    <a:pt x="2119" y="2356"/>
                    <a:pt x="2111" y="2379"/>
                    <a:pt x="2087" y="2403"/>
                  </a:cubicBezTo>
                  <a:cubicBezTo>
                    <a:pt x="2071" y="2419"/>
                    <a:pt x="2063" y="2427"/>
                    <a:pt x="2063" y="2427"/>
                  </a:cubicBezTo>
                  <a:lnTo>
                    <a:pt x="2063" y="2427"/>
                  </a:lnTo>
                  <a:cubicBezTo>
                    <a:pt x="2055" y="2419"/>
                    <a:pt x="2055" y="2419"/>
                    <a:pt x="2055" y="2419"/>
                  </a:cubicBezTo>
                  <a:cubicBezTo>
                    <a:pt x="2055" y="2419"/>
                    <a:pt x="2055" y="2419"/>
                    <a:pt x="2055" y="2411"/>
                  </a:cubicBezTo>
                  <a:cubicBezTo>
                    <a:pt x="2063" y="2403"/>
                    <a:pt x="2063" y="2387"/>
                    <a:pt x="2047" y="2379"/>
                  </a:cubicBezTo>
                  <a:cubicBezTo>
                    <a:pt x="2032" y="2372"/>
                    <a:pt x="2024" y="2372"/>
                    <a:pt x="2024" y="2372"/>
                  </a:cubicBezTo>
                  <a:lnTo>
                    <a:pt x="2024" y="2372"/>
                  </a:lnTo>
                  <a:cubicBezTo>
                    <a:pt x="2016" y="2379"/>
                    <a:pt x="2008" y="2379"/>
                    <a:pt x="2000" y="2387"/>
                  </a:cubicBezTo>
                  <a:cubicBezTo>
                    <a:pt x="1992" y="2387"/>
                    <a:pt x="1984" y="2387"/>
                    <a:pt x="1976" y="2387"/>
                  </a:cubicBezTo>
                  <a:cubicBezTo>
                    <a:pt x="1953" y="2387"/>
                    <a:pt x="1929" y="2379"/>
                    <a:pt x="1905" y="2356"/>
                  </a:cubicBezTo>
                  <a:cubicBezTo>
                    <a:pt x="1897" y="2348"/>
                    <a:pt x="1881" y="2348"/>
                    <a:pt x="1873" y="2348"/>
                  </a:cubicBezTo>
                  <a:cubicBezTo>
                    <a:pt x="1866" y="2348"/>
                    <a:pt x="1850" y="2348"/>
                    <a:pt x="1850" y="2348"/>
                  </a:cubicBezTo>
                  <a:cubicBezTo>
                    <a:pt x="1842" y="2348"/>
                    <a:pt x="1842" y="2356"/>
                    <a:pt x="1842" y="2356"/>
                  </a:cubicBezTo>
                  <a:cubicBezTo>
                    <a:pt x="1834" y="2356"/>
                    <a:pt x="1834" y="2356"/>
                    <a:pt x="1826" y="2363"/>
                  </a:cubicBezTo>
                  <a:cubicBezTo>
                    <a:pt x="1818" y="2372"/>
                    <a:pt x="1802" y="2379"/>
                    <a:pt x="1786" y="2379"/>
                  </a:cubicBezTo>
                  <a:cubicBezTo>
                    <a:pt x="1763" y="2379"/>
                    <a:pt x="1755" y="2372"/>
                    <a:pt x="1747" y="2372"/>
                  </a:cubicBezTo>
                  <a:cubicBezTo>
                    <a:pt x="1739" y="2363"/>
                    <a:pt x="1731" y="2363"/>
                    <a:pt x="1715" y="2356"/>
                  </a:cubicBezTo>
                  <a:cubicBezTo>
                    <a:pt x="1707" y="2356"/>
                    <a:pt x="1700" y="2356"/>
                    <a:pt x="1700" y="2356"/>
                  </a:cubicBezTo>
                  <a:cubicBezTo>
                    <a:pt x="1692" y="2356"/>
                    <a:pt x="1684" y="2356"/>
                    <a:pt x="1676" y="2372"/>
                  </a:cubicBezTo>
                  <a:cubicBezTo>
                    <a:pt x="1676" y="2379"/>
                    <a:pt x="1668" y="2387"/>
                    <a:pt x="1668" y="2395"/>
                  </a:cubicBezTo>
                  <a:cubicBezTo>
                    <a:pt x="1660" y="2403"/>
                    <a:pt x="1652" y="2403"/>
                    <a:pt x="1652" y="2403"/>
                  </a:cubicBezTo>
                  <a:cubicBezTo>
                    <a:pt x="1636" y="2403"/>
                    <a:pt x="1636" y="2395"/>
                    <a:pt x="1628" y="2379"/>
                  </a:cubicBezTo>
                  <a:cubicBezTo>
                    <a:pt x="1628" y="2372"/>
                    <a:pt x="1628" y="2363"/>
                    <a:pt x="1620" y="2363"/>
                  </a:cubicBezTo>
                  <a:cubicBezTo>
                    <a:pt x="1613" y="2348"/>
                    <a:pt x="1589" y="2277"/>
                    <a:pt x="1589" y="2237"/>
                  </a:cubicBezTo>
                  <a:cubicBezTo>
                    <a:pt x="1589" y="2198"/>
                    <a:pt x="1581" y="2174"/>
                    <a:pt x="1518" y="2166"/>
                  </a:cubicBezTo>
                  <a:cubicBezTo>
                    <a:pt x="1502" y="2166"/>
                    <a:pt x="1486" y="2158"/>
                    <a:pt x="1486" y="2150"/>
                  </a:cubicBezTo>
                  <a:cubicBezTo>
                    <a:pt x="1478" y="2134"/>
                    <a:pt x="1486" y="2126"/>
                    <a:pt x="1486" y="2111"/>
                  </a:cubicBezTo>
                  <a:cubicBezTo>
                    <a:pt x="1494" y="2103"/>
                    <a:pt x="1494" y="2095"/>
                    <a:pt x="1502" y="2087"/>
                  </a:cubicBezTo>
                  <a:cubicBezTo>
                    <a:pt x="1510" y="2039"/>
                    <a:pt x="1510" y="2008"/>
                    <a:pt x="1478" y="1968"/>
                  </a:cubicBezTo>
                  <a:cubicBezTo>
                    <a:pt x="1454" y="1929"/>
                    <a:pt x="1447" y="1905"/>
                    <a:pt x="1431" y="1873"/>
                  </a:cubicBezTo>
                  <a:lnTo>
                    <a:pt x="1431" y="1866"/>
                  </a:lnTo>
                  <a:cubicBezTo>
                    <a:pt x="1423" y="1842"/>
                    <a:pt x="1423" y="1818"/>
                    <a:pt x="1431" y="1802"/>
                  </a:cubicBezTo>
                  <a:cubicBezTo>
                    <a:pt x="1439" y="1786"/>
                    <a:pt x="1439" y="1771"/>
                    <a:pt x="1439" y="1747"/>
                  </a:cubicBezTo>
                  <a:cubicBezTo>
                    <a:pt x="1439" y="1739"/>
                    <a:pt x="1431" y="1731"/>
                    <a:pt x="1423" y="1731"/>
                  </a:cubicBezTo>
                  <a:cubicBezTo>
                    <a:pt x="1407" y="1731"/>
                    <a:pt x="1383" y="1747"/>
                    <a:pt x="1367" y="1763"/>
                  </a:cubicBezTo>
                  <a:cubicBezTo>
                    <a:pt x="1336" y="1786"/>
                    <a:pt x="1320" y="1795"/>
                    <a:pt x="1265" y="1802"/>
                  </a:cubicBezTo>
                  <a:cubicBezTo>
                    <a:pt x="1249" y="1802"/>
                    <a:pt x="1241" y="1810"/>
                    <a:pt x="1233" y="1810"/>
                  </a:cubicBezTo>
                  <a:lnTo>
                    <a:pt x="1233" y="1802"/>
                  </a:lnTo>
                  <a:cubicBezTo>
                    <a:pt x="1225" y="1802"/>
                    <a:pt x="1233" y="1802"/>
                    <a:pt x="1233" y="1795"/>
                  </a:cubicBezTo>
                  <a:cubicBezTo>
                    <a:pt x="1233" y="1795"/>
                    <a:pt x="1233" y="1795"/>
                    <a:pt x="1233" y="1786"/>
                  </a:cubicBezTo>
                  <a:cubicBezTo>
                    <a:pt x="1233" y="1786"/>
                    <a:pt x="1233" y="1779"/>
                    <a:pt x="1225" y="1779"/>
                  </a:cubicBezTo>
                  <a:cubicBezTo>
                    <a:pt x="1217" y="1771"/>
                    <a:pt x="1209" y="1763"/>
                    <a:pt x="1202" y="1763"/>
                  </a:cubicBezTo>
                  <a:cubicBezTo>
                    <a:pt x="1194" y="1755"/>
                    <a:pt x="1186" y="1755"/>
                    <a:pt x="1194" y="1747"/>
                  </a:cubicBezTo>
                  <a:cubicBezTo>
                    <a:pt x="1194" y="1739"/>
                    <a:pt x="1194" y="1739"/>
                    <a:pt x="1194" y="1739"/>
                  </a:cubicBezTo>
                  <a:cubicBezTo>
                    <a:pt x="1194" y="1731"/>
                    <a:pt x="1202" y="1708"/>
                    <a:pt x="1202" y="1676"/>
                  </a:cubicBezTo>
                  <a:cubicBezTo>
                    <a:pt x="1202" y="1668"/>
                    <a:pt x="1202" y="1660"/>
                    <a:pt x="1209" y="1652"/>
                  </a:cubicBezTo>
                  <a:cubicBezTo>
                    <a:pt x="1209" y="1644"/>
                    <a:pt x="1225" y="1644"/>
                    <a:pt x="1233" y="1644"/>
                  </a:cubicBezTo>
                  <a:cubicBezTo>
                    <a:pt x="1233" y="1644"/>
                    <a:pt x="1233" y="1644"/>
                    <a:pt x="1241" y="1644"/>
                  </a:cubicBezTo>
                  <a:cubicBezTo>
                    <a:pt x="1241" y="1644"/>
                    <a:pt x="1249" y="1644"/>
                    <a:pt x="1257" y="1644"/>
                  </a:cubicBezTo>
                  <a:cubicBezTo>
                    <a:pt x="1265" y="1628"/>
                    <a:pt x="1265" y="1589"/>
                    <a:pt x="1265" y="1573"/>
                  </a:cubicBezTo>
                  <a:cubicBezTo>
                    <a:pt x="1257" y="1542"/>
                    <a:pt x="1249" y="1502"/>
                    <a:pt x="1257" y="1462"/>
                  </a:cubicBezTo>
                  <a:cubicBezTo>
                    <a:pt x="1265" y="1423"/>
                    <a:pt x="1296" y="1391"/>
                    <a:pt x="1312" y="1375"/>
                  </a:cubicBezTo>
                  <a:cubicBezTo>
                    <a:pt x="1312" y="1368"/>
                    <a:pt x="1312" y="1368"/>
                    <a:pt x="1312" y="1368"/>
                  </a:cubicBezTo>
                  <a:cubicBezTo>
                    <a:pt x="1328" y="1352"/>
                    <a:pt x="1344" y="1304"/>
                    <a:pt x="1344" y="1257"/>
                  </a:cubicBezTo>
                  <a:cubicBezTo>
                    <a:pt x="1336" y="1249"/>
                    <a:pt x="1336" y="1241"/>
                    <a:pt x="1336" y="1241"/>
                  </a:cubicBezTo>
                  <a:cubicBezTo>
                    <a:pt x="1328" y="1241"/>
                    <a:pt x="1328" y="1241"/>
                    <a:pt x="1320" y="1249"/>
                  </a:cubicBezTo>
                  <a:cubicBezTo>
                    <a:pt x="1312" y="1257"/>
                    <a:pt x="1296" y="1257"/>
                    <a:pt x="1289" y="1257"/>
                  </a:cubicBezTo>
                  <a:cubicBezTo>
                    <a:pt x="1280" y="1257"/>
                    <a:pt x="1280" y="1257"/>
                    <a:pt x="1280" y="1257"/>
                  </a:cubicBezTo>
                  <a:cubicBezTo>
                    <a:pt x="1257" y="1257"/>
                    <a:pt x="1249" y="1241"/>
                    <a:pt x="1241" y="1225"/>
                  </a:cubicBezTo>
                  <a:cubicBezTo>
                    <a:pt x="1233" y="1209"/>
                    <a:pt x="1217" y="1186"/>
                    <a:pt x="1194" y="1178"/>
                  </a:cubicBezTo>
                  <a:cubicBezTo>
                    <a:pt x="1170" y="1154"/>
                    <a:pt x="1170" y="1146"/>
                    <a:pt x="1170" y="1131"/>
                  </a:cubicBezTo>
                  <a:cubicBezTo>
                    <a:pt x="1178" y="1115"/>
                    <a:pt x="1178" y="1107"/>
                    <a:pt x="1178" y="1091"/>
                  </a:cubicBezTo>
                  <a:cubicBezTo>
                    <a:pt x="1170" y="1051"/>
                    <a:pt x="1162" y="1051"/>
                    <a:pt x="1138" y="1036"/>
                  </a:cubicBezTo>
                  <a:cubicBezTo>
                    <a:pt x="1130" y="1028"/>
                    <a:pt x="1130" y="1028"/>
                    <a:pt x="1122" y="1020"/>
                  </a:cubicBezTo>
                  <a:cubicBezTo>
                    <a:pt x="1091" y="1004"/>
                    <a:pt x="1091" y="980"/>
                    <a:pt x="1099" y="964"/>
                  </a:cubicBezTo>
                  <a:cubicBezTo>
                    <a:pt x="1099" y="949"/>
                    <a:pt x="1099" y="933"/>
                    <a:pt x="1099" y="925"/>
                  </a:cubicBezTo>
                  <a:cubicBezTo>
                    <a:pt x="1091" y="901"/>
                    <a:pt x="1083" y="901"/>
                    <a:pt x="1067" y="893"/>
                  </a:cubicBezTo>
                  <a:cubicBezTo>
                    <a:pt x="1059" y="893"/>
                    <a:pt x="1043" y="885"/>
                    <a:pt x="1036" y="878"/>
                  </a:cubicBezTo>
                  <a:cubicBezTo>
                    <a:pt x="1027" y="869"/>
                    <a:pt x="1020" y="862"/>
                    <a:pt x="1020" y="854"/>
                  </a:cubicBezTo>
                  <a:cubicBezTo>
                    <a:pt x="1004" y="846"/>
                    <a:pt x="988" y="830"/>
                    <a:pt x="988" y="806"/>
                  </a:cubicBezTo>
                  <a:cubicBezTo>
                    <a:pt x="988" y="791"/>
                    <a:pt x="996" y="783"/>
                    <a:pt x="996" y="767"/>
                  </a:cubicBezTo>
                  <a:cubicBezTo>
                    <a:pt x="1004" y="743"/>
                    <a:pt x="1004" y="727"/>
                    <a:pt x="1004" y="704"/>
                  </a:cubicBezTo>
                  <a:cubicBezTo>
                    <a:pt x="1004" y="680"/>
                    <a:pt x="980" y="640"/>
                    <a:pt x="956" y="609"/>
                  </a:cubicBezTo>
                  <a:cubicBezTo>
                    <a:pt x="949" y="585"/>
                    <a:pt x="933" y="569"/>
                    <a:pt x="933" y="553"/>
                  </a:cubicBezTo>
                  <a:cubicBezTo>
                    <a:pt x="925" y="538"/>
                    <a:pt x="933" y="514"/>
                    <a:pt x="933" y="490"/>
                  </a:cubicBezTo>
                  <a:cubicBezTo>
                    <a:pt x="941" y="482"/>
                    <a:pt x="941" y="466"/>
                    <a:pt x="941" y="458"/>
                  </a:cubicBezTo>
                  <a:cubicBezTo>
                    <a:pt x="949" y="427"/>
                    <a:pt x="964" y="340"/>
                    <a:pt x="980" y="300"/>
                  </a:cubicBezTo>
                  <a:cubicBezTo>
                    <a:pt x="996" y="261"/>
                    <a:pt x="996" y="158"/>
                    <a:pt x="996" y="134"/>
                  </a:cubicBezTo>
                  <a:cubicBezTo>
                    <a:pt x="996" y="119"/>
                    <a:pt x="1004" y="95"/>
                    <a:pt x="1004" y="71"/>
                  </a:cubicBezTo>
                  <a:cubicBezTo>
                    <a:pt x="893" y="55"/>
                    <a:pt x="783" y="32"/>
                    <a:pt x="680" y="8"/>
                  </a:cubicBezTo>
                  <a:cubicBezTo>
                    <a:pt x="656" y="142"/>
                    <a:pt x="577" y="577"/>
                    <a:pt x="569" y="601"/>
                  </a:cubicBezTo>
                  <a:cubicBezTo>
                    <a:pt x="561" y="609"/>
                    <a:pt x="553" y="648"/>
                    <a:pt x="545" y="711"/>
                  </a:cubicBezTo>
                  <a:cubicBezTo>
                    <a:pt x="514" y="838"/>
                    <a:pt x="474" y="1044"/>
                    <a:pt x="458" y="1059"/>
                  </a:cubicBezTo>
                  <a:cubicBezTo>
                    <a:pt x="443" y="1091"/>
                    <a:pt x="443" y="1233"/>
                    <a:pt x="450" y="1257"/>
                  </a:cubicBezTo>
                  <a:cubicBezTo>
                    <a:pt x="458" y="1273"/>
                    <a:pt x="458" y="1296"/>
                    <a:pt x="450" y="1320"/>
                  </a:cubicBezTo>
                  <a:cubicBezTo>
                    <a:pt x="450" y="1328"/>
                    <a:pt x="443" y="1336"/>
                    <a:pt x="443" y="1336"/>
                  </a:cubicBezTo>
                  <a:cubicBezTo>
                    <a:pt x="443" y="1360"/>
                    <a:pt x="450" y="1462"/>
                    <a:pt x="490" y="1494"/>
                  </a:cubicBezTo>
                  <a:cubicBezTo>
                    <a:pt x="522" y="1518"/>
                    <a:pt x="545" y="1573"/>
                    <a:pt x="545" y="1605"/>
                  </a:cubicBezTo>
                  <a:cubicBezTo>
                    <a:pt x="545" y="1621"/>
                    <a:pt x="537" y="1628"/>
                    <a:pt x="537" y="1636"/>
                  </a:cubicBezTo>
                  <a:cubicBezTo>
                    <a:pt x="514" y="1652"/>
                    <a:pt x="450" y="1739"/>
                    <a:pt x="450" y="1755"/>
                  </a:cubicBezTo>
                  <a:cubicBezTo>
                    <a:pt x="450" y="1771"/>
                    <a:pt x="435" y="1786"/>
                    <a:pt x="411" y="1810"/>
                  </a:cubicBezTo>
                  <a:cubicBezTo>
                    <a:pt x="403" y="1818"/>
                    <a:pt x="387" y="1826"/>
                    <a:pt x="379" y="1834"/>
                  </a:cubicBezTo>
                  <a:cubicBezTo>
                    <a:pt x="356" y="1858"/>
                    <a:pt x="363" y="1881"/>
                    <a:pt x="363" y="1889"/>
                  </a:cubicBezTo>
                  <a:cubicBezTo>
                    <a:pt x="363" y="1897"/>
                    <a:pt x="363" y="1897"/>
                    <a:pt x="363" y="1897"/>
                  </a:cubicBezTo>
                  <a:cubicBezTo>
                    <a:pt x="363" y="1897"/>
                    <a:pt x="356" y="1913"/>
                    <a:pt x="308" y="1952"/>
                  </a:cubicBezTo>
                  <a:cubicBezTo>
                    <a:pt x="261" y="1992"/>
                    <a:pt x="182" y="2063"/>
                    <a:pt x="190" y="2087"/>
                  </a:cubicBezTo>
                  <a:cubicBezTo>
                    <a:pt x="190" y="2095"/>
                    <a:pt x="190" y="2103"/>
                    <a:pt x="190" y="2111"/>
                  </a:cubicBezTo>
                  <a:cubicBezTo>
                    <a:pt x="190" y="2142"/>
                    <a:pt x="190" y="2166"/>
                    <a:pt x="237" y="2190"/>
                  </a:cubicBezTo>
                  <a:cubicBezTo>
                    <a:pt x="253" y="2198"/>
                    <a:pt x="261" y="2206"/>
                    <a:pt x="269" y="2221"/>
                  </a:cubicBezTo>
                  <a:cubicBezTo>
                    <a:pt x="277" y="2245"/>
                    <a:pt x="253" y="2269"/>
                    <a:pt x="245" y="2285"/>
                  </a:cubicBezTo>
                  <a:lnTo>
                    <a:pt x="245" y="2285"/>
                  </a:lnTo>
                  <a:cubicBezTo>
                    <a:pt x="237" y="2292"/>
                    <a:pt x="237" y="2300"/>
                    <a:pt x="237" y="2316"/>
                  </a:cubicBezTo>
                  <a:cubicBezTo>
                    <a:pt x="237" y="2324"/>
                    <a:pt x="245" y="2332"/>
                    <a:pt x="237" y="2348"/>
                  </a:cubicBezTo>
                  <a:cubicBezTo>
                    <a:pt x="229" y="2356"/>
                    <a:pt x="229" y="2356"/>
                    <a:pt x="229" y="2356"/>
                  </a:cubicBezTo>
                  <a:cubicBezTo>
                    <a:pt x="213" y="2379"/>
                    <a:pt x="190" y="2427"/>
                    <a:pt x="190" y="2443"/>
                  </a:cubicBezTo>
                  <a:cubicBezTo>
                    <a:pt x="190" y="2459"/>
                    <a:pt x="55" y="3043"/>
                    <a:pt x="8" y="3225"/>
                  </a:cubicBezTo>
                  <a:close/>
                </a:path>
              </a:pathLst>
            </a:custGeom>
            <a:grpFill/>
            <a:ln>
              <a:solidFill>
                <a:schemeClr val="bg1">
                  <a:lumMod val="95000"/>
                </a:schemeClr>
              </a:solidFill>
            </a:ln>
            <a:effectLst/>
          </p:spPr>
          <p:txBody>
            <a:bodyPr wrap="none" anchor="ctr"/>
            <a:lstStyle/>
            <a:p>
              <a:endParaRPr lang="en-US" sz="900"/>
            </a:p>
          </p:txBody>
        </p:sp>
        <p:sp>
          <p:nvSpPr>
            <p:cNvPr id="38" name="Freeform 263"/>
            <p:cNvSpPr>
              <a:spLocks noChangeArrowheads="1"/>
            </p:cNvSpPr>
            <p:nvPr/>
          </p:nvSpPr>
          <p:spPr bwMode="auto">
            <a:xfrm>
              <a:off x="8999148" y="3378228"/>
              <a:ext cx="2020116" cy="1268660"/>
            </a:xfrm>
            <a:custGeom>
              <a:avLst/>
              <a:gdLst>
                <a:gd name="T0" fmla="*/ 87 w 3843"/>
                <a:gd name="T1" fmla="*/ 0 h 2412"/>
                <a:gd name="T2" fmla="*/ 87 w 3843"/>
                <a:gd name="T3" fmla="*/ 0 h 2412"/>
                <a:gd name="T4" fmla="*/ 79 w 3843"/>
                <a:gd name="T5" fmla="*/ 63 h 2412"/>
                <a:gd name="T6" fmla="*/ 55 w 3843"/>
                <a:gd name="T7" fmla="*/ 229 h 2412"/>
                <a:gd name="T8" fmla="*/ 24 w 3843"/>
                <a:gd name="T9" fmla="*/ 387 h 2412"/>
                <a:gd name="T10" fmla="*/ 8 w 3843"/>
                <a:gd name="T11" fmla="*/ 482 h 2412"/>
                <a:gd name="T12" fmla="*/ 87 w 3843"/>
                <a:gd name="T13" fmla="*/ 633 h 2412"/>
                <a:gd name="T14" fmla="*/ 63 w 3843"/>
                <a:gd name="T15" fmla="*/ 735 h 2412"/>
                <a:gd name="T16" fmla="*/ 118 w 3843"/>
                <a:gd name="T17" fmla="*/ 807 h 2412"/>
                <a:gd name="T18" fmla="*/ 174 w 3843"/>
                <a:gd name="T19" fmla="*/ 854 h 2412"/>
                <a:gd name="T20" fmla="*/ 197 w 3843"/>
                <a:gd name="T21" fmla="*/ 949 h 2412"/>
                <a:gd name="T22" fmla="*/ 253 w 3843"/>
                <a:gd name="T23" fmla="*/ 1020 h 2412"/>
                <a:gd name="T24" fmla="*/ 277 w 3843"/>
                <a:gd name="T25" fmla="*/ 1099 h 2412"/>
                <a:gd name="T26" fmla="*/ 355 w 3843"/>
                <a:gd name="T27" fmla="*/ 1186 h 2412"/>
                <a:gd name="T28" fmla="*/ 419 w 3843"/>
                <a:gd name="T29" fmla="*/ 1186 h 2412"/>
                <a:gd name="T30" fmla="*/ 387 w 3843"/>
                <a:gd name="T31" fmla="*/ 1304 h 2412"/>
                <a:gd name="T32" fmla="*/ 340 w 3843"/>
                <a:gd name="T33" fmla="*/ 1391 h 2412"/>
                <a:gd name="T34" fmla="*/ 340 w 3843"/>
                <a:gd name="T35" fmla="*/ 1502 h 2412"/>
                <a:gd name="T36" fmla="*/ 324 w 3843"/>
                <a:gd name="T37" fmla="*/ 1581 h 2412"/>
                <a:gd name="T38" fmla="*/ 277 w 3843"/>
                <a:gd name="T39" fmla="*/ 1605 h 2412"/>
                <a:gd name="T40" fmla="*/ 269 w 3843"/>
                <a:gd name="T41" fmla="*/ 1676 h 2412"/>
                <a:gd name="T42" fmla="*/ 308 w 3843"/>
                <a:gd name="T43" fmla="*/ 1708 h 2412"/>
                <a:gd name="T44" fmla="*/ 340 w 3843"/>
                <a:gd name="T45" fmla="*/ 1731 h 2412"/>
                <a:gd name="T46" fmla="*/ 435 w 3843"/>
                <a:gd name="T47" fmla="*/ 1684 h 2412"/>
                <a:gd name="T48" fmla="*/ 522 w 3843"/>
                <a:gd name="T49" fmla="*/ 1676 h 2412"/>
                <a:gd name="T50" fmla="*/ 506 w 3843"/>
                <a:gd name="T51" fmla="*/ 1787 h 2412"/>
                <a:gd name="T52" fmla="*/ 561 w 3843"/>
                <a:gd name="T53" fmla="*/ 1897 h 2412"/>
                <a:gd name="T54" fmla="*/ 577 w 3843"/>
                <a:gd name="T55" fmla="*/ 2016 h 2412"/>
                <a:gd name="T56" fmla="*/ 601 w 3843"/>
                <a:gd name="T57" fmla="*/ 2095 h 2412"/>
                <a:gd name="T58" fmla="*/ 672 w 3843"/>
                <a:gd name="T59" fmla="*/ 2166 h 2412"/>
                <a:gd name="T60" fmla="*/ 703 w 3843"/>
                <a:gd name="T61" fmla="*/ 2292 h 2412"/>
                <a:gd name="T62" fmla="*/ 735 w 3843"/>
                <a:gd name="T63" fmla="*/ 2324 h 2412"/>
                <a:gd name="T64" fmla="*/ 790 w 3843"/>
                <a:gd name="T65" fmla="*/ 2285 h 2412"/>
                <a:gd name="T66" fmla="*/ 861 w 3843"/>
                <a:gd name="T67" fmla="*/ 2308 h 2412"/>
                <a:gd name="T68" fmla="*/ 917 w 3843"/>
                <a:gd name="T69" fmla="*/ 2277 h 2412"/>
                <a:gd name="T70" fmla="*/ 980 w 3843"/>
                <a:gd name="T71" fmla="*/ 2285 h 2412"/>
                <a:gd name="T72" fmla="*/ 1075 w 3843"/>
                <a:gd name="T73" fmla="*/ 2308 h 2412"/>
                <a:gd name="T74" fmla="*/ 1122 w 3843"/>
                <a:gd name="T75" fmla="*/ 2308 h 2412"/>
                <a:gd name="T76" fmla="*/ 1162 w 3843"/>
                <a:gd name="T77" fmla="*/ 2332 h 2412"/>
                <a:gd name="T78" fmla="*/ 1225 w 3843"/>
                <a:gd name="T79" fmla="*/ 2229 h 2412"/>
                <a:gd name="T80" fmla="*/ 1296 w 3843"/>
                <a:gd name="T81" fmla="*/ 2301 h 2412"/>
                <a:gd name="T82" fmla="*/ 1336 w 3843"/>
                <a:gd name="T83" fmla="*/ 2364 h 2412"/>
                <a:gd name="T84" fmla="*/ 1367 w 3843"/>
                <a:gd name="T85" fmla="*/ 2182 h 2412"/>
                <a:gd name="T86" fmla="*/ 1391 w 3843"/>
                <a:gd name="T87" fmla="*/ 2135 h 2412"/>
                <a:gd name="T88" fmla="*/ 3700 w 3843"/>
                <a:gd name="T89" fmla="*/ 2380 h 2412"/>
                <a:gd name="T90" fmla="*/ 3842 w 3843"/>
                <a:gd name="T91" fmla="*/ 522 h 2412"/>
                <a:gd name="T92" fmla="*/ 87 w 3843"/>
                <a:gd name="T93" fmla="*/ 0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3" h="2412">
                  <a:moveTo>
                    <a:pt x="87" y="0"/>
                  </a:moveTo>
                  <a:lnTo>
                    <a:pt x="87" y="0"/>
                  </a:lnTo>
                  <a:cubicBezTo>
                    <a:pt x="79" y="16"/>
                    <a:pt x="79" y="48"/>
                    <a:pt x="79" y="63"/>
                  </a:cubicBezTo>
                  <a:cubicBezTo>
                    <a:pt x="79" y="95"/>
                    <a:pt x="71" y="190"/>
                    <a:pt x="55" y="229"/>
                  </a:cubicBezTo>
                  <a:cubicBezTo>
                    <a:pt x="47" y="269"/>
                    <a:pt x="24" y="356"/>
                    <a:pt x="24" y="387"/>
                  </a:cubicBezTo>
                  <a:cubicBezTo>
                    <a:pt x="16" y="419"/>
                    <a:pt x="0" y="451"/>
                    <a:pt x="8" y="482"/>
                  </a:cubicBezTo>
                  <a:cubicBezTo>
                    <a:pt x="24" y="514"/>
                    <a:pt x="79" y="593"/>
                    <a:pt x="87" y="633"/>
                  </a:cubicBezTo>
                  <a:cubicBezTo>
                    <a:pt x="87" y="672"/>
                    <a:pt x="63" y="704"/>
                    <a:pt x="63" y="735"/>
                  </a:cubicBezTo>
                  <a:cubicBezTo>
                    <a:pt x="63" y="775"/>
                    <a:pt x="95" y="775"/>
                    <a:pt x="118" y="807"/>
                  </a:cubicBezTo>
                  <a:cubicBezTo>
                    <a:pt x="134" y="830"/>
                    <a:pt x="166" y="814"/>
                    <a:pt x="174" y="854"/>
                  </a:cubicBezTo>
                  <a:cubicBezTo>
                    <a:pt x="182" y="893"/>
                    <a:pt x="158" y="925"/>
                    <a:pt x="197" y="949"/>
                  </a:cubicBezTo>
                  <a:cubicBezTo>
                    <a:pt x="237" y="973"/>
                    <a:pt x="245" y="973"/>
                    <a:pt x="253" y="1020"/>
                  </a:cubicBezTo>
                  <a:cubicBezTo>
                    <a:pt x="261" y="1067"/>
                    <a:pt x="229" y="1067"/>
                    <a:pt x="277" y="1099"/>
                  </a:cubicBezTo>
                  <a:cubicBezTo>
                    <a:pt x="316" y="1131"/>
                    <a:pt x="316" y="1178"/>
                    <a:pt x="355" y="1186"/>
                  </a:cubicBezTo>
                  <a:cubicBezTo>
                    <a:pt x="387" y="1194"/>
                    <a:pt x="411" y="1138"/>
                    <a:pt x="419" y="1186"/>
                  </a:cubicBezTo>
                  <a:cubicBezTo>
                    <a:pt x="427" y="1233"/>
                    <a:pt x="403" y="1281"/>
                    <a:pt x="387" y="1304"/>
                  </a:cubicBezTo>
                  <a:cubicBezTo>
                    <a:pt x="379" y="1320"/>
                    <a:pt x="348" y="1352"/>
                    <a:pt x="340" y="1391"/>
                  </a:cubicBezTo>
                  <a:cubicBezTo>
                    <a:pt x="324" y="1439"/>
                    <a:pt x="340" y="1478"/>
                    <a:pt x="340" y="1502"/>
                  </a:cubicBezTo>
                  <a:cubicBezTo>
                    <a:pt x="348" y="1518"/>
                    <a:pt x="340" y="1581"/>
                    <a:pt x="324" y="1581"/>
                  </a:cubicBezTo>
                  <a:cubicBezTo>
                    <a:pt x="300" y="1581"/>
                    <a:pt x="277" y="1573"/>
                    <a:pt x="277" y="1605"/>
                  </a:cubicBezTo>
                  <a:cubicBezTo>
                    <a:pt x="284" y="1637"/>
                    <a:pt x="277" y="1660"/>
                    <a:pt x="269" y="1676"/>
                  </a:cubicBezTo>
                  <a:cubicBezTo>
                    <a:pt x="261" y="1684"/>
                    <a:pt x="277" y="1684"/>
                    <a:pt x="308" y="1708"/>
                  </a:cubicBezTo>
                  <a:cubicBezTo>
                    <a:pt x="340" y="1731"/>
                    <a:pt x="277" y="1739"/>
                    <a:pt x="340" y="1731"/>
                  </a:cubicBezTo>
                  <a:cubicBezTo>
                    <a:pt x="395" y="1715"/>
                    <a:pt x="411" y="1715"/>
                    <a:pt x="435" y="1684"/>
                  </a:cubicBezTo>
                  <a:cubicBezTo>
                    <a:pt x="466" y="1660"/>
                    <a:pt x="514" y="1637"/>
                    <a:pt x="522" y="1676"/>
                  </a:cubicBezTo>
                  <a:cubicBezTo>
                    <a:pt x="522" y="1724"/>
                    <a:pt x="490" y="1755"/>
                    <a:pt x="506" y="1787"/>
                  </a:cubicBezTo>
                  <a:cubicBezTo>
                    <a:pt x="522" y="1826"/>
                    <a:pt x="529" y="1858"/>
                    <a:pt x="561" y="1897"/>
                  </a:cubicBezTo>
                  <a:cubicBezTo>
                    <a:pt x="585" y="1937"/>
                    <a:pt x="593" y="1968"/>
                    <a:pt x="577" y="2016"/>
                  </a:cubicBezTo>
                  <a:cubicBezTo>
                    <a:pt x="561" y="2063"/>
                    <a:pt x="537" y="2079"/>
                    <a:pt x="601" y="2095"/>
                  </a:cubicBezTo>
                  <a:cubicBezTo>
                    <a:pt x="656" y="2103"/>
                    <a:pt x="672" y="2127"/>
                    <a:pt x="672" y="2166"/>
                  </a:cubicBezTo>
                  <a:cubicBezTo>
                    <a:pt x="672" y="2206"/>
                    <a:pt x="688" y="2269"/>
                    <a:pt x="703" y="2292"/>
                  </a:cubicBezTo>
                  <a:cubicBezTo>
                    <a:pt x="711" y="2308"/>
                    <a:pt x="711" y="2348"/>
                    <a:pt x="735" y="2324"/>
                  </a:cubicBezTo>
                  <a:cubicBezTo>
                    <a:pt x="759" y="2292"/>
                    <a:pt x="759" y="2269"/>
                    <a:pt x="790" y="2285"/>
                  </a:cubicBezTo>
                  <a:cubicBezTo>
                    <a:pt x="822" y="2292"/>
                    <a:pt x="830" y="2301"/>
                    <a:pt x="861" y="2308"/>
                  </a:cubicBezTo>
                  <a:cubicBezTo>
                    <a:pt x="885" y="2308"/>
                    <a:pt x="901" y="2285"/>
                    <a:pt x="917" y="2277"/>
                  </a:cubicBezTo>
                  <a:cubicBezTo>
                    <a:pt x="933" y="2269"/>
                    <a:pt x="948" y="2261"/>
                    <a:pt x="980" y="2285"/>
                  </a:cubicBezTo>
                  <a:cubicBezTo>
                    <a:pt x="1012" y="2308"/>
                    <a:pt x="1035" y="2316"/>
                    <a:pt x="1075" y="2308"/>
                  </a:cubicBezTo>
                  <a:cubicBezTo>
                    <a:pt x="1107" y="2301"/>
                    <a:pt x="1083" y="2285"/>
                    <a:pt x="1122" y="2308"/>
                  </a:cubicBezTo>
                  <a:cubicBezTo>
                    <a:pt x="1162" y="2332"/>
                    <a:pt x="1114" y="2372"/>
                    <a:pt x="1162" y="2332"/>
                  </a:cubicBezTo>
                  <a:cubicBezTo>
                    <a:pt x="1209" y="2285"/>
                    <a:pt x="1194" y="2214"/>
                    <a:pt x="1225" y="2229"/>
                  </a:cubicBezTo>
                  <a:cubicBezTo>
                    <a:pt x="1257" y="2253"/>
                    <a:pt x="1288" y="2253"/>
                    <a:pt x="1296" y="2301"/>
                  </a:cubicBezTo>
                  <a:cubicBezTo>
                    <a:pt x="1304" y="2332"/>
                    <a:pt x="1312" y="2348"/>
                    <a:pt x="1336" y="2364"/>
                  </a:cubicBezTo>
                  <a:cubicBezTo>
                    <a:pt x="1367" y="2182"/>
                    <a:pt x="1367" y="2182"/>
                    <a:pt x="1367" y="2182"/>
                  </a:cubicBezTo>
                  <a:cubicBezTo>
                    <a:pt x="1367" y="2182"/>
                    <a:pt x="1367" y="2135"/>
                    <a:pt x="1391" y="2135"/>
                  </a:cubicBezTo>
                  <a:cubicBezTo>
                    <a:pt x="1415" y="2135"/>
                    <a:pt x="3486" y="2411"/>
                    <a:pt x="3700" y="2380"/>
                  </a:cubicBezTo>
                  <a:cubicBezTo>
                    <a:pt x="3842" y="522"/>
                    <a:pt x="3842" y="522"/>
                    <a:pt x="3842" y="522"/>
                  </a:cubicBezTo>
                  <a:cubicBezTo>
                    <a:pt x="2443" y="419"/>
                    <a:pt x="1122" y="206"/>
                    <a:pt x="87" y="0"/>
                  </a:cubicBezTo>
                </a:path>
              </a:pathLst>
            </a:custGeom>
            <a:solidFill>
              <a:schemeClr val="accent1"/>
            </a:solidFill>
            <a:ln>
              <a:solidFill>
                <a:schemeClr val="bg1">
                  <a:lumMod val="95000"/>
                </a:schemeClr>
              </a:solidFill>
            </a:ln>
            <a:effectLst/>
          </p:spPr>
          <p:txBody>
            <a:bodyPr wrap="none" anchor="ctr"/>
            <a:lstStyle/>
            <a:p>
              <a:endParaRPr lang="en-US" sz="900"/>
            </a:p>
          </p:txBody>
        </p:sp>
        <p:sp>
          <p:nvSpPr>
            <p:cNvPr id="39" name="Freeform 264"/>
            <p:cNvSpPr>
              <a:spLocks noChangeArrowheads="1"/>
            </p:cNvSpPr>
            <p:nvPr/>
          </p:nvSpPr>
          <p:spPr bwMode="auto">
            <a:xfrm>
              <a:off x="8999148" y="3373590"/>
              <a:ext cx="2024755" cy="1261702"/>
            </a:xfrm>
            <a:custGeom>
              <a:avLst/>
              <a:gdLst>
                <a:gd name="T0" fmla="*/ 3644 w 3851"/>
                <a:gd name="T1" fmla="*/ 2396 h 2397"/>
                <a:gd name="T2" fmla="*/ 1367 w 3851"/>
                <a:gd name="T3" fmla="*/ 2190 h 2397"/>
                <a:gd name="T4" fmla="*/ 1288 w 3851"/>
                <a:gd name="T5" fmla="*/ 2309 h 2397"/>
                <a:gd name="T6" fmla="*/ 1217 w 3851"/>
                <a:gd name="T7" fmla="*/ 2245 h 2397"/>
                <a:gd name="T8" fmla="*/ 1138 w 3851"/>
                <a:gd name="T9" fmla="*/ 2364 h 2397"/>
                <a:gd name="T10" fmla="*/ 1130 w 3851"/>
                <a:gd name="T11" fmla="*/ 2348 h 2397"/>
                <a:gd name="T12" fmla="*/ 1099 w 3851"/>
                <a:gd name="T13" fmla="*/ 2309 h 2397"/>
                <a:gd name="T14" fmla="*/ 980 w 3851"/>
                <a:gd name="T15" fmla="*/ 2293 h 2397"/>
                <a:gd name="T16" fmla="*/ 917 w 3851"/>
                <a:gd name="T17" fmla="*/ 2293 h 2397"/>
                <a:gd name="T18" fmla="*/ 822 w 3851"/>
                <a:gd name="T19" fmla="*/ 2309 h 2397"/>
                <a:gd name="T20" fmla="*/ 751 w 3851"/>
                <a:gd name="T21" fmla="*/ 2309 h 2397"/>
                <a:gd name="T22" fmla="*/ 703 w 3851"/>
                <a:gd name="T23" fmla="*/ 2316 h 2397"/>
                <a:gd name="T24" fmla="*/ 593 w 3851"/>
                <a:gd name="T25" fmla="*/ 2103 h 2397"/>
                <a:gd name="T26" fmla="*/ 577 w 3851"/>
                <a:gd name="T27" fmla="*/ 2024 h 2397"/>
                <a:gd name="T28" fmla="*/ 506 w 3851"/>
                <a:gd name="T29" fmla="*/ 1803 h 2397"/>
                <a:gd name="T30" fmla="*/ 498 w 3851"/>
                <a:gd name="T31" fmla="*/ 1668 h 2397"/>
                <a:gd name="T32" fmla="*/ 308 w 3851"/>
                <a:gd name="T33" fmla="*/ 1747 h 2397"/>
                <a:gd name="T34" fmla="*/ 308 w 3851"/>
                <a:gd name="T35" fmla="*/ 1723 h 2397"/>
                <a:gd name="T36" fmla="*/ 269 w 3851"/>
                <a:gd name="T37" fmla="*/ 1684 h 2397"/>
                <a:gd name="T38" fmla="*/ 284 w 3851"/>
                <a:gd name="T39" fmla="*/ 1589 h 2397"/>
                <a:gd name="T40" fmla="*/ 332 w 3851"/>
                <a:gd name="T41" fmla="*/ 1581 h 2397"/>
                <a:gd name="T42" fmla="*/ 387 w 3851"/>
                <a:gd name="T43" fmla="*/ 1312 h 2397"/>
                <a:gd name="T44" fmla="*/ 411 w 3851"/>
                <a:gd name="T45" fmla="*/ 1178 h 2397"/>
                <a:gd name="T46" fmla="*/ 355 w 3851"/>
                <a:gd name="T47" fmla="*/ 1194 h 2397"/>
                <a:gd name="T48" fmla="*/ 245 w 3851"/>
                <a:gd name="T49" fmla="*/ 1068 h 2397"/>
                <a:gd name="T50" fmla="*/ 197 w 3851"/>
                <a:gd name="T51" fmla="*/ 957 h 2397"/>
                <a:gd name="T52" fmla="*/ 142 w 3851"/>
                <a:gd name="T53" fmla="*/ 830 h 2397"/>
                <a:gd name="T54" fmla="*/ 63 w 3851"/>
                <a:gd name="T55" fmla="*/ 743 h 2397"/>
                <a:gd name="T56" fmla="*/ 31 w 3851"/>
                <a:gd name="T57" fmla="*/ 546 h 2397"/>
                <a:gd name="T58" fmla="*/ 16 w 3851"/>
                <a:gd name="T59" fmla="*/ 395 h 2397"/>
                <a:gd name="T60" fmla="*/ 79 w 3851"/>
                <a:gd name="T61" fmla="*/ 8 h 2397"/>
                <a:gd name="T62" fmla="*/ 3842 w 3851"/>
                <a:gd name="T63" fmla="*/ 530 h 2397"/>
                <a:gd name="T64" fmla="*/ 3700 w 3851"/>
                <a:gd name="T65" fmla="*/ 2388 h 2397"/>
                <a:gd name="T66" fmla="*/ 1391 w 3851"/>
                <a:gd name="T67" fmla="*/ 2143 h 2397"/>
                <a:gd name="T68" fmla="*/ 3700 w 3851"/>
                <a:gd name="T69" fmla="*/ 2380 h 2397"/>
                <a:gd name="T70" fmla="*/ 79 w 3851"/>
                <a:gd name="T71" fmla="*/ 71 h 2397"/>
                <a:gd name="T72" fmla="*/ 16 w 3851"/>
                <a:gd name="T73" fmla="*/ 427 h 2397"/>
                <a:gd name="T74" fmla="*/ 87 w 3851"/>
                <a:gd name="T75" fmla="*/ 641 h 2397"/>
                <a:gd name="T76" fmla="*/ 95 w 3851"/>
                <a:gd name="T77" fmla="*/ 791 h 2397"/>
                <a:gd name="T78" fmla="*/ 182 w 3851"/>
                <a:gd name="T79" fmla="*/ 862 h 2397"/>
                <a:gd name="T80" fmla="*/ 221 w 3851"/>
                <a:gd name="T81" fmla="*/ 965 h 2397"/>
                <a:gd name="T82" fmla="*/ 277 w 3851"/>
                <a:gd name="T83" fmla="*/ 1107 h 2397"/>
                <a:gd name="T84" fmla="*/ 364 w 3851"/>
                <a:gd name="T85" fmla="*/ 1194 h 2397"/>
                <a:gd name="T86" fmla="*/ 419 w 3851"/>
                <a:gd name="T87" fmla="*/ 1194 h 2397"/>
                <a:gd name="T88" fmla="*/ 340 w 3851"/>
                <a:gd name="T89" fmla="*/ 1399 h 2397"/>
                <a:gd name="T90" fmla="*/ 324 w 3851"/>
                <a:gd name="T91" fmla="*/ 1589 h 2397"/>
                <a:gd name="T92" fmla="*/ 284 w 3851"/>
                <a:gd name="T93" fmla="*/ 1597 h 2397"/>
                <a:gd name="T94" fmla="*/ 269 w 3851"/>
                <a:gd name="T95" fmla="*/ 1684 h 2397"/>
                <a:gd name="T96" fmla="*/ 316 w 3851"/>
                <a:gd name="T97" fmla="*/ 1723 h 2397"/>
                <a:gd name="T98" fmla="*/ 435 w 3851"/>
                <a:gd name="T99" fmla="*/ 1692 h 2397"/>
                <a:gd name="T100" fmla="*/ 514 w 3851"/>
                <a:gd name="T101" fmla="*/ 1739 h 2397"/>
                <a:gd name="T102" fmla="*/ 561 w 3851"/>
                <a:gd name="T103" fmla="*/ 1898 h 2397"/>
                <a:gd name="T104" fmla="*/ 561 w 3851"/>
                <a:gd name="T105" fmla="*/ 2079 h 2397"/>
                <a:gd name="T106" fmla="*/ 703 w 3851"/>
                <a:gd name="T107" fmla="*/ 2293 h 2397"/>
                <a:gd name="T108" fmla="*/ 735 w 3851"/>
                <a:gd name="T109" fmla="*/ 2324 h 2397"/>
                <a:gd name="T110" fmla="*/ 822 w 3851"/>
                <a:gd name="T111" fmla="*/ 2300 h 2397"/>
                <a:gd name="T112" fmla="*/ 917 w 3851"/>
                <a:gd name="T113" fmla="*/ 2285 h 2397"/>
                <a:gd name="T114" fmla="*/ 988 w 3851"/>
                <a:gd name="T115" fmla="*/ 2293 h 2397"/>
                <a:gd name="T116" fmla="*/ 1091 w 3851"/>
                <a:gd name="T117" fmla="*/ 2309 h 2397"/>
                <a:gd name="T118" fmla="*/ 1138 w 3851"/>
                <a:gd name="T119" fmla="*/ 2348 h 2397"/>
                <a:gd name="T120" fmla="*/ 1217 w 3851"/>
                <a:gd name="T121" fmla="*/ 2237 h 2397"/>
                <a:gd name="T122" fmla="*/ 1296 w 3851"/>
                <a:gd name="T123" fmla="*/ 2309 h 2397"/>
                <a:gd name="T124" fmla="*/ 1391 w 3851"/>
                <a:gd name="T125" fmla="*/ 2143 h 2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51" h="2397">
                  <a:moveTo>
                    <a:pt x="3644" y="2396"/>
                  </a:moveTo>
                  <a:lnTo>
                    <a:pt x="3644" y="2396"/>
                  </a:lnTo>
                  <a:lnTo>
                    <a:pt x="3644" y="2396"/>
                  </a:lnTo>
                  <a:cubicBezTo>
                    <a:pt x="3328" y="2396"/>
                    <a:pt x="2047" y="2229"/>
                    <a:pt x="1565" y="2166"/>
                  </a:cubicBezTo>
                  <a:cubicBezTo>
                    <a:pt x="1462" y="2158"/>
                    <a:pt x="1391" y="2150"/>
                    <a:pt x="1391" y="2150"/>
                  </a:cubicBezTo>
                  <a:cubicBezTo>
                    <a:pt x="1375" y="2150"/>
                    <a:pt x="1367" y="2182"/>
                    <a:pt x="1367" y="2190"/>
                  </a:cubicBezTo>
                  <a:cubicBezTo>
                    <a:pt x="1336" y="2372"/>
                    <a:pt x="1336" y="2372"/>
                    <a:pt x="1336" y="2372"/>
                  </a:cubicBezTo>
                  <a:lnTo>
                    <a:pt x="1336" y="2372"/>
                  </a:lnTo>
                  <a:cubicBezTo>
                    <a:pt x="1312" y="2364"/>
                    <a:pt x="1296" y="2340"/>
                    <a:pt x="1288" y="2309"/>
                  </a:cubicBezTo>
                  <a:cubicBezTo>
                    <a:pt x="1288" y="2277"/>
                    <a:pt x="1265" y="2261"/>
                    <a:pt x="1241" y="2253"/>
                  </a:cubicBezTo>
                  <a:cubicBezTo>
                    <a:pt x="1233" y="2253"/>
                    <a:pt x="1233" y="2245"/>
                    <a:pt x="1225" y="2245"/>
                  </a:cubicBezTo>
                  <a:lnTo>
                    <a:pt x="1217" y="2245"/>
                  </a:lnTo>
                  <a:cubicBezTo>
                    <a:pt x="1209" y="2245"/>
                    <a:pt x="1209" y="2253"/>
                    <a:pt x="1201" y="2269"/>
                  </a:cubicBezTo>
                  <a:cubicBezTo>
                    <a:pt x="1194" y="2293"/>
                    <a:pt x="1186" y="2316"/>
                    <a:pt x="1162" y="2340"/>
                  </a:cubicBezTo>
                  <a:cubicBezTo>
                    <a:pt x="1146" y="2356"/>
                    <a:pt x="1138" y="2364"/>
                    <a:pt x="1138" y="2364"/>
                  </a:cubicBezTo>
                  <a:lnTo>
                    <a:pt x="1138" y="2364"/>
                  </a:lnTo>
                  <a:cubicBezTo>
                    <a:pt x="1130" y="2356"/>
                    <a:pt x="1130" y="2356"/>
                    <a:pt x="1130" y="2356"/>
                  </a:cubicBezTo>
                  <a:cubicBezTo>
                    <a:pt x="1130" y="2356"/>
                    <a:pt x="1130" y="2356"/>
                    <a:pt x="1130" y="2348"/>
                  </a:cubicBezTo>
                  <a:cubicBezTo>
                    <a:pt x="1138" y="2340"/>
                    <a:pt x="1138" y="2324"/>
                    <a:pt x="1122" y="2316"/>
                  </a:cubicBezTo>
                  <a:cubicBezTo>
                    <a:pt x="1107" y="2309"/>
                    <a:pt x="1099" y="2309"/>
                    <a:pt x="1099" y="2309"/>
                  </a:cubicBezTo>
                  <a:lnTo>
                    <a:pt x="1099" y="2309"/>
                  </a:lnTo>
                  <a:cubicBezTo>
                    <a:pt x="1091" y="2316"/>
                    <a:pt x="1083" y="2316"/>
                    <a:pt x="1075" y="2324"/>
                  </a:cubicBezTo>
                  <a:cubicBezTo>
                    <a:pt x="1067" y="2324"/>
                    <a:pt x="1059" y="2324"/>
                    <a:pt x="1051" y="2324"/>
                  </a:cubicBezTo>
                  <a:cubicBezTo>
                    <a:pt x="1028" y="2324"/>
                    <a:pt x="1004" y="2316"/>
                    <a:pt x="980" y="2293"/>
                  </a:cubicBezTo>
                  <a:cubicBezTo>
                    <a:pt x="972" y="2285"/>
                    <a:pt x="956" y="2285"/>
                    <a:pt x="948" y="2285"/>
                  </a:cubicBezTo>
                  <a:cubicBezTo>
                    <a:pt x="941" y="2285"/>
                    <a:pt x="925" y="2285"/>
                    <a:pt x="925" y="2285"/>
                  </a:cubicBezTo>
                  <a:cubicBezTo>
                    <a:pt x="917" y="2285"/>
                    <a:pt x="917" y="2293"/>
                    <a:pt x="917" y="2293"/>
                  </a:cubicBezTo>
                  <a:cubicBezTo>
                    <a:pt x="909" y="2293"/>
                    <a:pt x="909" y="2293"/>
                    <a:pt x="901" y="2300"/>
                  </a:cubicBezTo>
                  <a:cubicBezTo>
                    <a:pt x="893" y="2309"/>
                    <a:pt x="877" y="2316"/>
                    <a:pt x="861" y="2316"/>
                  </a:cubicBezTo>
                  <a:cubicBezTo>
                    <a:pt x="838" y="2316"/>
                    <a:pt x="830" y="2309"/>
                    <a:pt x="822" y="2309"/>
                  </a:cubicBezTo>
                  <a:cubicBezTo>
                    <a:pt x="814" y="2300"/>
                    <a:pt x="806" y="2300"/>
                    <a:pt x="790" y="2293"/>
                  </a:cubicBezTo>
                  <a:cubicBezTo>
                    <a:pt x="782" y="2293"/>
                    <a:pt x="775" y="2293"/>
                    <a:pt x="775" y="2293"/>
                  </a:cubicBezTo>
                  <a:cubicBezTo>
                    <a:pt x="767" y="2293"/>
                    <a:pt x="759" y="2293"/>
                    <a:pt x="751" y="2309"/>
                  </a:cubicBezTo>
                  <a:cubicBezTo>
                    <a:pt x="751" y="2316"/>
                    <a:pt x="743" y="2324"/>
                    <a:pt x="743" y="2332"/>
                  </a:cubicBezTo>
                  <a:cubicBezTo>
                    <a:pt x="735" y="2340"/>
                    <a:pt x="727" y="2340"/>
                    <a:pt x="727" y="2340"/>
                  </a:cubicBezTo>
                  <a:cubicBezTo>
                    <a:pt x="711" y="2340"/>
                    <a:pt x="711" y="2332"/>
                    <a:pt x="703" y="2316"/>
                  </a:cubicBezTo>
                  <a:cubicBezTo>
                    <a:pt x="703" y="2309"/>
                    <a:pt x="703" y="2300"/>
                    <a:pt x="695" y="2300"/>
                  </a:cubicBezTo>
                  <a:cubicBezTo>
                    <a:pt x="688" y="2285"/>
                    <a:pt x="664" y="2214"/>
                    <a:pt x="664" y="2174"/>
                  </a:cubicBezTo>
                  <a:cubicBezTo>
                    <a:pt x="664" y="2135"/>
                    <a:pt x="656" y="2111"/>
                    <a:pt x="593" y="2103"/>
                  </a:cubicBezTo>
                  <a:cubicBezTo>
                    <a:pt x="577" y="2103"/>
                    <a:pt x="561" y="2095"/>
                    <a:pt x="561" y="2087"/>
                  </a:cubicBezTo>
                  <a:cubicBezTo>
                    <a:pt x="553" y="2071"/>
                    <a:pt x="561" y="2063"/>
                    <a:pt x="561" y="2048"/>
                  </a:cubicBezTo>
                  <a:cubicBezTo>
                    <a:pt x="569" y="2040"/>
                    <a:pt x="569" y="2032"/>
                    <a:pt x="577" y="2024"/>
                  </a:cubicBezTo>
                  <a:cubicBezTo>
                    <a:pt x="585" y="1976"/>
                    <a:pt x="585" y="1945"/>
                    <a:pt x="553" y="1905"/>
                  </a:cubicBezTo>
                  <a:cubicBezTo>
                    <a:pt x="529" y="1866"/>
                    <a:pt x="522" y="1842"/>
                    <a:pt x="506" y="1810"/>
                  </a:cubicBezTo>
                  <a:lnTo>
                    <a:pt x="506" y="1803"/>
                  </a:lnTo>
                  <a:cubicBezTo>
                    <a:pt x="498" y="1779"/>
                    <a:pt x="498" y="1755"/>
                    <a:pt x="506" y="1739"/>
                  </a:cubicBezTo>
                  <a:cubicBezTo>
                    <a:pt x="514" y="1723"/>
                    <a:pt x="514" y="1708"/>
                    <a:pt x="514" y="1684"/>
                  </a:cubicBezTo>
                  <a:cubicBezTo>
                    <a:pt x="514" y="1668"/>
                    <a:pt x="506" y="1668"/>
                    <a:pt x="498" y="1668"/>
                  </a:cubicBezTo>
                  <a:cubicBezTo>
                    <a:pt x="482" y="1668"/>
                    <a:pt x="458" y="1684"/>
                    <a:pt x="442" y="1700"/>
                  </a:cubicBezTo>
                  <a:cubicBezTo>
                    <a:pt x="411" y="1723"/>
                    <a:pt x="395" y="1732"/>
                    <a:pt x="340" y="1739"/>
                  </a:cubicBezTo>
                  <a:cubicBezTo>
                    <a:pt x="324" y="1739"/>
                    <a:pt x="316" y="1747"/>
                    <a:pt x="308" y="1747"/>
                  </a:cubicBezTo>
                  <a:lnTo>
                    <a:pt x="308" y="1739"/>
                  </a:lnTo>
                  <a:cubicBezTo>
                    <a:pt x="300" y="1739"/>
                    <a:pt x="308" y="1739"/>
                    <a:pt x="308" y="1732"/>
                  </a:cubicBezTo>
                  <a:cubicBezTo>
                    <a:pt x="308" y="1732"/>
                    <a:pt x="308" y="1732"/>
                    <a:pt x="308" y="1723"/>
                  </a:cubicBezTo>
                  <a:cubicBezTo>
                    <a:pt x="308" y="1723"/>
                    <a:pt x="308" y="1716"/>
                    <a:pt x="300" y="1716"/>
                  </a:cubicBezTo>
                  <a:cubicBezTo>
                    <a:pt x="292" y="1708"/>
                    <a:pt x="284" y="1700"/>
                    <a:pt x="277" y="1700"/>
                  </a:cubicBezTo>
                  <a:cubicBezTo>
                    <a:pt x="269" y="1692"/>
                    <a:pt x="261" y="1692"/>
                    <a:pt x="269" y="1684"/>
                  </a:cubicBezTo>
                  <a:cubicBezTo>
                    <a:pt x="269" y="1676"/>
                    <a:pt x="269" y="1676"/>
                    <a:pt x="269" y="1676"/>
                  </a:cubicBezTo>
                  <a:cubicBezTo>
                    <a:pt x="269" y="1668"/>
                    <a:pt x="277" y="1645"/>
                    <a:pt x="277" y="1613"/>
                  </a:cubicBezTo>
                  <a:cubicBezTo>
                    <a:pt x="277" y="1605"/>
                    <a:pt x="277" y="1597"/>
                    <a:pt x="284" y="1589"/>
                  </a:cubicBezTo>
                  <a:cubicBezTo>
                    <a:pt x="284" y="1581"/>
                    <a:pt x="300" y="1581"/>
                    <a:pt x="308" y="1581"/>
                  </a:cubicBezTo>
                  <a:cubicBezTo>
                    <a:pt x="308" y="1581"/>
                    <a:pt x="308" y="1581"/>
                    <a:pt x="316" y="1581"/>
                  </a:cubicBezTo>
                  <a:cubicBezTo>
                    <a:pt x="316" y="1581"/>
                    <a:pt x="324" y="1581"/>
                    <a:pt x="332" y="1581"/>
                  </a:cubicBezTo>
                  <a:cubicBezTo>
                    <a:pt x="340" y="1565"/>
                    <a:pt x="340" y="1526"/>
                    <a:pt x="340" y="1510"/>
                  </a:cubicBezTo>
                  <a:cubicBezTo>
                    <a:pt x="332" y="1479"/>
                    <a:pt x="324" y="1439"/>
                    <a:pt x="332" y="1399"/>
                  </a:cubicBezTo>
                  <a:cubicBezTo>
                    <a:pt x="340" y="1360"/>
                    <a:pt x="371" y="1328"/>
                    <a:pt x="387" y="1312"/>
                  </a:cubicBezTo>
                  <a:cubicBezTo>
                    <a:pt x="387" y="1305"/>
                    <a:pt x="387" y="1305"/>
                    <a:pt x="387" y="1305"/>
                  </a:cubicBezTo>
                  <a:cubicBezTo>
                    <a:pt x="403" y="1289"/>
                    <a:pt x="419" y="1241"/>
                    <a:pt x="419" y="1194"/>
                  </a:cubicBezTo>
                  <a:cubicBezTo>
                    <a:pt x="411" y="1186"/>
                    <a:pt x="411" y="1178"/>
                    <a:pt x="411" y="1178"/>
                  </a:cubicBezTo>
                  <a:cubicBezTo>
                    <a:pt x="403" y="1178"/>
                    <a:pt x="403" y="1178"/>
                    <a:pt x="395" y="1186"/>
                  </a:cubicBezTo>
                  <a:cubicBezTo>
                    <a:pt x="387" y="1194"/>
                    <a:pt x="371" y="1194"/>
                    <a:pt x="364" y="1194"/>
                  </a:cubicBezTo>
                  <a:cubicBezTo>
                    <a:pt x="355" y="1194"/>
                    <a:pt x="355" y="1194"/>
                    <a:pt x="355" y="1194"/>
                  </a:cubicBezTo>
                  <a:cubicBezTo>
                    <a:pt x="332" y="1194"/>
                    <a:pt x="324" y="1178"/>
                    <a:pt x="316" y="1162"/>
                  </a:cubicBezTo>
                  <a:cubicBezTo>
                    <a:pt x="308" y="1146"/>
                    <a:pt x="292" y="1123"/>
                    <a:pt x="269" y="1115"/>
                  </a:cubicBezTo>
                  <a:cubicBezTo>
                    <a:pt x="245" y="1091"/>
                    <a:pt x="245" y="1083"/>
                    <a:pt x="245" y="1068"/>
                  </a:cubicBezTo>
                  <a:cubicBezTo>
                    <a:pt x="253" y="1052"/>
                    <a:pt x="253" y="1044"/>
                    <a:pt x="253" y="1028"/>
                  </a:cubicBezTo>
                  <a:cubicBezTo>
                    <a:pt x="245" y="988"/>
                    <a:pt x="237" y="988"/>
                    <a:pt x="213" y="973"/>
                  </a:cubicBezTo>
                  <a:cubicBezTo>
                    <a:pt x="205" y="965"/>
                    <a:pt x="205" y="965"/>
                    <a:pt x="197" y="957"/>
                  </a:cubicBezTo>
                  <a:cubicBezTo>
                    <a:pt x="166" y="941"/>
                    <a:pt x="166" y="917"/>
                    <a:pt x="174" y="901"/>
                  </a:cubicBezTo>
                  <a:cubicBezTo>
                    <a:pt x="174" y="886"/>
                    <a:pt x="174" y="870"/>
                    <a:pt x="174" y="862"/>
                  </a:cubicBezTo>
                  <a:cubicBezTo>
                    <a:pt x="166" y="838"/>
                    <a:pt x="158" y="838"/>
                    <a:pt x="142" y="830"/>
                  </a:cubicBezTo>
                  <a:cubicBezTo>
                    <a:pt x="134" y="830"/>
                    <a:pt x="118" y="822"/>
                    <a:pt x="111" y="815"/>
                  </a:cubicBezTo>
                  <a:cubicBezTo>
                    <a:pt x="102" y="806"/>
                    <a:pt x="95" y="799"/>
                    <a:pt x="95" y="791"/>
                  </a:cubicBezTo>
                  <a:cubicBezTo>
                    <a:pt x="79" y="783"/>
                    <a:pt x="63" y="767"/>
                    <a:pt x="63" y="743"/>
                  </a:cubicBezTo>
                  <a:cubicBezTo>
                    <a:pt x="63" y="728"/>
                    <a:pt x="71" y="720"/>
                    <a:pt x="71" y="704"/>
                  </a:cubicBezTo>
                  <a:cubicBezTo>
                    <a:pt x="79" y="680"/>
                    <a:pt x="79" y="664"/>
                    <a:pt x="79" y="641"/>
                  </a:cubicBezTo>
                  <a:cubicBezTo>
                    <a:pt x="79" y="617"/>
                    <a:pt x="55" y="577"/>
                    <a:pt x="31" y="546"/>
                  </a:cubicBezTo>
                  <a:cubicBezTo>
                    <a:pt x="24" y="522"/>
                    <a:pt x="8" y="506"/>
                    <a:pt x="8" y="490"/>
                  </a:cubicBezTo>
                  <a:cubicBezTo>
                    <a:pt x="0" y="475"/>
                    <a:pt x="8" y="451"/>
                    <a:pt x="8" y="427"/>
                  </a:cubicBezTo>
                  <a:cubicBezTo>
                    <a:pt x="16" y="419"/>
                    <a:pt x="16" y="403"/>
                    <a:pt x="16" y="395"/>
                  </a:cubicBezTo>
                  <a:cubicBezTo>
                    <a:pt x="24" y="364"/>
                    <a:pt x="39" y="277"/>
                    <a:pt x="55" y="237"/>
                  </a:cubicBezTo>
                  <a:cubicBezTo>
                    <a:pt x="71" y="198"/>
                    <a:pt x="71" y="95"/>
                    <a:pt x="71" y="71"/>
                  </a:cubicBezTo>
                  <a:cubicBezTo>
                    <a:pt x="71" y="56"/>
                    <a:pt x="79" y="32"/>
                    <a:pt x="79" y="8"/>
                  </a:cubicBezTo>
                  <a:cubicBezTo>
                    <a:pt x="79" y="0"/>
                    <a:pt x="79" y="0"/>
                    <a:pt x="79" y="0"/>
                  </a:cubicBezTo>
                  <a:cubicBezTo>
                    <a:pt x="87" y="8"/>
                    <a:pt x="87" y="8"/>
                    <a:pt x="87" y="8"/>
                  </a:cubicBezTo>
                  <a:cubicBezTo>
                    <a:pt x="1391" y="261"/>
                    <a:pt x="2656" y="443"/>
                    <a:pt x="3842" y="530"/>
                  </a:cubicBezTo>
                  <a:cubicBezTo>
                    <a:pt x="3850" y="530"/>
                    <a:pt x="3850" y="530"/>
                    <a:pt x="3850" y="530"/>
                  </a:cubicBezTo>
                  <a:cubicBezTo>
                    <a:pt x="3707" y="2388"/>
                    <a:pt x="3707" y="2388"/>
                    <a:pt x="3707" y="2388"/>
                  </a:cubicBezTo>
                  <a:cubicBezTo>
                    <a:pt x="3700" y="2388"/>
                    <a:pt x="3700" y="2388"/>
                    <a:pt x="3700" y="2388"/>
                  </a:cubicBezTo>
                  <a:cubicBezTo>
                    <a:pt x="3692" y="2388"/>
                    <a:pt x="3668" y="2396"/>
                    <a:pt x="3644" y="2396"/>
                  </a:cubicBezTo>
                  <a:close/>
                  <a:moveTo>
                    <a:pt x="1391" y="2143"/>
                  </a:moveTo>
                  <a:lnTo>
                    <a:pt x="1391" y="2143"/>
                  </a:lnTo>
                  <a:cubicBezTo>
                    <a:pt x="1391" y="2143"/>
                    <a:pt x="1447" y="2150"/>
                    <a:pt x="1565" y="2158"/>
                  </a:cubicBezTo>
                  <a:cubicBezTo>
                    <a:pt x="2047" y="2222"/>
                    <a:pt x="3328" y="2388"/>
                    <a:pt x="3644" y="2388"/>
                  </a:cubicBezTo>
                  <a:cubicBezTo>
                    <a:pt x="3668" y="2388"/>
                    <a:pt x="3684" y="2380"/>
                    <a:pt x="3700" y="2380"/>
                  </a:cubicBezTo>
                  <a:cubicBezTo>
                    <a:pt x="3842" y="538"/>
                    <a:pt x="3842" y="538"/>
                    <a:pt x="3842" y="538"/>
                  </a:cubicBezTo>
                  <a:cubicBezTo>
                    <a:pt x="2656" y="451"/>
                    <a:pt x="1391" y="269"/>
                    <a:pt x="87" y="16"/>
                  </a:cubicBezTo>
                  <a:cubicBezTo>
                    <a:pt x="79" y="32"/>
                    <a:pt x="79" y="63"/>
                    <a:pt x="79" y="71"/>
                  </a:cubicBezTo>
                  <a:cubicBezTo>
                    <a:pt x="79" y="103"/>
                    <a:pt x="79" y="198"/>
                    <a:pt x="63" y="237"/>
                  </a:cubicBezTo>
                  <a:cubicBezTo>
                    <a:pt x="47" y="277"/>
                    <a:pt x="31" y="364"/>
                    <a:pt x="24" y="395"/>
                  </a:cubicBezTo>
                  <a:cubicBezTo>
                    <a:pt x="24" y="403"/>
                    <a:pt x="24" y="419"/>
                    <a:pt x="16" y="427"/>
                  </a:cubicBezTo>
                  <a:cubicBezTo>
                    <a:pt x="8" y="451"/>
                    <a:pt x="8" y="467"/>
                    <a:pt x="16" y="490"/>
                  </a:cubicBezTo>
                  <a:cubicBezTo>
                    <a:pt x="16" y="506"/>
                    <a:pt x="31" y="522"/>
                    <a:pt x="39" y="538"/>
                  </a:cubicBezTo>
                  <a:cubicBezTo>
                    <a:pt x="63" y="577"/>
                    <a:pt x="87" y="617"/>
                    <a:pt x="87" y="641"/>
                  </a:cubicBezTo>
                  <a:cubicBezTo>
                    <a:pt x="87" y="664"/>
                    <a:pt x="87" y="680"/>
                    <a:pt x="79" y="704"/>
                  </a:cubicBezTo>
                  <a:cubicBezTo>
                    <a:pt x="71" y="720"/>
                    <a:pt x="71" y="735"/>
                    <a:pt x="71" y="743"/>
                  </a:cubicBezTo>
                  <a:cubicBezTo>
                    <a:pt x="71" y="767"/>
                    <a:pt x="79" y="775"/>
                    <a:pt x="95" y="791"/>
                  </a:cubicBezTo>
                  <a:cubicBezTo>
                    <a:pt x="102" y="791"/>
                    <a:pt x="111" y="799"/>
                    <a:pt x="118" y="806"/>
                  </a:cubicBezTo>
                  <a:cubicBezTo>
                    <a:pt x="126" y="822"/>
                    <a:pt x="134" y="822"/>
                    <a:pt x="142" y="822"/>
                  </a:cubicBezTo>
                  <a:cubicBezTo>
                    <a:pt x="158" y="830"/>
                    <a:pt x="174" y="830"/>
                    <a:pt x="182" y="862"/>
                  </a:cubicBezTo>
                  <a:cubicBezTo>
                    <a:pt x="182" y="870"/>
                    <a:pt x="182" y="886"/>
                    <a:pt x="182" y="901"/>
                  </a:cubicBezTo>
                  <a:cubicBezTo>
                    <a:pt x="174" y="917"/>
                    <a:pt x="174" y="941"/>
                    <a:pt x="197" y="949"/>
                  </a:cubicBezTo>
                  <a:cubicBezTo>
                    <a:pt x="205" y="957"/>
                    <a:pt x="213" y="957"/>
                    <a:pt x="221" y="965"/>
                  </a:cubicBezTo>
                  <a:cubicBezTo>
                    <a:pt x="245" y="981"/>
                    <a:pt x="253" y="988"/>
                    <a:pt x="261" y="1028"/>
                  </a:cubicBezTo>
                  <a:cubicBezTo>
                    <a:pt x="261" y="1044"/>
                    <a:pt x="261" y="1059"/>
                    <a:pt x="253" y="1068"/>
                  </a:cubicBezTo>
                  <a:cubicBezTo>
                    <a:pt x="253" y="1083"/>
                    <a:pt x="253" y="1083"/>
                    <a:pt x="277" y="1107"/>
                  </a:cubicBezTo>
                  <a:cubicBezTo>
                    <a:pt x="300" y="1123"/>
                    <a:pt x="308" y="1139"/>
                    <a:pt x="324" y="1154"/>
                  </a:cubicBezTo>
                  <a:cubicBezTo>
                    <a:pt x="332" y="1170"/>
                    <a:pt x="340" y="1186"/>
                    <a:pt x="355" y="1186"/>
                  </a:cubicBezTo>
                  <a:cubicBezTo>
                    <a:pt x="355" y="1194"/>
                    <a:pt x="355" y="1194"/>
                    <a:pt x="364" y="1194"/>
                  </a:cubicBezTo>
                  <a:cubicBezTo>
                    <a:pt x="371" y="1194"/>
                    <a:pt x="379" y="1186"/>
                    <a:pt x="387" y="1178"/>
                  </a:cubicBezTo>
                  <a:cubicBezTo>
                    <a:pt x="395" y="1178"/>
                    <a:pt x="403" y="1170"/>
                    <a:pt x="411" y="1170"/>
                  </a:cubicBezTo>
                  <a:cubicBezTo>
                    <a:pt x="419" y="1170"/>
                    <a:pt x="419" y="1186"/>
                    <a:pt x="419" y="1194"/>
                  </a:cubicBezTo>
                  <a:cubicBezTo>
                    <a:pt x="427" y="1233"/>
                    <a:pt x="411" y="1289"/>
                    <a:pt x="395" y="1312"/>
                  </a:cubicBezTo>
                  <a:cubicBezTo>
                    <a:pt x="387" y="1312"/>
                    <a:pt x="387" y="1312"/>
                    <a:pt x="387" y="1312"/>
                  </a:cubicBezTo>
                  <a:cubicBezTo>
                    <a:pt x="371" y="1336"/>
                    <a:pt x="348" y="1368"/>
                    <a:pt x="340" y="1399"/>
                  </a:cubicBezTo>
                  <a:cubicBezTo>
                    <a:pt x="332" y="1439"/>
                    <a:pt x="340" y="1479"/>
                    <a:pt x="348" y="1502"/>
                  </a:cubicBezTo>
                  <a:cubicBezTo>
                    <a:pt x="348" y="1526"/>
                    <a:pt x="348" y="1565"/>
                    <a:pt x="332" y="1581"/>
                  </a:cubicBezTo>
                  <a:cubicBezTo>
                    <a:pt x="332" y="1589"/>
                    <a:pt x="324" y="1589"/>
                    <a:pt x="324" y="1589"/>
                  </a:cubicBezTo>
                  <a:cubicBezTo>
                    <a:pt x="316" y="1589"/>
                    <a:pt x="316" y="1589"/>
                    <a:pt x="316" y="1589"/>
                  </a:cubicBezTo>
                  <a:cubicBezTo>
                    <a:pt x="308" y="1589"/>
                    <a:pt x="308" y="1589"/>
                    <a:pt x="308" y="1589"/>
                  </a:cubicBezTo>
                  <a:cubicBezTo>
                    <a:pt x="300" y="1589"/>
                    <a:pt x="292" y="1589"/>
                    <a:pt x="284" y="1597"/>
                  </a:cubicBezTo>
                  <a:cubicBezTo>
                    <a:pt x="284" y="1597"/>
                    <a:pt x="284" y="1605"/>
                    <a:pt x="284" y="1613"/>
                  </a:cubicBezTo>
                  <a:cubicBezTo>
                    <a:pt x="284" y="1645"/>
                    <a:pt x="277" y="1668"/>
                    <a:pt x="269" y="1684"/>
                  </a:cubicBezTo>
                  <a:lnTo>
                    <a:pt x="269" y="1684"/>
                  </a:lnTo>
                  <a:cubicBezTo>
                    <a:pt x="269" y="1692"/>
                    <a:pt x="269" y="1692"/>
                    <a:pt x="277" y="1692"/>
                  </a:cubicBezTo>
                  <a:cubicBezTo>
                    <a:pt x="284" y="1700"/>
                    <a:pt x="292" y="1700"/>
                    <a:pt x="308" y="1708"/>
                  </a:cubicBezTo>
                  <a:cubicBezTo>
                    <a:pt x="316" y="1716"/>
                    <a:pt x="316" y="1723"/>
                    <a:pt x="316" y="1723"/>
                  </a:cubicBezTo>
                  <a:cubicBezTo>
                    <a:pt x="316" y="1732"/>
                    <a:pt x="316" y="1732"/>
                    <a:pt x="316" y="1739"/>
                  </a:cubicBezTo>
                  <a:cubicBezTo>
                    <a:pt x="316" y="1732"/>
                    <a:pt x="324" y="1732"/>
                    <a:pt x="332" y="1732"/>
                  </a:cubicBezTo>
                  <a:cubicBezTo>
                    <a:pt x="395" y="1723"/>
                    <a:pt x="411" y="1716"/>
                    <a:pt x="435" y="1692"/>
                  </a:cubicBezTo>
                  <a:cubicBezTo>
                    <a:pt x="450" y="1676"/>
                    <a:pt x="482" y="1660"/>
                    <a:pt x="498" y="1660"/>
                  </a:cubicBezTo>
                  <a:cubicBezTo>
                    <a:pt x="506" y="1660"/>
                    <a:pt x="522" y="1668"/>
                    <a:pt x="522" y="1684"/>
                  </a:cubicBezTo>
                  <a:cubicBezTo>
                    <a:pt x="522" y="1708"/>
                    <a:pt x="522" y="1723"/>
                    <a:pt x="514" y="1739"/>
                  </a:cubicBezTo>
                  <a:cubicBezTo>
                    <a:pt x="506" y="1755"/>
                    <a:pt x="506" y="1779"/>
                    <a:pt x="514" y="1795"/>
                  </a:cubicBezTo>
                  <a:cubicBezTo>
                    <a:pt x="514" y="1803"/>
                    <a:pt x="514" y="1803"/>
                    <a:pt x="514" y="1810"/>
                  </a:cubicBezTo>
                  <a:cubicBezTo>
                    <a:pt x="529" y="1842"/>
                    <a:pt x="537" y="1866"/>
                    <a:pt x="561" y="1898"/>
                  </a:cubicBezTo>
                  <a:cubicBezTo>
                    <a:pt x="593" y="1937"/>
                    <a:pt x="593" y="1976"/>
                    <a:pt x="585" y="2024"/>
                  </a:cubicBezTo>
                  <a:cubicBezTo>
                    <a:pt x="577" y="2032"/>
                    <a:pt x="577" y="2040"/>
                    <a:pt x="569" y="2048"/>
                  </a:cubicBezTo>
                  <a:cubicBezTo>
                    <a:pt x="569" y="2063"/>
                    <a:pt x="561" y="2071"/>
                    <a:pt x="561" y="2079"/>
                  </a:cubicBezTo>
                  <a:cubicBezTo>
                    <a:pt x="569" y="2087"/>
                    <a:pt x="577" y="2095"/>
                    <a:pt x="601" y="2095"/>
                  </a:cubicBezTo>
                  <a:cubicBezTo>
                    <a:pt x="656" y="2111"/>
                    <a:pt x="672" y="2127"/>
                    <a:pt x="672" y="2174"/>
                  </a:cubicBezTo>
                  <a:cubicBezTo>
                    <a:pt x="672" y="2214"/>
                    <a:pt x="695" y="2277"/>
                    <a:pt x="703" y="2293"/>
                  </a:cubicBezTo>
                  <a:cubicBezTo>
                    <a:pt x="711" y="2300"/>
                    <a:pt x="711" y="2309"/>
                    <a:pt x="711" y="2316"/>
                  </a:cubicBezTo>
                  <a:cubicBezTo>
                    <a:pt x="719" y="2324"/>
                    <a:pt x="719" y="2332"/>
                    <a:pt x="727" y="2332"/>
                  </a:cubicBezTo>
                  <a:cubicBezTo>
                    <a:pt x="727" y="2332"/>
                    <a:pt x="727" y="2332"/>
                    <a:pt x="735" y="2324"/>
                  </a:cubicBezTo>
                  <a:cubicBezTo>
                    <a:pt x="743" y="2316"/>
                    <a:pt x="743" y="2309"/>
                    <a:pt x="743" y="2309"/>
                  </a:cubicBezTo>
                  <a:cubicBezTo>
                    <a:pt x="759" y="2285"/>
                    <a:pt x="767" y="2277"/>
                    <a:pt x="790" y="2285"/>
                  </a:cubicBezTo>
                  <a:cubicBezTo>
                    <a:pt x="806" y="2293"/>
                    <a:pt x="814" y="2293"/>
                    <a:pt x="822" y="2300"/>
                  </a:cubicBezTo>
                  <a:cubicBezTo>
                    <a:pt x="838" y="2309"/>
                    <a:pt x="846" y="2309"/>
                    <a:pt x="861" y="2309"/>
                  </a:cubicBezTo>
                  <a:cubicBezTo>
                    <a:pt x="877" y="2316"/>
                    <a:pt x="885" y="2300"/>
                    <a:pt x="901" y="2293"/>
                  </a:cubicBezTo>
                  <a:cubicBezTo>
                    <a:pt x="901" y="2293"/>
                    <a:pt x="909" y="2285"/>
                    <a:pt x="917" y="2285"/>
                  </a:cubicBezTo>
                  <a:lnTo>
                    <a:pt x="917" y="2285"/>
                  </a:lnTo>
                  <a:cubicBezTo>
                    <a:pt x="925" y="2277"/>
                    <a:pt x="933" y="2277"/>
                    <a:pt x="948" y="2277"/>
                  </a:cubicBezTo>
                  <a:cubicBezTo>
                    <a:pt x="956" y="2277"/>
                    <a:pt x="972" y="2277"/>
                    <a:pt x="988" y="2293"/>
                  </a:cubicBezTo>
                  <a:cubicBezTo>
                    <a:pt x="1012" y="2309"/>
                    <a:pt x="1028" y="2316"/>
                    <a:pt x="1051" y="2316"/>
                  </a:cubicBezTo>
                  <a:cubicBezTo>
                    <a:pt x="1059" y="2316"/>
                    <a:pt x="1059" y="2316"/>
                    <a:pt x="1067" y="2316"/>
                  </a:cubicBezTo>
                  <a:cubicBezTo>
                    <a:pt x="1083" y="2309"/>
                    <a:pt x="1091" y="2309"/>
                    <a:pt x="1091" y="2309"/>
                  </a:cubicBezTo>
                  <a:cubicBezTo>
                    <a:pt x="1091" y="2300"/>
                    <a:pt x="1099" y="2300"/>
                    <a:pt x="1099" y="2300"/>
                  </a:cubicBezTo>
                  <a:cubicBezTo>
                    <a:pt x="1107" y="2300"/>
                    <a:pt x="1114" y="2300"/>
                    <a:pt x="1122" y="2309"/>
                  </a:cubicBezTo>
                  <a:cubicBezTo>
                    <a:pt x="1146" y="2324"/>
                    <a:pt x="1138" y="2340"/>
                    <a:pt x="1138" y="2348"/>
                  </a:cubicBezTo>
                  <a:cubicBezTo>
                    <a:pt x="1146" y="2348"/>
                    <a:pt x="1146" y="2340"/>
                    <a:pt x="1154" y="2332"/>
                  </a:cubicBezTo>
                  <a:cubicBezTo>
                    <a:pt x="1178" y="2316"/>
                    <a:pt x="1186" y="2285"/>
                    <a:pt x="1194" y="2269"/>
                  </a:cubicBezTo>
                  <a:cubicBezTo>
                    <a:pt x="1201" y="2245"/>
                    <a:pt x="1209" y="2237"/>
                    <a:pt x="1217" y="2237"/>
                  </a:cubicBezTo>
                  <a:cubicBezTo>
                    <a:pt x="1225" y="2237"/>
                    <a:pt x="1225" y="2237"/>
                    <a:pt x="1225" y="2237"/>
                  </a:cubicBezTo>
                  <a:cubicBezTo>
                    <a:pt x="1233" y="2237"/>
                    <a:pt x="1241" y="2245"/>
                    <a:pt x="1241" y="2245"/>
                  </a:cubicBezTo>
                  <a:cubicBezTo>
                    <a:pt x="1272" y="2261"/>
                    <a:pt x="1288" y="2269"/>
                    <a:pt x="1296" y="2309"/>
                  </a:cubicBezTo>
                  <a:cubicBezTo>
                    <a:pt x="1304" y="2340"/>
                    <a:pt x="1312" y="2356"/>
                    <a:pt x="1336" y="2364"/>
                  </a:cubicBezTo>
                  <a:cubicBezTo>
                    <a:pt x="1360" y="2190"/>
                    <a:pt x="1360" y="2190"/>
                    <a:pt x="1360" y="2190"/>
                  </a:cubicBezTo>
                  <a:cubicBezTo>
                    <a:pt x="1360" y="2182"/>
                    <a:pt x="1367" y="2143"/>
                    <a:pt x="1391" y="2143"/>
                  </a:cubicBezTo>
                  <a:close/>
                </a:path>
              </a:pathLst>
            </a:custGeom>
            <a:grpFill/>
            <a:ln>
              <a:solidFill>
                <a:schemeClr val="bg1">
                  <a:lumMod val="95000"/>
                </a:schemeClr>
              </a:solidFill>
            </a:ln>
            <a:effectLst/>
          </p:spPr>
          <p:txBody>
            <a:bodyPr wrap="none" anchor="ctr"/>
            <a:lstStyle/>
            <a:p>
              <a:endParaRPr lang="en-US" sz="900"/>
            </a:p>
          </p:txBody>
        </p:sp>
        <p:sp>
          <p:nvSpPr>
            <p:cNvPr id="40" name="Freeform 289"/>
            <p:cNvSpPr>
              <a:spLocks noChangeArrowheads="1"/>
            </p:cNvSpPr>
            <p:nvPr/>
          </p:nvSpPr>
          <p:spPr bwMode="auto">
            <a:xfrm>
              <a:off x="9565059" y="4500772"/>
              <a:ext cx="1382306" cy="1127183"/>
            </a:xfrm>
            <a:custGeom>
              <a:avLst/>
              <a:gdLst>
                <a:gd name="T0" fmla="*/ 316 w 2626"/>
                <a:gd name="T1" fmla="*/ 0 h 2143"/>
                <a:gd name="T2" fmla="*/ 316 w 2626"/>
                <a:gd name="T3" fmla="*/ 0 h 2143"/>
                <a:gd name="T4" fmla="*/ 292 w 2626"/>
                <a:gd name="T5" fmla="*/ 47 h 2143"/>
                <a:gd name="T6" fmla="*/ 71 w 2626"/>
                <a:gd name="T7" fmla="*/ 1407 h 2143"/>
                <a:gd name="T8" fmla="*/ 0 w 2626"/>
                <a:gd name="T9" fmla="*/ 1857 h 2143"/>
                <a:gd name="T10" fmla="*/ 696 w 2626"/>
                <a:gd name="T11" fmla="*/ 1944 h 2143"/>
                <a:gd name="T12" fmla="*/ 719 w 2626"/>
                <a:gd name="T13" fmla="*/ 1968 h 2143"/>
                <a:gd name="T14" fmla="*/ 719 w 2626"/>
                <a:gd name="T15" fmla="*/ 1944 h 2143"/>
                <a:gd name="T16" fmla="*/ 2498 w 2626"/>
                <a:gd name="T17" fmla="*/ 2142 h 2143"/>
                <a:gd name="T18" fmla="*/ 2625 w 2626"/>
                <a:gd name="T19" fmla="*/ 245 h 2143"/>
                <a:gd name="T20" fmla="*/ 316 w 2626"/>
                <a:gd name="T21" fmla="*/ 0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6" h="2143">
                  <a:moveTo>
                    <a:pt x="316" y="0"/>
                  </a:moveTo>
                  <a:lnTo>
                    <a:pt x="316" y="0"/>
                  </a:lnTo>
                  <a:cubicBezTo>
                    <a:pt x="292" y="0"/>
                    <a:pt x="292" y="47"/>
                    <a:pt x="292" y="47"/>
                  </a:cubicBezTo>
                  <a:cubicBezTo>
                    <a:pt x="71" y="1407"/>
                    <a:pt x="71" y="1407"/>
                    <a:pt x="71" y="1407"/>
                  </a:cubicBezTo>
                  <a:cubicBezTo>
                    <a:pt x="0" y="1857"/>
                    <a:pt x="0" y="1857"/>
                    <a:pt x="0" y="1857"/>
                  </a:cubicBezTo>
                  <a:cubicBezTo>
                    <a:pt x="696" y="1944"/>
                    <a:pt x="696" y="1944"/>
                    <a:pt x="696" y="1944"/>
                  </a:cubicBezTo>
                  <a:cubicBezTo>
                    <a:pt x="719" y="1968"/>
                    <a:pt x="719" y="1968"/>
                    <a:pt x="719" y="1968"/>
                  </a:cubicBezTo>
                  <a:cubicBezTo>
                    <a:pt x="719" y="1944"/>
                    <a:pt x="719" y="1944"/>
                    <a:pt x="719" y="1944"/>
                  </a:cubicBezTo>
                  <a:cubicBezTo>
                    <a:pt x="719" y="1944"/>
                    <a:pt x="1771" y="2087"/>
                    <a:pt x="2498" y="2142"/>
                  </a:cubicBezTo>
                  <a:cubicBezTo>
                    <a:pt x="2625" y="245"/>
                    <a:pt x="2625" y="245"/>
                    <a:pt x="2625" y="245"/>
                  </a:cubicBezTo>
                  <a:cubicBezTo>
                    <a:pt x="2411" y="276"/>
                    <a:pt x="340" y="0"/>
                    <a:pt x="316" y="0"/>
                  </a:cubicBezTo>
                </a:path>
              </a:pathLst>
            </a:custGeom>
            <a:grpFill/>
            <a:ln>
              <a:solidFill>
                <a:schemeClr val="bg1">
                  <a:lumMod val="95000"/>
                </a:schemeClr>
              </a:solidFill>
            </a:ln>
            <a:effectLst/>
          </p:spPr>
          <p:txBody>
            <a:bodyPr wrap="none" anchor="ctr"/>
            <a:lstStyle/>
            <a:p>
              <a:endParaRPr lang="en-US" sz="900"/>
            </a:p>
          </p:txBody>
        </p:sp>
        <p:sp>
          <p:nvSpPr>
            <p:cNvPr id="41" name="Freeform 290"/>
            <p:cNvSpPr>
              <a:spLocks noChangeArrowheads="1"/>
            </p:cNvSpPr>
            <p:nvPr/>
          </p:nvSpPr>
          <p:spPr bwMode="auto">
            <a:xfrm>
              <a:off x="9565059" y="4500772"/>
              <a:ext cx="1384626" cy="1131821"/>
            </a:xfrm>
            <a:custGeom>
              <a:avLst/>
              <a:gdLst>
                <a:gd name="T0" fmla="*/ 2498 w 2633"/>
                <a:gd name="T1" fmla="*/ 2150 h 2151"/>
                <a:gd name="T2" fmla="*/ 2498 w 2633"/>
                <a:gd name="T3" fmla="*/ 2150 h 2151"/>
                <a:gd name="T4" fmla="*/ 2498 w 2633"/>
                <a:gd name="T5" fmla="*/ 2150 h 2151"/>
                <a:gd name="T6" fmla="*/ 719 w 2633"/>
                <a:gd name="T7" fmla="*/ 1944 h 2151"/>
                <a:gd name="T8" fmla="*/ 719 w 2633"/>
                <a:gd name="T9" fmla="*/ 1976 h 2151"/>
                <a:gd name="T10" fmla="*/ 696 w 2633"/>
                <a:gd name="T11" fmla="*/ 1944 h 2151"/>
                <a:gd name="T12" fmla="*/ 0 w 2633"/>
                <a:gd name="T13" fmla="*/ 1865 h 2151"/>
                <a:gd name="T14" fmla="*/ 63 w 2633"/>
                <a:gd name="T15" fmla="*/ 1407 h 2151"/>
                <a:gd name="T16" fmla="*/ 285 w 2633"/>
                <a:gd name="T17" fmla="*/ 47 h 2151"/>
                <a:gd name="T18" fmla="*/ 316 w 2633"/>
                <a:gd name="T19" fmla="*/ 0 h 2151"/>
                <a:gd name="T20" fmla="*/ 490 w 2633"/>
                <a:gd name="T21" fmla="*/ 15 h 2151"/>
                <a:gd name="T22" fmla="*/ 2569 w 2633"/>
                <a:gd name="T23" fmla="*/ 245 h 2151"/>
                <a:gd name="T24" fmla="*/ 2625 w 2633"/>
                <a:gd name="T25" fmla="*/ 237 h 2151"/>
                <a:gd name="T26" fmla="*/ 2632 w 2633"/>
                <a:gd name="T27" fmla="*/ 237 h 2151"/>
                <a:gd name="T28" fmla="*/ 2632 w 2633"/>
                <a:gd name="T29" fmla="*/ 245 h 2151"/>
                <a:gd name="T30" fmla="*/ 2498 w 2633"/>
                <a:gd name="T31" fmla="*/ 2150 h 2151"/>
                <a:gd name="T32" fmla="*/ 719 w 2633"/>
                <a:gd name="T33" fmla="*/ 1936 h 2151"/>
                <a:gd name="T34" fmla="*/ 719 w 2633"/>
                <a:gd name="T35" fmla="*/ 1936 h 2151"/>
                <a:gd name="T36" fmla="*/ 719 w 2633"/>
                <a:gd name="T37" fmla="*/ 1936 h 2151"/>
                <a:gd name="T38" fmla="*/ 2490 w 2633"/>
                <a:gd name="T39" fmla="*/ 2142 h 2151"/>
                <a:gd name="T40" fmla="*/ 2625 w 2633"/>
                <a:gd name="T41" fmla="*/ 245 h 2151"/>
                <a:gd name="T42" fmla="*/ 2569 w 2633"/>
                <a:gd name="T43" fmla="*/ 253 h 2151"/>
                <a:gd name="T44" fmla="*/ 490 w 2633"/>
                <a:gd name="T45" fmla="*/ 23 h 2151"/>
                <a:gd name="T46" fmla="*/ 316 w 2633"/>
                <a:gd name="T47" fmla="*/ 7 h 2151"/>
                <a:gd name="T48" fmla="*/ 292 w 2633"/>
                <a:gd name="T49" fmla="*/ 47 h 2151"/>
                <a:gd name="T50" fmla="*/ 71 w 2633"/>
                <a:gd name="T51" fmla="*/ 1407 h 2151"/>
                <a:gd name="T52" fmla="*/ 8 w 2633"/>
                <a:gd name="T53" fmla="*/ 1857 h 2151"/>
                <a:gd name="T54" fmla="*/ 696 w 2633"/>
                <a:gd name="T55" fmla="*/ 1936 h 2151"/>
                <a:gd name="T56" fmla="*/ 712 w 2633"/>
                <a:gd name="T57" fmla="*/ 1960 h 2151"/>
                <a:gd name="T58" fmla="*/ 719 w 2633"/>
                <a:gd name="T59" fmla="*/ 1936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33" h="2151">
                  <a:moveTo>
                    <a:pt x="2498" y="2150"/>
                  </a:moveTo>
                  <a:lnTo>
                    <a:pt x="2498" y="2150"/>
                  </a:lnTo>
                  <a:lnTo>
                    <a:pt x="2498" y="2150"/>
                  </a:lnTo>
                  <a:cubicBezTo>
                    <a:pt x="1795" y="2087"/>
                    <a:pt x="790" y="1960"/>
                    <a:pt x="719" y="1944"/>
                  </a:cubicBezTo>
                  <a:cubicBezTo>
                    <a:pt x="719" y="1976"/>
                    <a:pt x="719" y="1976"/>
                    <a:pt x="719" y="1976"/>
                  </a:cubicBezTo>
                  <a:cubicBezTo>
                    <a:pt x="696" y="1944"/>
                    <a:pt x="696" y="1944"/>
                    <a:pt x="696" y="1944"/>
                  </a:cubicBezTo>
                  <a:cubicBezTo>
                    <a:pt x="0" y="1865"/>
                    <a:pt x="0" y="1865"/>
                    <a:pt x="0" y="1865"/>
                  </a:cubicBezTo>
                  <a:cubicBezTo>
                    <a:pt x="63" y="1407"/>
                    <a:pt x="63" y="1407"/>
                    <a:pt x="63" y="1407"/>
                  </a:cubicBezTo>
                  <a:cubicBezTo>
                    <a:pt x="285" y="47"/>
                    <a:pt x="285" y="47"/>
                    <a:pt x="285" y="47"/>
                  </a:cubicBezTo>
                  <a:cubicBezTo>
                    <a:pt x="285" y="39"/>
                    <a:pt x="292" y="0"/>
                    <a:pt x="316" y="0"/>
                  </a:cubicBezTo>
                  <a:cubicBezTo>
                    <a:pt x="316" y="0"/>
                    <a:pt x="372" y="7"/>
                    <a:pt x="490" y="15"/>
                  </a:cubicBezTo>
                  <a:cubicBezTo>
                    <a:pt x="972" y="79"/>
                    <a:pt x="2253" y="245"/>
                    <a:pt x="2569" y="245"/>
                  </a:cubicBezTo>
                  <a:cubicBezTo>
                    <a:pt x="2593" y="245"/>
                    <a:pt x="2617" y="237"/>
                    <a:pt x="2625" y="237"/>
                  </a:cubicBezTo>
                  <a:cubicBezTo>
                    <a:pt x="2632" y="237"/>
                    <a:pt x="2632" y="237"/>
                    <a:pt x="2632" y="237"/>
                  </a:cubicBezTo>
                  <a:cubicBezTo>
                    <a:pt x="2632" y="245"/>
                    <a:pt x="2632" y="245"/>
                    <a:pt x="2632" y="245"/>
                  </a:cubicBezTo>
                  <a:lnTo>
                    <a:pt x="2498" y="2150"/>
                  </a:lnTo>
                  <a:close/>
                  <a:moveTo>
                    <a:pt x="719" y="1936"/>
                  </a:moveTo>
                  <a:lnTo>
                    <a:pt x="719" y="1936"/>
                  </a:lnTo>
                  <a:lnTo>
                    <a:pt x="719" y="1936"/>
                  </a:lnTo>
                  <a:cubicBezTo>
                    <a:pt x="727" y="1944"/>
                    <a:pt x="1771" y="2079"/>
                    <a:pt x="2490" y="2142"/>
                  </a:cubicBezTo>
                  <a:cubicBezTo>
                    <a:pt x="2625" y="245"/>
                    <a:pt x="2625" y="245"/>
                    <a:pt x="2625" y="245"/>
                  </a:cubicBezTo>
                  <a:cubicBezTo>
                    <a:pt x="2609" y="245"/>
                    <a:pt x="2593" y="253"/>
                    <a:pt x="2569" y="253"/>
                  </a:cubicBezTo>
                  <a:cubicBezTo>
                    <a:pt x="2253" y="253"/>
                    <a:pt x="972" y="86"/>
                    <a:pt x="490" y="23"/>
                  </a:cubicBezTo>
                  <a:cubicBezTo>
                    <a:pt x="387" y="15"/>
                    <a:pt x="316" y="7"/>
                    <a:pt x="316" y="7"/>
                  </a:cubicBezTo>
                  <a:cubicBezTo>
                    <a:pt x="300" y="7"/>
                    <a:pt x="292" y="39"/>
                    <a:pt x="292" y="47"/>
                  </a:cubicBezTo>
                  <a:cubicBezTo>
                    <a:pt x="71" y="1407"/>
                    <a:pt x="71" y="1407"/>
                    <a:pt x="71" y="1407"/>
                  </a:cubicBezTo>
                  <a:cubicBezTo>
                    <a:pt x="8" y="1857"/>
                    <a:pt x="8" y="1857"/>
                    <a:pt x="8" y="1857"/>
                  </a:cubicBezTo>
                  <a:cubicBezTo>
                    <a:pt x="696" y="1936"/>
                    <a:pt x="696" y="1936"/>
                    <a:pt x="696" y="1936"/>
                  </a:cubicBezTo>
                  <a:cubicBezTo>
                    <a:pt x="712" y="1960"/>
                    <a:pt x="712" y="1960"/>
                    <a:pt x="712" y="1960"/>
                  </a:cubicBezTo>
                  <a:lnTo>
                    <a:pt x="719" y="1936"/>
                  </a:lnTo>
                  <a:close/>
                </a:path>
              </a:pathLst>
            </a:custGeom>
            <a:grpFill/>
            <a:ln>
              <a:solidFill>
                <a:schemeClr val="bg1">
                  <a:lumMod val="95000"/>
                </a:schemeClr>
              </a:solidFill>
            </a:ln>
            <a:effectLst/>
          </p:spPr>
          <p:txBody>
            <a:bodyPr wrap="none" anchor="ctr"/>
            <a:lstStyle/>
            <a:p>
              <a:endParaRPr lang="en-US" sz="900"/>
            </a:p>
          </p:txBody>
        </p:sp>
        <p:sp>
          <p:nvSpPr>
            <p:cNvPr id="42" name="Freeform 307"/>
            <p:cNvSpPr>
              <a:spLocks noChangeArrowheads="1"/>
            </p:cNvSpPr>
            <p:nvPr/>
          </p:nvSpPr>
          <p:spPr bwMode="auto">
            <a:xfrm>
              <a:off x="10961281" y="3651906"/>
              <a:ext cx="1301131" cy="807118"/>
            </a:xfrm>
            <a:custGeom>
              <a:avLst/>
              <a:gdLst>
                <a:gd name="T0" fmla="*/ 2466 w 2475"/>
                <a:gd name="T1" fmla="*/ 1518 h 1534"/>
                <a:gd name="T2" fmla="*/ 2466 w 2475"/>
                <a:gd name="T3" fmla="*/ 1518 h 1534"/>
                <a:gd name="T4" fmla="*/ 2466 w 2475"/>
                <a:gd name="T5" fmla="*/ 1486 h 1534"/>
                <a:gd name="T6" fmla="*/ 2458 w 2475"/>
                <a:gd name="T7" fmla="*/ 1320 h 1534"/>
                <a:gd name="T8" fmla="*/ 2411 w 2475"/>
                <a:gd name="T9" fmla="*/ 1265 h 1534"/>
                <a:gd name="T10" fmla="*/ 2380 w 2475"/>
                <a:gd name="T11" fmla="*/ 1043 h 1534"/>
                <a:gd name="T12" fmla="*/ 2372 w 2475"/>
                <a:gd name="T13" fmla="*/ 893 h 1534"/>
                <a:gd name="T14" fmla="*/ 2372 w 2475"/>
                <a:gd name="T15" fmla="*/ 711 h 1534"/>
                <a:gd name="T16" fmla="*/ 2285 w 2475"/>
                <a:gd name="T17" fmla="*/ 466 h 1534"/>
                <a:gd name="T18" fmla="*/ 2301 w 2475"/>
                <a:gd name="T19" fmla="*/ 253 h 1534"/>
                <a:gd name="T20" fmla="*/ 2285 w 2475"/>
                <a:gd name="T21" fmla="*/ 174 h 1534"/>
                <a:gd name="T22" fmla="*/ 2253 w 2475"/>
                <a:gd name="T23" fmla="*/ 63 h 1534"/>
                <a:gd name="T24" fmla="*/ 111 w 2475"/>
                <a:gd name="T25" fmla="*/ 0 h 1534"/>
                <a:gd name="T26" fmla="*/ 0 w 2475"/>
                <a:gd name="T27" fmla="*/ 1423 h 1534"/>
                <a:gd name="T28" fmla="*/ 2466 w 2475"/>
                <a:gd name="T29" fmla="*/ 1518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75" h="1534">
                  <a:moveTo>
                    <a:pt x="2466" y="1518"/>
                  </a:moveTo>
                  <a:lnTo>
                    <a:pt x="2466" y="1518"/>
                  </a:lnTo>
                  <a:cubicBezTo>
                    <a:pt x="2466" y="1502"/>
                    <a:pt x="2474" y="1494"/>
                    <a:pt x="2466" y="1486"/>
                  </a:cubicBezTo>
                  <a:cubicBezTo>
                    <a:pt x="2458" y="1439"/>
                    <a:pt x="2474" y="1336"/>
                    <a:pt x="2458" y="1320"/>
                  </a:cubicBezTo>
                  <a:cubicBezTo>
                    <a:pt x="2443" y="1296"/>
                    <a:pt x="2411" y="1296"/>
                    <a:pt x="2411" y="1265"/>
                  </a:cubicBezTo>
                  <a:cubicBezTo>
                    <a:pt x="2411" y="1225"/>
                    <a:pt x="2380" y="1099"/>
                    <a:pt x="2380" y="1043"/>
                  </a:cubicBezTo>
                  <a:cubicBezTo>
                    <a:pt x="2380" y="996"/>
                    <a:pt x="2364" y="964"/>
                    <a:pt x="2372" y="893"/>
                  </a:cubicBezTo>
                  <a:cubicBezTo>
                    <a:pt x="2380" y="822"/>
                    <a:pt x="2396" y="743"/>
                    <a:pt x="2372" y="711"/>
                  </a:cubicBezTo>
                  <a:cubicBezTo>
                    <a:pt x="2356" y="680"/>
                    <a:pt x="2316" y="561"/>
                    <a:pt x="2285" y="466"/>
                  </a:cubicBezTo>
                  <a:cubicBezTo>
                    <a:pt x="2253" y="371"/>
                    <a:pt x="2293" y="269"/>
                    <a:pt x="2301" y="253"/>
                  </a:cubicBezTo>
                  <a:cubicBezTo>
                    <a:pt x="2309" y="229"/>
                    <a:pt x="2309" y="205"/>
                    <a:pt x="2285" y="174"/>
                  </a:cubicBezTo>
                  <a:cubicBezTo>
                    <a:pt x="2269" y="158"/>
                    <a:pt x="2253" y="103"/>
                    <a:pt x="2253" y="63"/>
                  </a:cubicBezTo>
                  <a:cubicBezTo>
                    <a:pt x="1542" y="79"/>
                    <a:pt x="814" y="55"/>
                    <a:pt x="111" y="0"/>
                  </a:cubicBezTo>
                  <a:cubicBezTo>
                    <a:pt x="0" y="1423"/>
                    <a:pt x="0" y="1423"/>
                    <a:pt x="0" y="1423"/>
                  </a:cubicBezTo>
                  <a:cubicBezTo>
                    <a:pt x="222" y="1439"/>
                    <a:pt x="1850" y="1533"/>
                    <a:pt x="2466" y="1518"/>
                  </a:cubicBezTo>
                </a:path>
              </a:pathLst>
            </a:custGeom>
            <a:grpFill/>
            <a:ln>
              <a:solidFill>
                <a:schemeClr val="bg1">
                  <a:lumMod val="95000"/>
                </a:schemeClr>
              </a:solidFill>
            </a:ln>
            <a:effectLst/>
          </p:spPr>
          <p:txBody>
            <a:bodyPr wrap="none" anchor="ctr"/>
            <a:lstStyle/>
            <a:p>
              <a:endParaRPr lang="en-US" sz="900"/>
            </a:p>
          </p:txBody>
        </p:sp>
        <p:sp>
          <p:nvSpPr>
            <p:cNvPr id="43" name="Freeform 308"/>
            <p:cNvSpPr>
              <a:spLocks noChangeArrowheads="1"/>
            </p:cNvSpPr>
            <p:nvPr/>
          </p:nvSpPr>
          <p:spPr bwMode="auto">
            <a:xfrm>
              <a:off x="10961281" y="3651906"/>
              <a:ext cx="1301131" cy="802480"/>
            </a:xfrm>
            <a:custGeom>
              <a:avLst/>
              <a:gdLst>
                <a:gd name="T0" fmla="*/ 2340 w 2475"/>
                <a:gd name="T1" fmla="*/ 1526 h 1527"/>
                <a:gd name="T2" fmla="*/ 2340 w 2475"/>
                <a:gd name="T3" fmla="*/ 1526 h 1527"/>
                <a:gd name="T4" fmla="*/ 2340 w 2475"/>
                <a:gd name="T5" fmla="*/ 1526 h 1527"/>
                <a:gd name="T6" fmla="*/ 0 w 2475"/>
                <a:gd name="T7" fmla="*/ 1431 h 1527"/>
                <a:gd name="T8" fmla="*/ 0 w 2475"/>
                <a:gd name="T9" fmla="*/ 1431 h 1527"/>
                <a:gd name="T10" fmla="*/ 111 w 2475"/>
                <a:gd name="T11" fmla="*/ 0 h 1527"/>
                <a:gd name="T12" fmla="*/ 111 w 2475"/>
                <a:gd name="T13" fmla="*/ 0 h 1527"/>
                <a:gd name="T14" fmla="*/ 1771 w 2475"/>
                <a:gd name="T15" fmla="*/ 63 h 1527"/>
                <a:gd name="T16" fmla="*/ 2253 w 2475"/>
                <a:gd name="T17" fmla="*/ 55 h 1527"/>
                <a:gd name="T18" fmla="*/ 2261 w 2475"/>
                <a:gd name="T19" fmla="*/ 55 h 1527"/>
                <a:gd name="T20" fmla="*/ 2261 w 2475"/>
                <a:gd name="T21" fmla="*/ 63 h 1527"/>
                <a:gd name="T22" fmla="*/ 2285 w 2475"/>
                <a:gd name="T23" fmla="*/ 174 h 1527"/>
                <a:gd name="T24" fmla="*/ 2301 w 2475"/>
                <a:gd name="T25" fmla="*/ 253 h 1527"/>
                <a:gd name="T26" fmla="*/ 2293 w 2475"/>
                <a:gd name="T27" fmla="*/ 466 h 1527"/>
                <a:gd name="T28" fmla="*/ 2380 w 2475"/>
                <a:gd name="T29" fmla="*/ 711 h 1527"/>
                <a:gd name="T30" fmla="*/ 2380 w 2475"/>
                <a:gd name="T31" fmla="*/ 893 h 1527"/>
                <a:gd name="T32" fmla="*/ 2380 w 2475"/>
                <a:gd name="T33" fmla="*/ 988 h 1527"/>
                <a:gd name="T34" fmla="*/ 2388 w 2475"/>
                <a:gd name="T35" fmla="*/ 1043 h 1527"/>
                <a:gd name="T36" fmla="*/ 2403 w 2475"/>
                <a:gd name="T37" fmla="*/ 1170 h 1527"/>
                <a:gd name="T38" fmla="*/ 2419 w 2475"/>
                <a:gd name="T39" fmla="*/ 1265 h 1527"/>
                <a:gd name="T40" fmla="*/ 2443 w 2475"/>
                <a:gd name="T41" fmla="*/ 1304 h 1527"/>
                <a:gd name="T42" fmla="*/ 2458 w 2475"/>
                <a:gd name="T43" fmla="*/ 1312 h 1527"/>
                <a:gd name="T44" fmla="*/ 2474 w 2475"/>
                <a:gd name="T45" fmla="*/ 1407 h 1527"/>
                <a:gd name="T46" fmla="*/ 2474 w 2475"/>
                <a:gd name="T47" fmla="*/ 1478 h 1527"/>
                <a:gd name="T48" fmla="*/ 2474 w 2475"/>
                <a:gd name="T49" fmla="*/ 1518 h 1527"/>
                <a:gd name="T50" fmla="*/ 2466 w 2475"/>
                <a:gd name="T51" fmla="*/ 1518 h 1527"/>
                <a:gd name="T52" fmla="*/ 2466 w 2475"/>
                <a:gd name="T53" fmla="*/ 1518 h 1527"/>
                <a:gd name="T54" fmla="*/ 2340 w 2475"/>
                <a:gd name="T55" fmla="*/ 1526 h 1527"/>
                <a:gd name="T56" fmla="*/ 8 w 2475"/>
                <a:gd name="T57" fmla="*/ 1423 h 1527"/>
                <a:gd name="T58" fmla="*/ 8 w 2475"/>
                <a:gd name="T59" fmla="*/ 1423 h 1527"/>
                <a:gd name="T60" fmla="*/ 2340 w 2475"/>
                <a:gd name="T61" fmla="*/ 1518 h 1527"/>
                <a:gd name="T62" fmla="*/ 2340 w 2475"/>
                <a:gd name="T63" fmla="*/ 1518 h 1527"/>
                <a:gd name="T64" fmla="*/ 2466 w 2475"/>
                <a:gd name="T65" fmla="*/ 1518 h 1527"/>
                <a:gd name="T66" fmla="*/ 2466 w 2475"/>
                <a:gd name="T67" fmla="*/ 1486 h 1527"/>
                <a:gd name="T68" fmla="*/ 2466 w 2475"/>
                <a:gd name="T69" fmla="*/ 1407 h 1527"/>
                <a:gd name="T70" fmla="*/ 2458 w 2475"/>
                <a:gd name="T71" fmla="*/ 1320 h 1527"/>
                <a:gd name="T72" fmla="*/ 2443 w 2475"/>
                <a:gd name="T73" fmla="*/ 1304 h 1527"/>
                <a:gd name="T74" fmla="*/ 2411 w 2475"/>
                <a:gd name="T75" fmla="*/ 1265 h 1527"/>
                <a:gd name="T76" fmla="*/ 2396 w 2475"/>
                <a:gd name="T77" fmla="*/ 1170 h 1527"/>
                <a:gd name="T78" fmla="*/ 2380 w 2475"/>
                <a:gd name="T79" fmla="*/ 1043 h 1527"/>
                <a:gd name="T80" fmla="*/ 2372 w 2475"/>
                <a:gd name="T81" fmla="*/ 996 h 1527"/>
                <a:gd name="T82" fmla="*/ 2372 w 2475"/>
                <a:gd name="T83" fmla="*/ 893 h 1527"/>
                <a:gd name="T84" fmla="*/ 2372 w 2475"/>
                <a:gd name="T85" fmla="*/ 711 h 1527"/>
                <a:gd name="T86" fmla="*/ 2285 w 2475"/>
                <a:gd name="T87" fmla="*/ 466 h 1527"/>
                <a:gd name="T88" fmla="*/ 2293 w 2475"/>
                <a:gd name="T89" fmla="*/ 245 h 1527"/>
                <a:gd name="T90" fmla="*/ 2285 w 2475"/>
                <a:gd name="T91" fmla="*/ 182 h 1527"/>
                <a:gd name="T92" fmla="*/ 2253 w 2475"/>
                <a:gd name="T93" fmla="*/ 63 h 1527"/>
                <a:gd name="T94" fmla="*/ 1771 w 2475"/>
                <a:gd name="T95" fmla="*/ 71 h 1527"/>
                <a:gd name="T96" fmla="*/ 119 w 2475"/>
                <a:gd name="T97" fmla="*/ 8 h 1527"/>
                <a:gd name="T98" fmla="*/ 8 w 2475"/>
                <a:gd name="T99" fmla="*/ 1423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75" h="1527">
                  <a:moveTo>
                    <a:pt x="2340" y="1526"/>
                  </a:moveTo>
                  <a:lnTo>
                    <a:pt x="2340" y="1526"/>
                  </a:lnTo>
                  <a:lnTo>
                    <a:pt x="2340" y="1526"/>
                  </a:lnTo>
                  <a:cubicBezTo>
                    <a:pt x="1652" y="1526"/>
                    <a:pt x="174" y="1439"/>
                    <a:pt x="0" y="1431"/>
                  </a:cubicBezTo>
                  <a:lnTo>
                    <a:pt x="0" y="1431"/>
                  </a:lnTo>
                  <a:cubicBezTo>
                    <a:pt x="111" y="0"/>
                    <a:pt x="111" y="0"/>
                    <a:pt x="111" y="0"/>
                  </a:cubicBezTo>
                  <a:lnTo>
                    <a:pt x="111" y="0"/>
                  </a:lnTo>
                  <a:cubicBezTo>
                    <a:pt x="688" y="39"/>
                    <a:pt x="1249" y="63"/>
                    <a:pt x="1771" y="63"/>
                  </a:cubicBezTo>
                  <a:cubicBezTo>
                    <a:pt x="1937" y="63"/>
                    <a:pt x="2095" y="63"/>
                    <a:pt x="2253" y="55"/>
                  </a:cubicBezTo>
                  <a:cubicBezTo>
                    <a:pt x="2261" y="55"/>
                    <a:pt x="2261" y="55"/>
                    <a:pt x="2261" y="55"/>
                  </a:cubicBezTo>
                  <a:cubicBezTo>
                    <a:pt x="2261" y="63"/>
                    <a:pt x="2261" y="63"/>
                    <a:pt x="2261" y="63"/>
                  </a:cubicBezTo>
                  <a:cubicBezTo>
                    <a:pt x="2261" y="103"/>
                    <a:pt x="2269" y="158"/>
                    <a:pt x="2285" y="174"/>
                  </a:cubicBezTo>
                  <a:cubicBezTo>
                    <a:pt x="2316" y="205"/>
                    <a:pt x="2309" y="229"/>
                    <a:pt x="2301" y="253"/>
                  </a:cubicBezTo>
                  <a:cubicBezTo>
                    <a:pt x="2301" y="253"/>
                    <a:pt x="2253" y="363"/>
                    <a:pt x="2293" y="466"/>
                  </a:cubicBezTo>
                  <a:cubicBezTo>
                    <a:pt x="2316" y="553"/>
                    <a:pt x="2364" y="672"/>
                    <a:pt x="2380" y="711"/>
                  </a:cubicBezTo>
                  <a:cubicBezTo>
                    <a:pt x="2396" y="743"/>
                    <a:pt x="2388" y="822"/>
                    <a:pt x="2380" y="893"/>
                  </a:cubicBezTo>
                  <a:cubicBezTo>
                    <a:pt x="2372" y="941"/>
                    <a:pt x="2380" y="964"/>
                    <a:pt x="2380" y="988"/>
                  </a:cubicBezTo>
                  <a:cubicBezTo>
                    <a:pt x="2388" y="1012"/>
                    <a:pt x="2388" y="1028"/>
                    <a:pt x="2388" y="1043"/>
                  </a:cubicBezTo>
                  <a:cubicBezTo>
                    <a:pt x="2388" y="1075"/>
                    <a:pt x="2396" y="1122"/>
                    <a:pt x="2403" y="1170"/>
                  </a:cubicBezTo>
                  <a:cubicBezTo>
                    <a:pt x="2411" y="1209"/>
                    <a:pt x="2419" y="1241"/>
                    <a:pt x="2419" y="1265"/>
                  </a:cubicBezTo>
                  <a:cubicBezTo>
                    <a:pt x="2419" y="1288"/>
                    <a:pt x="2427" y="1296"/>
                    <a:pt x="2443" y="1304"/>
                  </a:cubicBezTo>
                  <a:cubicBezTo>
                    <a:pt x="2451" y="1304"/>
                    <a:pt x="2458" y="1312"/>
                    <a:pt x="2458" y="1312"/>
                  </a:cubicBezTo>
                  <a:cubicBezTo>
                    <a:pt x="2474" y="1328"/>
                    <a:pt x="2474" y="1359"/>
                    <a:pt x="2474" y="1407"/>
                  </a:cubicBezTo>
                  <a:cubicBezTo>
                    <a:pt x="2466" y="1431"/>
                    <a:pt x="2466" y="1462"/>
                    <a:pt x="2474" y="1478"/>
                  </a:cubicBezTo>
                  <a:cubicBezTo>
                    <a:pt x="2474" y="1494"/>
                    <a:pt x="2474" y="1502"/>
                    <a:pt x="2474" y="1518"/>
                  </a:cubicBezTo>
                  <a:cubicBezTo>
                    <a:pt x="2466" y="1518"/>
                    <a:pt x="2466" y="1518"/>
                    <a:pt x="2466" y="1518"/>
                  </a:cubicBezTo>
                  <a:lnTo>
                    <a:pt x="2466" y="1518"/>
                  </a:lnTo>
                  <a:cubicBezTo>
                    <a:pt x="2427" y="1526"/>
                    <a:pt x="2388" y="1526"/>
                    <a:pt x="2340" y="1526"/>
                  </a:cubicBezTo>
                  <a:close/>
                  <a:moveTo>
                    <a:pt x="8" y="1423"/>
                  </a:moveTo>
                  <a:lnTo>
                    <a:pt x="8" y="1423"/>
                  </a:lnTo>
                  <a:cubicBezTo>
                    <a:pt x="190" y="1431"/>
                    <a:pt x="1660" y="1518"/>
                    <a:pt x="2340" y="1518"/>
                  </a:cubicBezTo>
                  <a:lnTo>
                    <a:pt x="2340" y="1518"/>
                  </a:lnTo>
                  <a:cubicBezTo>
                    <a:pt x="2388" y="1518"/>
                    <a:pt x="2427" y="1518"/>
                    <a:pt x="2466" y="1518"/>
                  </a:cubicBezTo>
                  <a:cubicBezTo>
                    <a:pt x="2466" y="1502"/>
                    <a:pt x="2466" y="1494"/>
                    <a:pt x="2466" y="1486"/>
                  </a:cubicBezTo>
                  <a:cubicBezTo>
                    <a:pt x="2458" y="1462"/>
                    <a:pt x="2458" y="1431"/>
                    <a:pt x="2466" y="1407"/>
                  </a:cubicBezTo>
                  <a:cubicBezTo>
                    <a:pt x="2466" y="1368"/>
                    <a:pt x="2466" y="1328"/>
                    <a:pt x="2458" y="1320"/>
                  </a:cubicBezTo>
                  <a:cubicBezTo>
                    <a:pt x="2450" y="1312"/>
                    <a:pt x="2443" y="1312"/>
                    <a:pt x="2443" y="1304"/>
                  </a:cubicBezTo>
                  <a:cubicBezTo>
                    <a:pt x="2427" y="1296"/>
                    <a:pt x="2411" y="1288"/>
                    <a:pt x="2411" y="1265"/>
                  </a:cubicBezTo>
                  <a:cubicBezTo>
                    <a:pt x="2411" y="1241"/>
                    <a:pt x="2403" y="1209"/>
                    <a:pt x="2396" y="1170"/>
                  </a:cubicBezTo>
                  <a:cubicBezTo>
                    <a:pt x="2388" y="1122"/>
                    <a:pt x="2380" y="1075"/>
                    <a:pt x="2380" y="1043"/>
                  </a:cubicBezTo>
                  <a:cubicBezTo>
                    <a:pt x="2380" y="1028"/>
                    <a:pt x="2380" y="1012"/>
                    <a:pt x="2372" y="996"/>
                  </a:cubicBezTo>
                  <a:cubicBezTo>
                    <a:pt x="2372" y="964"/>
                    <a:pt x="2364" y="941"/>
                    <a:pt x="2372" y="893"/>
                  </a:cubicBezTo>
                  <a:cubicBezTo>
                    <a:pt x="2380" y="830"/>
                    <a:pt x="2388" y="743"/>
                    <a:pt x="2372" y="711"/>
                  </a:cubicBezTo>
                  <a:cubicBezTo>
                    <a:pt x="2356" y="680"/>
                    <a:pt x="2309" y="553"/>
                    <a:pt x="2285" y="466"/>
                  </a:cubicBezTo>
                  <a:cubicBezTo>
                    <a:pt x="2245" y="363"/>
                    <a:pt x="2293" y="253"/>
                    <a:pt x="2293" y="245"/>
                  </a:cubicBezTo>
                  <a:cubicBezTo>
                    <a:pt x="2309" y="221"/>
                    <a:pt x="2301" y="198"/>
                    <a:pt x="2285" y="182"/>
                  </a:cubicBezTo>
                  <a:cubicBezTo>
                    <a:pt x="2269" y="158"/>
                    <a:pt x="2253" y="103"/>
                    <a:pt x="2253" y="63"/>
                  </a:cubicBezTo>
                  <a:cubicBezTo>
                    <a:pt x="2095" y="71"/>
                    <a:pt x="1937" y="71"/>
                    <a:pt x="1771" y="71"/>
                  </a:cubicBezTo>
                  <a:cubicBezTo>
                    <a:pt x="1249" y="71"/>
                    <a:pt x="688" y="47"/>
                    <a:pt x="119" y="8"/>
                  </a:cubicBezTo>
                  <a:lnTo>
                    <a:pt x="8" y="1423"/>
                  </a:lnTo>
                  <a:close/>
                </a:path>
              </a:pathLst>
            </a:custGeom>
            <a:grpFill/>
            <a:ln>
              <a:solidFill>
                <a:schemeClr val="bg1">
                  <a:lumMod val="95000"/>
                </a:schemeClr>
              </a:solidFill>
            </a:ln>
            <a:effectLst/>
          </p:spPr>
          <p:txBody>
            <a:bodyPr wrap="none" anchor="ctr"/>
            <a:lstStyle/>
            <a:p>
              <a:endParaRPr lang="en-US" sz="900"/>
            </a:p>
          </p:txBody>
        </p:sp>
        <p:sp>
          <p:nvSpPr>
            <p:cNvPr id="44" name="Freeform 330"/>
            <p:cNvSpPr>
              <a:spLocks noChangeArrowheads="1"/>
            </p:cNvSpPr>
            <p:nvPr/>
          </p:nvSpPr>
          <p:spPr bwMode="auto">
            <a:xfrm>
              <a:off x="10912576" y="4401041"/>
              <a:ext cx="1384625" cy="911488"/>
            </a:xfrm>
            <a:custGeom>
              <a:avLst/>
              <a:gdLst>
                <a:gd name="T0" fmla="*/ 1921 w 2633"/>
                <a:gd name="T1" fmla="*/ 1470 h 1732"/>
                <a:gd name="T2" fmla="*/ 1921 w 2633"/>
                <a:gd name="T3" fmla="*/ 1470 h 1732"/>
                <a:gd name="T4" fmla="*/ 1977 w 2633"/>
                <a:gd name="T5" fmla="*/ 1518 h 1732"/>
                <a:gd name="T6" fmla="*/ 2024 w 2633"/>
                <a:gd name="T7" fmla="*/ 1549 h 1732"/>
                <a:gd name="T8" fmla="*/ 2080 w 2633"/>
                <a:gd name="T9" fmla="*/ 1581 h 1732"/>
                <a:gd name="T10" fmla="*/ 2111 w 2633"/>
                <a:gd name="T11" fmla="*/ 1565 h 1732"/>
                <a:gd name="T12" fmla="*/ 2151 w 2633"/>
                <a:gd name="T13" fmla="*/ 1533 h 1732"/>
                <a:gd name="T14" fmla="*/ 2332 w 2633"/>
                <a:gd name="T15" fmla="*/ 1541 h 1732"/>
                <a:gd name="T16" fmla="*/ 2372 w 2633"/>
                <a:gd name="T17" fmla="*/ 1573 h 1732"/>
                <a:gd name="T18" fmla="*/ 2483 w 2633"/>
                <a:gd name="T19" fmla="*/ 1620 h 1732"/>
                <a:gd name="T20" fmla="*/ 2538 w 2633"/>
                <a:gd name="T21" fmla="*/ 1668 h 1732"/>
                <a:gd name="T22" fmla="*/ 2600 w 2633"/>
                <a:gd name="T23" fmla="*/ 1723 h 1732"/>
                <a:gd name="T24" fmla="*/ 2624 w 2633"/>
                <a:gd name="T25" fmla="*/ 1723 h 1732"/>
                <a:gd name="T26" fmla="*/ 2600 w 2633"/>
                <a:gd name="T27" fmla="*/ 1652 h 1732"/>
                <a:gd name="T28" fmla="*/ 2546 w 2633"/>
                <a:gd name="T29" fmla="*/ 1565 h 1732"/>
                <a:gd name="T30" fmla="*/ 2600 w 2633"/>
                <a:gd name="T31" fmla="*/ 1486 h 1732"/>
                <a:gd name="T32" fmla="*/ 2616 w 2633"/>
                <a:gd name="T33" fmla="*/ 1415 h 1732"/>
                <a:gd name="T34" fmla="*/ 2584 w 2633"/>
                <a:gd name="T35" fmla="*/ 1367 h 1732"/>
                <a:gd name="T36" fmla="*/ 2569 w 2633"/>
                <a:gd name="T37" fmla="*/ 1320 h 1732"/>
                <a:gd name="T38" fmla="*/ 2569 w 2633"/>
                <a:gd name="T39" fmla="*/ 1241 h 1732"/>
                <a:gd name="T40" fmla="*/ 2608 w 2633"/>
                <a:gd name="T41" fmla="*/ 1225 h 1732"/>
                <a:gd name="T42" fmla="*/ 2608 w 2633"/>
                <a:gd name="T43" fmla="*/ 371 h 1732"/>
                <a:gd name="T44" fmla="*/ 2553 w 2633"/>
                <a:gd name="T45" fmla="*/ 356 h 1732"/>
                <a:gd name="T46" fmla="*/ 2506 w 2633"/>
                <a:gd name="T47" fmla="*/ 316 h 1732"/>
                <a:gd name="T48" fmla="*/ 2483 w 2633"/>
                <a:gd name="T49" fmla="*/ 261 h 1732"/>
                <a:gd name="T50" fmla="*/ 2506 w 2633"/>
                <a:gd name="T51" fmla="*/ 197 h 1732"/>
                <a:gd name="T52" fmla="*/ 2561 w 2633"/>
                <a:gd name="T53" fmla="*/ 95 h 1732"/>
                <a:gd name="T54" fmla="*/ 95 w 2633"/>
                <a:gd name="T55" fmla="*/ 0 h 1732"/>
                <a:gd name="T56" fmla="*/ 64 w 2633"/>
                <a:gd name="T57" fmla="*/ 435 h 1732"/>
                <a:gd name="T58" fmla="*/ 0 w 2633"/>
                <a:gd name="T59" fmla="*/ 1375 h 1732"/>
                <a:gd name="T60" fmla="*/ 1921 w 2633"/>
                <a:gd name="T61" fmla="*/ 1470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33" h="1732">
                  <a:moveTo>
                    <a:pt x="1921" y="1470"/>
                  </a:moveTo>
                  <a:lnTo>
                    <a:pt x="1921" y="1470"/>
                  </a:lnTo>
                  <a:cubicBezTo>
                    <a:pt x="1921" y="1470"/>
                    <a:pt x="1969" y="1494"/>
                    <a:pt x="1977" y="1518"/>
                  </a:cubicBezTo>
                  <a:cubicBezTo>
                    <a:pt x="1985" y="1533"/>
                    <a:pt x="1985" y="1549"/>
                    <a:pt x="2024" y="1549"/>
                  </a:cubicBezTo>
                  <a:cubicBezTo>
                    <a:pt x="2056" y="1557"/>
                    <a:pt x="2072" y="1573"/>
                    <a:pt x="2080" y="1581"/>
                  </a:cubicBezTo>
                  <a:cubicBezTo>
                    <a:pt x="2087" y="1597"/>
                    <a:pt x="2087" y="1589"/>
                    <a:pt x="2111" y="1565"/>
                  </a:cubicBezTo>
                  <a:cubicBezTo>
                    <a:pt x="2127" y="1541"/>
                    <a:pt x="2127" y="1526"/>
                    <a:pt x="2151" y="1533"/>
                  </a:cubicBezTo>
                  <a:cubicBezTo>
                    <a:pt x="2182" y="1533"/>
                    <a:pt x="2309" y="1518"/>
                    <a:pt x="2332" y="1541"/>
                  </a:cubicBezTo>
                  <a:cubicBezTo>
                    <a:pt x="2348" y="1557"/>
                    <a:pt x="2340" y="1573"/>
                    <a:pt x="2372" y="1573"/>
                  </a:cubicBezTo>
                  <a:cubicBezTo>
                    <a:pt x="2404" y="1573"/>
                    <a:pt x="2467" y="1597"/>
                    <a:pt x="2483" y="1620"/>
                  </a:cubicBezTo>
                  <a:cubicBezTo>
                    <a:pt x="2498" y="1644"/>
                    <a:pt x="2530" y="1668"/>
                    <a:pt x="2538" y="1668"/>
                  </a:cubicBezTo>
                  <a:cubicBezTo>
                    <a:pt x="2546" y="1668"/>
                    <a:pt x="2561" y="1731"/>
                    <a:pt x="2600" y="1723"/>
                  </a:cubicBezTo>
                  <a:cubicBezTo>
                    <a:pt x="2608" y="1723"/>
                    <a:pt x="2616" y="1723"/>
                    <a:pt x="2624" y="1723"/>
                  </a:cubicBezTo>
                  <a:cubicBezTo>
                    <a:pt x="2616" y="1707"/>
                    <a:pt x="2608" y="1684"/>
                    <a:pt x="2600" y="1652"/>
                  </a:cubicBezTo>
                  <a:cubicBezTo>
                    <a:pt x="2569" y="1597"/>
                    <a:pt x="2522" y="1613"/>
                    <a:pt x="2546" y="1565"/>
                  </a:cubicBezTo>
                  <a:cubicBezTo>
                    <a:pt x="2561" y="1526"/>
                    <a:pt x="2592" y="1541"/>
                    <a:pt x="2600" y="1486"/>
                  </a:cubicBezTo>
                  <a:cubicBezTo>
                    <a:pt x="2608" y="1439"/>
                    <a:pt x="2600" y="1439"/>
                    <a:pt x="2616" y="1415"/>
                  </a:cubicBezTo>
                  <a:cubicBezTo>
                    <a:pt x="2632" y="1391"/>
                    <a:pt x="2616" y="1383"/>
                    <a:pt x="2584" y="1367"/>
                  </a:cubicBezTo>
                  <a:cubicBezTo>
                    <a:pt x="2561" y="1352"/>
                    <a:pt x="2538" y="1336"/>
                    <a:pt x="2569" y="1320"/>
                  </a:cubicBezTo>
                  <a:cubicBezTo>
                    <a:pt x="2600" y="1304"/>
                    <a:pt x="2553" y="1265"/>
                    <a:pt x="2569" y="1241"/>
                  </a:cubicBezTo>
                  <a:cubicBezTo>
                    <a:pt x="2584" y="1217"/>
                    <a:pt x="2608" y="1225"/>
                    <a:pt x="2608" y="1225"/>
                  </a:cubicBezTo>
                  <a:cubicBezTo>
                    <a:pt x="2608" y="371"/>
                    <a:pt x="2608" y="371"/>
                    <a:pt x="2608" y="371"/>
                  </a:cubicBezTo>
                  <a:cubicBezTo>
                    <a:pt x="2608" y="371"/>
                    <a:pt x="2577" y="356"/>
                    <a:pt x="2553" y="356"/>
                  </a:cubicBezTo>
                  <a:cubicBezTo>
                    <a:pt x="2530" y="356"/>
                    <a:pt x="2506" y="347"/>
                    <a:pt x="2506" y="316"/>
                  </a:cubicBezTo>
                  <a:cubicBezTo>
                    <a:pt x="2506" y="276"/>
                    <a:pt x="2498" y="276"/>
                    <a:pt x="2483" y="261"/>
                  </a:cubicBezTo>
                  <a:cubicBezTo>
                    <a:pt x="2467" y="245"/>
                    <a:pt x="2475" y="213"/>
                    <a:pt x="2506" y="197"/>
                  </a:cubicBezTo>
                  <a:cubicBezTo>
                    <a:pt x="2530" y="190"/>
                    <a:pt x="2553" y="134"/>
                    <a:pt x="2561" y="95"/>
                  </a:cubicBezTo>
                  <a:cubicBezTo>
                    <a:pt x="1945" y="110"/>
                    <a:pt x="317" y="16"/>
                    <a:pt x="95" y="0"/>
                  </a:cubicBezTo>
                  <a:cubicBezTo>
                    <a:pt x="64" y="435"/>
                    <a:pt x="64" y="435"/>
                    <a:pt x="64" y="435"/>
                  </a:cubicBezTo>
                  <a:cubicBezTo>
                    <a:pt x="0" y="1375"/>
                    <a:pt x="0" y="1375"/>
                    <a:pt x="0" y="1375"/>
                  </a:cubicBezTo>
                  <a:cubicBezTo>
                    <a:pt x="222" y="1391"/>
                    <a:pt x="1542" y="1486"/>
                    <a:pt x="1921" y="1470"/>
                  </a:cubicBezTo>
                </a:path>
              </a:pathLst>
            </a:custGeom>
            <a:grpFill/>
            <a:ln>
              <a:solidFill>
                <a:schemeClr val="bg1">
                  <a:lumMod val="95000"/>
                </a:schemeClr>
              </a:solidFill>
            </a:ln>
            <a:effectLst/>
          </p:spPr>
          <p:txBody>
            <a:bodyPr wrap="none" anchor="ctr"/>
            <a:lstStyle/>
            <a:p>
              <a:endParaRPr lang="en-US" sz="900"/>
            </a:p>
          </p:txBody>
        </p:sp>
        <p:sp>
          <p:nvSpPr>
            <p:cNvPr id="45" name="Freeform 331"/>
            <p:cNvSpPr>
              <a:spLocks noChangeArrowheads="1"/>
            </p:cNvSpPr>
            <p:nvPr/>
          </p:nvSpPr>
          <p:spPr bwMode="auto">
            <a:xfrm>
              <a:off x="10912576" y="4401041"/>
              <a:ext cx="1384625" cy="911488"/>
            </a:xfrm>
            <a:custGeom>
              <a:avLst/>
              <a:gdLst>
                <a:gd name="T0" fmla="*/ 2592 w 2633"/>
                <a:gd name="T1" fmla="*/ 1731 h 1732"/>
                <a:gd name="T2" fmla="*/ 2538 w 2633"/>
                <a:gd name="T3" fmla="*/ 1668 h 1732"/>
                <a:gd name="T4" fmla="*/ 2372 w 2633"/>
                <a:gd name="T5" fmla="*/ 1581 h 1732"/>
                <a:gd name="T6" fmla="*/ 2324 w 2633"/>
                <a:gd name="T7" fmla="*/ 1541 h 1732"/>
                <a:gd name="T8" fmla="*/ 2206 w 2633"/>
                <a:gd name="T9" fmla="*/ 1533 h 1732"/>
                <a:gd name="T10" fmla="*/ 2119 w 2633"/>
                <a:gd name="T11" fmla="*/ 1557 h 1732"/>
                <a:gd name="T12" fmla="*/ 2087 w 2633"/>
                <a:gd name="T13" fmla="*/ 1597 h 1732"/>
                <a:gd name="T14" fmla="*/ 2072 w 2633"/>
                <a:gd name="T15" fmla="*/ 1581 h 1732"/>
                <a:gd name="T16" fmla="*/ 1977 w 2633"/>
                <a:gd name="T17" fmla="*/ 1526 h 1732"/>
                <a:gd name="T18" fmla="*/ 1913 w 2633"/>
                <a:gd name="T19" fmla="*/ 1470 h 1732"/>
                <a:gd name="T20" fmla="*/ 1803 w 2633"/>
                <a:gd name="T21" fmla="*/ 1470 h 1732"/>
                <a:gd name="T22" fmla="*/ 0 w 2633"/>
                <a:gd name="T23" fmla="*/ 1375 h 1732"/>
                <a:gd name="T24" fmla="*/ 95 w 2633"/>
                <a:gd name="T25" fmla="*/ 0 h 1732"/>
                <a:gd name="T26" fmla="*/ 2435 w 2633"/>
                <a:gd name="T27" fmla="*/ 95 h 1732"/>
                <a:gd name="T28" fmla="*/ 2569 w 2633"/>
                <a:gd name="T29" fmla="*/ 95 h 1732"/>
                <a:gd name="T30" fmla="*/ 2506 w 2633"/>
                <a:gd name="T31" fmla="*/ 205 h 1732"/>
                <a:gd name="T32" fmla="*/ 2483 w 2633"/>
                <a:gd name="T33" fmla="*/ 261 h 1732"/>
                <a:gd name="T34" fmla="*/ 2514 w 2633"/>
                <a:gd name="T35" fmla="*/ 316 h 1732"/>
                <a:gd name="T36" fmla="*/ 2608 w 2633"/>
                <a:gd name="T37" fmla="*/ 371 h 1732"/>
                <a:gd name="T38" fmla="*/ 2608 w 2633"/>
                <a:gd name="T39" fmla="*/ 1233 h 1732"/>
                <a:gd name="T40" fmla="*/ 2600 w 2633"/>
                <a:gd name="T41" fmla="*/ 1225 h 1732"/>
                <a:gd name="T42" fmla="*/ 2577 w 2633"/>
                <a:gd name="T43" fmla="*/ 1280 h 1732"/>
                <a:gd name="T44" fmla="*/ 2561 w 2633"/>
                <a:gd name="T45" fmla="*/ 1336 h 1732"/>
                <a:gd name="T46" fmla="*/ 2592 w 2633"/>
                <a:gd name="T47" fmla="*/ 1367 h 1732"/>
                <a:gd name="T48" fmla="*/ 2624 w 2633"/>
                <a:gd name="T49" fmla="*/ 1399 h 1732"/>
                <a:gd name="T50" fmla="*/ 2608 w 2633"/>
                <a:gd name="T51" fmla="*/ 1446 h 1732"/>
                <a:gd name="T52" fmla="*/ 2577 w 2633"/>
                <a:gd name="T53" fmla="*/ 1533 h 1732"/>
                <a:gd name="T54" fmla="*/ 2561 w 2633"/>
                <a:gd name="T55" fmla="*/ 1604 h 1732"/>
                <a:gd name="T56" fmla="*/ 2632 w 2633"/>
                <a:gd name="T57" fmla="*/ 1723 h 1732"/>
                <a:gd name="T58" fmla="*/ 2624 w 2633"/>
                <a:gd name="T59" fmla="*/ 1731 h 1732"/>
                <a:gd name="T60" fmla="*/ 2592 w 2633"/>
                <a:gd name="T61" fmla="*/ 1731 h 1732"/>
                <a:gd name="T62" fmla="*/ 2261 w 2633"/>
                <a:gd name="T63" fmla="*/ 1526 h 1732"/>
                <a:gd name="T64" fmla="*/ 2340 w 2633"/>
                <a:gd name="T65" fmla="*/ 1557 h 1732"/>
                <a:gd name="T66" fmla="*/ 2483 w 2633"/>
                <a:gd name="T67" fmla="*/ 1620 h 1732"/>
                <a:gd name="T68" fmla="*/ 2553 w 2633"/>
                <a:gd name="T69" fmla="*/ 1676 h 1732"/>
                <a:gd name="T70" fmla="*/ 2600 w 2633"/>
                <a:gd name="T71" fmla="*/ 1723 h 1732"/>
                <a:gd name="T72" fmla="*/ 2592 w 2633"/>
                <a:gd name="T73" fmla="*/ 1652 h 1732"/>
                <a:gd name="T74" fmla="*/ 2538 w 2633"/>
                <a:gd name="T75" fmla="*/ 1565 h 1732"/>
                <a:gd name="T76" fmla="*/ 2600 w 2633"/>
                <a:gd name="T77" fmla="*/ 1486 h 1732"/>
                <a:gd name="T78" fmla="*/ 2608 w 2633"/>
                <a:gd name="T79" fmla="*/ 1415 h 1732"/>
                <a:gd name="T80" fmla="*/ 2592 w 2633"/>
                <a:gd name="T81" fmla="*/ 1375 h 1732"/>
                <a:gd name="T82" fmla="*/ 2577 w 2633"/>
                <a:gd name="T83" fmla="*/ 1367 h 1732"/>
                <a:gd name="T84" fmla="*/ 2569 w 2633"/>
                <a:gd name="T85" fmla="*/ 1320 h 1732"/>
                <a:gd name="T86" fmla="*/ 2569 w 2633"/>
                <a:gd name="T87" fmla="*/ 1241 h 1732"/>
                <a:gd name="T88" fmla="*/ 2600 w 2633"/>
                <a:gd name="T89" fmla="*/ 371 h 1732"/>
                <a:gd name="T90" fmla="*/ 2506 w 2633"/>
                <a:gd name="T91" fmla="*/ 316 h 1732"/>
                <a:gd name="T92" fmla="*/ 2483 w 2633"/>
                <a:gd name="T93" fmla="*/ 269 h 1732"/>
                <a:gd name="T94" fmla="*/ 2498 w 2633"/>
                <a:gd name="T95" fmla="*/ 197 h 1732"/>
                <a:gd name="T96" fmla="*/ 2435 w 2633"/>
                <a:gd name="T97" fmla="*/ 103 h 1732"/>
                <a:gd name="T98" fmla="*/ 71 w 2633"/>
                <a:gd name="T99" fmla="*/ 435 h 1732"/>
                <a:gd name="T100" fmla="*/ 1803 w 2633"/>
                <a:gd name="T101" fmla="*/ 1462 h 1732"/>
                <a:gd name="T102" fmla="*/ 1921 w 2633"/>
                <a:gd name="T103" fmla="*/ 1462 h 1732"/>
                <a:gd name="T104" fmla="*/ 1921 w 2633"/>
                <a:gd name="T105" fmla="*/ 1462 h 1732"/>
                <a:gd name="T106" fmla="*/ 1977 w 2633"/>
                <a:gd name="T107" fmla="*/ 1518 h 1732"/>
                <a:gd name="T108" fmla="*/ 2080 w 2633"/>
                <a:gd name="T109" fmla="*/ 1581 h 1732"/>
                <a:gd name="T110" fmla="*/ 2087 w 2633"/>
                <a:gd name="T111" fmla="*/ 1589 h 1732"/>
                <a:gd name="T112" fmla="*/ 2111 w 2633"/>
                <a:gd name="T113" fmla="*/ 1549 h 1732"/>
                <a:gd name="T114" fmla="*/ 2198 w 2633"/>
                <a:gd name="T115" fmla="*/ 1526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33" h="1732">
                  <a:moveTo>
                    <a:pt x="2592" y="1731"/>
                  </a:moveTo>
                  <a:lnTo>
                    <a:pt x="2592" y="1731"/>
                  </a:lnTo>
                  <a:cubicBezTo>
                    <a:pt x="2569" y="1731"/>
                    <a:pt x="2553" y="1699"/>
                    <a:pt x="2546" y="1684"/>
                  </a:cubicBezTo>
                  <a:cubicBezTo>
                    <a:pt x="2546" y="1676"/>
                    <a:pt x="2538" y="1668"/>
                    <a:pt x="2538" y="1668"/>
                  </a:cubicBezTo>
                  <a:cubicBezTo>
                    <a:pt x="2530" y="1668"/>
                    <a:pt x="2498" y="1644"/>
                    <a:pt x="2483" y="1620"/>
                  </a:cubicBezTo>
                  <a:cubicBezTo>
                    <a:pt x="2467" y="1597"/>
                    <a:pt x="2404" y="1581"/>
                    <a:pt x="2372" y="1581"/>
                  </a:cubicBezTo>
                  <a:cubicBezTo>
                    <a:pt x="2348" y="1581"/>
                    <a:pt x="2348" y="1573"/>
                    <a:pt x="2340" y="1557"/>
                  </a:cubicBezTo>
                  <a:cubicBezTo>
                    <a:pt x="2332" y="1557"/>
                    <a:pt x="2332" y="1549"/>
                    <a:pt x="2324" y="1541"/>
                  </a:cubicBezTo>
                  <a:cubicBezTo>
                    <a:pt x="2324" y="1541"/>
                    <a:pt x="2309" y="1533"/>
                    <a:pt x="2261" y="1533"/>
                  </a:cubicBezTo>
                  <a:cubicBezTo>
                    <a:pt x="2245" y="1533"/>
                    <a:pt x="2222" y="1533"/>
                    <a:pt x="2206" y="1533"/>
                  </a:cubicBezTo>
                  <a:cubicBezTo>
                    <a:pt x="2182" y="1533"/>
                    <a:pt x="2158" y="1533"/>
                    <a:pt x="2151" y="1533"/>
                  </a:cubicBezTo>
                  <a:cubicBezTo>
                    <a:pt x="2135" y="1533"/>
                    <a:pt x="2127" y="1541"/>
                    <a:pt x="2119" y="1557"/>
                  </a:cubicBezTo>
                  <a:lnTo>
                    <a:pt x="2111" y="1565"/>
                  </a:lnTo>
                  <a:cubicBezTo>
                    <a:pt x="2095" y="1589"/>
                    <a:pt x="2095" y="1597"/>
                    <a:pt x="2087" y="1597"/>
                  </a:cubicBezTo>
                  <a:cubicBezTo>
                    <a:pt x="2080" y="1597"/>
                    <a:pt x="2080" y="1589"/>
                    <a:pt x="2080" y="1589"/>
                  </a:cubicBezTo>
                  <a:cubicBezTo>
                    <a:pt x="2080" y="1589"/>
                    <a:pt x="2072" y="1589"/>
                    <a:pt x="2072" y="1581"/>
                  </a:cubicBezTo>
                  <a:cubicBezTo>
                    <a:pt x="2064" y="1573"/>
                    <a:pt x="2048" y="1557"/>
                    <a:pt x="2016" y="1557"/>
                  </a:cubicBezTo>
                  <a:cubicBezTo>
                    <a:pt x="1985" y="1549"/>
                    <a:pt x="1977" y="1541"/>
                    <a:pt x="1977" y="1526"/>
                  </a:cubicBezTo>
                  <a:cubicBezTo>
                    <a:pt x="1969" y="1518"/>
                    <a:pt x="1969" y="1518"/>
                    <a:pt x="1969" y="1518"/>
                  </a:cubicBezTo>
                  <a:cubicBezTo>
                    <a:pt x="1961" y="1502"/>
                    <a:pt x="1921" y="1478"/>
                    <a:pt x="1913" y="1470"/>
                  </a:cubicBezTo>
                  <a:cubicBezTo>
                    <a:pt x="1890" y="1470"/>
                    <a:pt x="1850" y="1470"/>
                    <a:pt x="1803" y="1470"/>
                  </a:cubicBezTo>
                  <a:lnTo>
                    <a:pt x="1803" y="1470"/>
                  </a:lnTo>
                  <a:cubicBezTo>
                    <a:pt x="1328" y="1470"/>
                    <a:pt x="222" y="1391"/>
                    <a:pt x="0" y="1375"/>
                  </a:cubicBezTo>
                  <a:lnTo>
                    <a:pt x="0" y="1375"/>
                  </a:lnTo>
                  <a:cubicBezTo>
                    <a:pt x="64" y="435"/>
                    <a:pt x="64" y="435"/>
                    <a:pt x="64" y="435"/>
                  </a:cubicBezTo>
                  <a:cubicBezTo>
                    <a:pt x="95" y="0"/>
                    <a:pt x="95" y="0"/>
                    <a:pt x="95" y="0"/>
                  </a:cubicBezTo>
                  <a:lnTo>
                    <a:pt x="95" y="0"/>
                  </a:lnTo>
                  <a:cubicBezTo>
                    <a:pt x="269" y="8"/>
                    <a:pt x="1747" y="95"/>
                    <a:pt x="2435" y="95"/>
                  </a:cubicBezTo>
                  <a:cubicBezTo>
                    <a:pt x="2483" y="95"/>
                    <a:pt x="2522" y="95"/>
                    <a:pt x="2561" y="95"/>
                  </a:cubicBezTo>
                  <a:cubicBezTo>
                    <a:pt x="2569" y="95"/>
                    <a:pt x="2569" y="95"/>
                    <a:pt x="2569" y="95"/>
                  </a:cubicBezTo>
                  <a:lnTo>
                    <a:pt x="2569" y="95"/>
                  </a:lnTo>
                  <a:cubicBezTo>
                    <a:pt x="2553" y="142"/>
                    <a:pt x="2530" y="190"/>
                    <a:pt x="2506" y="205"/>
                  </a:cubicBezTo>
                  <a:cubicBezTo>
                    <a:pt x="2491" y="213"/>
                    <a:pt x="2483" y="221"/>
                    <a:pt x="2483" y="237"/>
                  </a:cubicBezTo>
                  <a:cubicBezTo>
                    <a:pt x="2475" y="245"/>
                    <a:pt x="2483" y="253"/>
                    <a:pt x="2483" y="261"/>
                  </a:cubicBezTo>
                  <a:cubicBezTo>
                    <a:pt x="2491" y="269"/>
                    <a:pt x="2491" y="269"/>
                    <a:pt x="2498" y="269"/>
                  </a:cubicBezTo>
                  <a:cubicBezTo>
                    <a:pt x="2506" y="276"/>
                    <a:pt x="2514" y="284"/>
                    <a:pt x="2514" y="316"/>
                  </a:cubicBezTo>
                  <a:cubicBezTo>
                    <a:pt x="2514" y="347"/>
                    <a:pt x="2530" y="347"/>
                    <a:pt x="2553" y="347"/>
                  </a:cubicBezTo>
                  <a:cubicBezTo>
                    <a:pt x="2577" y="347"/>
                    <a:pt x="2608" y="371"/>
                    <a:pt x="2608" y="371"/>
                  </a:cubicBezTo>
                  <a:lnTo>
                    <a:pt x="2608" y="371"/>
                  </a:lnTo>
                  <a:cubicBezTo>
                    <a:pt x="2608" y="1233"/>
                    <a:pt x="2608" y="1233"/>
                    <a:pt x="2608" y="1233"/>
                  </a:cubicBezTo>
                  <a:cubicBezTo>
                    <a:pt x="2600" y="1225"/>
                    <a:pt x="2600" y="1225"/>
                    <a:pt x="2600" y="1225"/>
                  </a:cubicBezTo>
                  <a:lnTo>
                    <a:pt x="2600" y="1225"/>
                  </a:lnTo>
                  <a:cubicBezTo>
                    <a:pt x="2592" y="1225"/>
                    <a:pt x="2584" y="1233"/>
                    <a:pt x="2577" y="1241"/>
                  </a:cubicBezTo>
                  <a:cubicBezTo>
                    <a:pt x="2569" y="1257"/>
                    <a:pt x="2569" y="1265"/>
                    <a:pt x="2577" y="1280"/>
                  </a:cubicBezTo>
                  <a:cubicBezTo>
                    <a:pt x="2584" y="1296"/>
                    <a:pt x="2584" y="1312"/>
                    <a:pt x="2569" y="1328"/>
                  </a:cubicBezTo>
                  <a:cubicBezTo>
                    <a:pt x="2561" y="1328"/>
                    <a:pt x="2561" y="1336"/>
                    <a:pt x="2561" y="1336"/>
                  </a:cubicBezTo>
                  <a:cubicBezTo>
                    <a:pt x="2561" y="1344"/>
                    <a:pt x="2569" y="1352"/>
                    <a:pt x="2584" y="1360"/>
                  </a:cubicBezTo>
                  <a:cubicBezTo>
                    <a:pt x="2584" y="1360"/>
                    <a:pt x="2584" y="1367"/>
                    <a:pt x="2592" y="1367"/>
                  </a:cubicBezTo>
                  <a:lnTo>
                    <a:pt x="2592" y="1367"/>
                  </a:lnTo>
                  <a:cubicBezTo>
                    <a:pt x="2608" y="1383"/>
                    <a:pt x="2624" y="1383"/>
                    <a:pt x="2624" y="1399"/>
                  </a:cubicBezTo>
                  <a:cubicBezTo>
                    <a:pt x="2624" y="1407"/>
                    <a:pt x="2624" y="1407"/>
                    <a:pt x="2616" y="1415"/>
                  </a:cubicBezTo>
                  <a:cubicBezTo>
                    <a:pt x="2608" y="1431"/>
                    <a:pt x="2608" y="1431"/>
                    <a:pt x="2608" y="1446"/>
                  </a:cubicBezTo>
                  <a:cubicBezTo>
                    <a:pt x="2608" y="1454"/>
                    <a:pt x="2608" y="1462"/>
                    <a:pt x="2608" y="1486"/>
                  </a:cubicBezTo>
                  <a:cubicBezTo>
                    <a:pt x="2600" y="1518"/>
                    <a:pt x="2584" y="1526"/>
                    <a:pt x="2577" y="1533"/>
                  </a:cubicBezTo>
                  <a:cubicBezTo>
                    <a:pt x="2561" y="1541"/>
                    <a:pt x="2553" y="1549"/>
                    <a:pt x="2546" y="1573"/>
                  </a:cubicBezTo>
                  <a:cubicBezTo>
                    <a:pt x="2538" y="1589"/>
                    <a:pt x="2546" y="1597"/>
                    <a:pt x="2561" y="1604"/>
                  </a:cubicBezTo>
                  <a:cubicBezTo>
                    <a:pt x="2569" y="1613"/>
                    <a:pt x="2584" y="1620"/>
                    <a:pt x="2600" y="1644"/>
                  </a:cubicBezTo>
                  <a:cubicBezTo>
                    <a:pt x="2616" y="1676"/>
                    <a:pt x="2624" y="1699"/>
                    <a:pt x="2632" y="1723"/>
                  </a:cubicBezTo>
                  <a:cubicBezTo>
                    <a:pt x="2632" y="1731"/>
                    <a:pt x="2632" y="1731"/>
                    <a:pt x="2632" y="1731"/>
                  </a:cubicBezTo>
                  <a:cubicBezTo>
                    <a:pt x="2624" y="1731"/>
                    <a:pt x="2624" y="1731"/>
                    <a:pt x="2624" y="1731"/>
                  </a:cubicBezTo>
                  <a:cubicBezTo>
                    <a:pt x="2616" y="1731"/>
                    <a:pt x="2608" y="1731"/>
                    <a:pt x="2600" y="1731"/>
                  </a:cubicBezTo>
                  <a:cubicBezTo>
                    <a:pt x="2600" y="1731"/>
                    <a:pt x="2600" y="1731"/>
                    <a:pt x="2592" y="1731"/>
                  </a:cubicBezTo>
                  <a:close/>
                  <a:moveTo>
                    <a:pt x="2261" y="1526"/>
                  </a:moveTo>
                  <a:lnTo>
                    <a:pt x="2261" y="1526"/>
                  </a:lnTo>
                  <a:cubicBezTo>
                    <a:pt x="2301" y="1526"/>
                    <a:pt x="2324" y="1526"/>
                    <a:pt x="2332" y="1533"/>
                  </a:cubicBezTo>
                  <a:cubicBezTo>
                    <a:pt x="2340" y="1541"/>
                    <a:pt x="2340" y="1549"/>
                    <a:pt x="2340" y="1557"/>
                  </a:cubicBezTo>
                  <a:cubicBezTo>
                    <a:pt x="2348" y="1565"/>
                    <a:pt x="2356" y="1573"/>
                    <a:pt x="2372" y="1573"/>
                  </a:cubicBezTo>
                  <a:cubicBezTo>
                    <a:pt x="2404" y="1573"/>
                    <a:pt x="2467" y="1589"/>
                    <a:pt x="2483" y="1620"/>
                  </a:cubicBezTo>
                  <a:cubicBezTo>
                    <a:pt x="2506" y="1644"/>
                    <a:pt x="2530" y="1660"/>
                    <a:pt x="2538" y="1660"/>
                  </a:cubicBezTo>
                  <a:cubicBezTo>
                    <a:pt x="2546" y="1660"/>
                    <a:pt x="2545" y="1668"/>
                    <a:pt x="2553" y="1676"/>
                  </a:cubicBezTo>
                  <a:cubicBezTo>
                    <a:pt x="2561" y="1699"/>
                    <a:pt x="2577" y="1723"/>
                    <a:pt x="2592" y="1723"/>
                  </a:cubicBezTo>
                  <a:cubicBezTo>
                    <a:pt x="2600" y="1723"/>
                    <a:pt x="2600" y="1723"/>
                    <a:pt x="2600" y="1723"/>
                  </a:cubicBezTo>
                  <a:cubicBezTo>
                    <a:pt x="2608" y="1723"/>
                    <a:pt x="2616" y="1723"/>
                    <a:pt x="2624" y="1723"/>
                  </a:cubicBezTo>
                  <a:cubicBezTo>
                    <a:pt x="2616" y="1699"/>
                    <a:pt x="2608" y="1676"/>
                    <a:pt x="2592" y="1652"/>
                  </a:cubicBezTo>
                  <a:cubicBezTo>
                    <a:pt x="2584" y="1628"/>
                    <a:pt x="2569" y="1613"/>
                    <a:pt x="2553" y="1604"/>
                  </a:cubicBezTo>
                  <a:cubicBezTo>
                    <a:pt x="2538" y="1597"/>
                    <a:pt x="2530" y="1589"/>
                    <a:pt x="2538" y="1565"/>
                  </a:cubicBezTo>
                  <a:cubicBezTo>
                    <a:pt x="2546" y="1549"/>
                    <a:pt x="2561" y="1541"/>
                    <a:pt x="2569" y="1533"/>
                  </a:cubicBezTo>
                  <a:cubicBezTo>
                    <a:pt x="2584" y="1518"/>
                    <a:pt x="2592" y="1510"/>
                    <a:pt x="2600" y="1486"/>
                  </a:cubicBezTo>
                  <a:cubicBezTo>
                    <a:pt x="2600" y="1462"/>
                    <a:pt x="2600" y="1454"/>
                    <a:pt x="2600" y="1446"/>
                  </a:cubicBezTo>
                  <a:cubicBezTo>
                    <a:pt x="2600" y="1431"/>
                    <a:pt x="2600" y="1423"/>
                    <a:pt x="2608" y="1415"/>
                  </a:cubicBezTo>
                  <a:cubicBezTo>
                    <a:pt x="2616" y="1407"/>
                    <a:pt x="2616" y="1399"/>
                    <a:pt x="2616" y="1399"/>
                  </a:cubicBezTo>
                  <a:cubicBezTo>
                    <a:pt x="2616" y="1391"/>
                    <a:pt x="2608" y="1383"/>
                    <a:pt x="2592" y="1375"/>
                  </a:cubicBezTo>
                  <a:cubicBezTo>
                    <a:pt x="2584" y="1375"/>
                    <a:pt x="2584" y="1375"/>
                    <a:pt x="2584" y="1375"/>
                  </a:cubicBezTo>
                  <a:cubicBezTo>
                    <a:pt x="2584" y="1367"/>
                    <a:pt x="2584" y="1367"/>
                    <a:pt x="2577" y="1367"/>
                  </a:cubicBezTo>
                  <a:cubicBezTo>
                    <a:pt x="2561" y="1360"/>
                    <a:pt x="2553" y="1352"/>
                    <a:pt x="2553" y="1336"/>
                  </a:cubicBezTo>
                  <a:cubicBezTo>
                    <a:pt x="2553" y="1328"/>
                    <a:pt x="2553" y="1328"/>
                    <a:pt x="2569" y="1320"/>
                  </a:cubicBezTo>
                  <a:cubicBezTo>
                    <a:pt x="2577" y="1312"/>
                    <a:pt x="2577" y="1304"/>
                    <a:pt x="2569" y="1280"/>
                  </a:cubicBezTo>
                  <a:cubicBezTo>
                    <a:pt x="2561" y="1265"/>
                    <a:pt x="2561" y="1249"/>
                    <a:pt x="2569" y="1241"/>
                  </a:cubicBezTo>
                  <a:cubicBezTo>
                    <a:pt x="2584" y="1217"/>
                    <a:pt x="2592" y="1217"/>
                    <a:pt x="2600" y="1217"/>
                  </a:cubicBezTo>
                  <a:cubicBezTo>
                    <a:pt x="2600" y="371"/>
                    <a:pt x="2600" y="371"/>
                    <a:pt x="2600" y="371"/>
                  </a:cubicBezTo>
                  <a:cubicBezTo>
                    <a:pt x="2592" y="371"/>
                    <a:pt x="2569" y="356"/>
                    <a:pt x="2553" y="356"/>
                  </a:cubicBezTo>
                  <a:cubicBezTo>
                    <a:pt x="2530" y="356"/>
                    <a:pt x="2506" y="347"/>
                    <a:pt x="2506" y="316"/>
                  </a:cubicBezTo>
                  <a:cubicBezTo>
                    <a:pt x="2506" y="292"/>
                    <a:pt x="2498" y="284"/>
                    <a:pt x="2491" y="276"/>
                  </a:cubicBezTo>
                  <a:lnTo>
                    <a:pt x="2483" y="269"/>
                  </a:lnTo>
                  <a:cubicBezTo>
                    <a:pt x="2475" y="253"/>
                    <a:pt x="2475" y="245"/>
                    <a:pt x="2475" y="229"/>
                  </a:cubicBezTo>
                  <a:cubicBezTo>
                    <a:pt x="2475" y="221"/>
                    <a:pt x="2491" y="205"/>
                    <a:pt x="2498" y="197"/>
                  </a:cubicBezTo>
                  <a:cubicBezTo>
                    <a:pt x="2522" y="182"/>
                    <a:pt x="2546" y="142"/>
                    <a:pt x="2561" y="95"/>
                  </a:cubicBezTo>
                  <a:cubicBezTo>
                    <a:pt x="2522" y="103"/>
                    <a:pt x="2483" y="103"/>
                    <a:pt x="2435" y="103"/>
                  </a:cubicBezTo>
                  <a:cubicBezTo>
                    <a:pt x="1755" y="103"/>
                    <a:pt x="285" y="16"/>
                    <a:pt x="103" y="8"/>
                  </a:cubicBezTo>
                  <a:cubicBezTo>
                    <a:pt x="71" y="435"/>
                    <a:pt x="71" y="435"/>
                    <a:pt x="71" y="435"/>
                  </a:cubicBezTo>
                  <a:cubicBezTo>
                    <a:pt x="8" y="1367"/>
                    <a:pt x="8" y="1367"/>
                    <a:pt x="8" y="1367"/>
                  </a:cubicBezTo>
                  <a:cubicBezTo>
                    <a:pt x="229" y="1383"/>
                    <a:pt x="1328" y="1462"/>
                    <a:pt x="1803" y="1462"/>
                  </a:cubicBezTo>
                  <a:lnTo>
                    <a:pt x="1803" y="1462"/>
                  </a:lnTo>
                  <a:cubicBezTo>
                    <a:pt x="1850" y="1462"/>
                    <a:pt x="1890" y="1462"/>
                    <a:pt x="1921" y="1462"/>
                  </a:cubicBezTo>
                  <a:lnTo>
                    <a:pt x="1921" y="1462"/>
                  </a:lnTo>
                  <a:lnTo>
                    <a:pt x="1921" y="1462"/>
                  </a:lnTo>
                  <a:cubicBezTo>
                    <a:pt x="1921" y="1462"/>
                    <a:pt x="1969" y="1494"/>
                    <a:pt x="1977" y="1518"/>
                  </a:cubicBezTo>
                  <a:lnTo>
                    <a:pt x="1977" y="1518"/>
                  </a:lnTo>
                  <a:cubicBezTo>
                    <a:pt x="1985" y="1533"/>
                    <a:pt x="1992" y="1541"/>
                    <a:pt x="2024" y="1549"/>
                  </a:cubicBezTo>
                  <a:cubicBezTo>
                    <a:pt x="2056" y="1549"/>
                    <a:pt x="2072" y="1565"/>
                    <a:pt x="2080" y="1581"/>
                  </a:cubicBezTo>
                  <a:lnTo>
                    <a:pt x="2080" y="1581"/>
                  </a:lnTo>
                  <a:lnTo>
                    <a:pt x="2087" y="1589"/>
                  </a:lnTo>
                  <a:cubicBezTo>
                    <a:pt x="2087" y="1589"/>
                    <a:pt x="2095" y="1573"/>
                    <a:pt x="2103" y="1565"/>
                  </a:cubicBezTo>
                  <a:cubicBezTo>
                    <a:pt x="2111" y="1557"/>
                    <a:pt x="2111" y="1557"/>
                    <a:pt x="2111" y="1549"/>
                  </a:cubicBezTo>
                  <a:cubicBezTo>
                    <a:pt x="2127" y="1533"/>
                    <a:pt x="2127" y="1526"/>
                    <a:pt x="2151" y="1526"/>
                  </a:cubicBezTo>
                  <a:cubicBezTo>
                    <a:pt x="2158" y="1526"/>
                    <a:pt x="2182" y="1526"/>
                    <a:pt x="2198" y="1526"/>
                  </a:cubicBezTo>
                  <a:cubicBezTo>
                    <a:pt x="2222" y="1526"/>
                    <a:pt x="2245" y="1526"/>
                    <a:pt x="2261" y="1526"/>
                  </a:cubicBezTo>
                  <a:close/>
                </a:path>
              </a:pathLst>
            </a:custGeom>
            <a:grpFill/>
            <a:ln>
              <a:solidFill>
                <a:schemeClr val="bg1">
                  <a:lumMod val="95000"/>
                </a:schemeClr>
              </a:solidFill>
            </a:ln>
            <a:effectLst/>
          </p:spPr>
          <p:txBody>
            <a:bodyPr wrap="none" anchor="ctr"/>
            <a:lstStyle/>
            <a:p>
              <a:endParaRPr lang="en-US" sz="900"/>
            </a:p>
          </p:txBody>
        </p:sp>
        <p:sp>
          <p:nvSpPr>
            <p:cNvPr id="46" name="Freeform 350"/>
            <p:cNvSpPr>
              <a:spLocks noChangeArrowheads="1"/>
            </p:cNvSpPr>
            <p:nvPr/>
          </p:nvSpPr>
          <p:spPr bwMode="auto">
            <a:xfrm>
              <a:off x="10880106" y="5124665"/>
              <a:ext cx="1630471" cy="816396"/>
            </a:xfrm>
            <a:custGeom>
              <a:avLst/>
              <a:gdLst>
                <a:gd name="T0" fmla="*/ 3098 w 3099"/>
                <a:gd name="T1" fmla="*/ 1510 h 1551"/>
                <a:gd name="T2" fmla="*/ 3098 w 3099"/>
                <a:gd name="T3" fmla="*/ 1510 h 1551"/>
                <a:gd name="T4" fmla="*/ 3082 w 3099"/>
                <a:gd name="T5" fmla="*/ 1494 h 1551"/>
                <a:gd name="T6" fmla="*/ 3035 w 3099"/>
                <a:gd name="T7" fmla="*/ 1463 h 1551"/>
                <a:gd name="T8" fmla="*/ 3027 w 3099"/>
                <a:gd name="T9" fmla="*/ 1384 h 1551"/>
                <a:gd name="T10" fmla="*/ 2948 w 3099"/>
                <a:gd name="T11" fmla="*/ 1305 h 1551"/>
                <a:gd name="T12" fmla="*/ 2940 w 3099"/>
                <a:gd name="T13" fmla="*/ 1265 h 1551"/>
                <a:gd name="T14" fmla="*/ 2916 w 3099"/>
                <a:gd name="T15" fmla="*/ 1194 h 1551"/>
                <a:gd name="T16" fmla="*/ 2885 w 3099"/>
                <a:gd name="T17" fmla="*/ 1186 h 1551"/>
                <a:gd name="T18" fmla="*/ 2900 w 3099"/>
                <a:gd name="T19" fmla="*/ 1044 h 1551"/>
                <a:gd name="T20" fmla="*/ 2885 w 3099"/>
                <a:gd name="T21" fmla="*/ 988 h 1551"/>
                <a:gd name="T22" fmla="*/ 2885 w 3099"/>
                <a:gd name="T23" fmla="*/ 925 h 1551"/>
                <a:gd name="T24" fmla="*/ 2877 w 3099"/>
                <a:gd name="T25" fmla="*/ 878 h 1551"/>
                <a:gd name="T26" fmla="*/ 2853 w 3099"/>
                <a:gd name="T27" fmla="*/ 846 h 1551"/>
                <a:gd name="T28" fmla="*/ 2853 w 3099"/>
                <a:gd name="T29" fmla="*/ 807 h 1551"/>
                <a:gd name="T30" fmla="*/ 2821 w 3099"/>
                <a:gd name="T31" fmla="*/ 783 h 1551"/>
                <a:gd name="T32" fmla="*/ 2806 w 3099"/>
                <a:gd name="T33" fmla="*/ 767 h 1551"/>
                <a:gd name="T34" fmla="*/ 2790 w 3099"/>
                <a:gd name="T35" fmla="*/ 617 h 1551"/>
                <a:gd name="T36" fmla="*/ 2750 w 3099"/>
                <a:gd name="T37" fmla="*/ 530 h 1551"/>
                <a:gd name="T38" fmla="*/ 2719 w 3099"/>
                <a:gd name="T39" fmla="*/ 459 h 1551"/>
                <a:gd name="T40" fmla="*/ 2703 w 3099"/>
                <a:gd name="T41" fmla="*/ 380 h 1551"/>
                <a:gd name="T42" fmla="*/ 2687 w 3099"/>
                <a:gd name="T43" fmla="*/ 348 h 1551"/>
                <a:gd name="T44" fmla="*/ 2663 w 3099"/>
                <a:gd name="T45" fmla="*/ 348 h 1551"/>
                <a:gd name="T46" fmla="*/ 2601 w 3099"/>
                <a:gd name="T47" fmla="*/ 293 h 1551"/>
                <a:gd name="T48" fmla="*/ 2546 w 3099"/>
                <a:gd name="T49" fmla="*/ 245 h 1551"/>
                <a:gd name="T50" fmla="*/ 2435 w 3099"/>
                <a:gd name="T51" fmla="*/ 198 h 1551"/>
                <a:gd name="T52" fmla="*/ 2395 w 3099"/>
                <a:gd name="T53" fmla="*/ 166 h 1551"/>
                <a:gd name="T54" fmla="*/ 2214 w 3099"/>
                <a:gd name="T55" fmla="*/ 158 h 1551"/>
                <a:gd name="T56" fmla="*/ 2174 w 3099"/>
                <a:gd name="T57" fmla="*/ 190 h 1551"/>
                <a:gd name="T58" fmla="*/ 2143 w 3099"/>
                <a:gd name="T59" fmla="*/ 206 h 1551"/>
                <a:gd name="T60" fmla="*/ 2087 w 3099"/>
                <a:gd name="T61" fmla="*/ 174 h 1551"/>
                <a:gd name="T62" fmla="*/ 2040 w 3099"/>
                <a:gd name="T63" fmla="*/ 143 h 1551"/>
                <a:gd name="T64" fmla="*/ 1984 w 3099"/>
                <a:gd name="T65" fmla="*/ 95 h 1551"/>
                <a:gd name="T66" fmla="*/ 63 w 3099"/>
                <a:gd name="T67" fmla="*/ 0 h 1551"/>
                <a:gd name="T68" fmla="*/ 0 w 3099"/>
                <a:gd name="T69" fmla="*/ 957 h 1551"/>
                <a:gd name="T70" fmla="*/ 625 w 3099"/>
                <a:gd name="T71" fmla="*/ 981 h 1551"/>
                <a:gd name="T72" fmla="*/ 696 w 3099"/>
                <a:gd name="T73" fmla="*/ 1028 h 1551"/>
                <a:gd name="T74" fmla="*/ 680 w 3099"/>
                <a:gd name="T75" fmla="*/ 1463 h 1551"/>
                <a:gd name="T76" fmla="*/ 3098 w 3099"/>
                <a:gd name="T77" fmla="*/ 1510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9" h="1551">
                  <a:moveTo>
                    <a:pt x="3098" y="1510"/>
                  </a:moveTo>
                  <a:lnTo>
                    <a:pt x="3098" y="1510"/>
                  </a:lnTo>
                  <a:cubicBezTo>
                    <a:pt x="3090" y="1502"/>
                    <a:pt x="3082" y="1502"/>
                    <a:pt x="3082" y="1494"/>
                  </a:cubicBezTo>
                  <a:cubicBezTo>
                    <a:pt x="3066" y="1486"/>
                    <a:pt x="3035" y="1494"/>
                    <a:pt x="3035" y="1463"/>
                  </a:cubicBezTo>
                  <a:cubicBezTo>
                    <a:pt x="3035" y="1431"/>
                    <a:pt x="3059" y="1415"/>
                    <a:pt x="3027" y="1384"/>
                  </a:cubicBezTo>
                  <a:cubicBezTo>
                    <a:pt x="2987" y="1352"/>
                    <a:pt x="2956" y="1336"/>
                    <a:pt x="2948" y="1305"/>
                  </a:cubicBezTo>
                  <a:cubicBezTo>
                    <a:pt x="2940" y="1265"/>
                    <a:pt x="2964" y="1297"/>
                    <a:pt x="2940" y="1265"/>
                  </a:cubicBezTo>
                  <a:cubicBezTo>
                    <a:pt x="2924" y="1241"/>
                    <a:pt x="2932" y="1194"/>
                    <a:pt x="2916" y="1194"/>
                  </a:cubicBezTo>
                  <a:cubicBezTo>
                    <a:pt x="2900" y="1194"/>
                    <a:pt x="2885" y="1210"/>
                    <a:pt x="2885" y="1186"/>
                  </a:cubicBezTo>
                  <a:cubicBezTo>
                    <a:pt x="2885" y="1162"/>
                    <a:pt x="2932" y="1083"/>
                    <a:pt x="2900" y="1044"/>
                  </a:cubicBezTo>
                  <a:cubicBezTo>
                    <a:pt x="2877" y="1012"/>
                    <a:pt x="2869" y="1012"/>
                    <a:pt x="2885" y="988"/>
                  </a:cubicBezTo>
                  <a:cubicBezTo>
                    <a:pt x="2900" y="965"/>
                    <a:pt x="2900" y="933"/>
                    <a:pt x="2885" y="925"/>
                  </a:cubicBezTo>
                  <a:cubicBezTo>
                    <a:pt x="2877" y="917"/>
                    <a:pt x="2877" y="902"/>
                    <a:pt x="2877" y="878"/>
                  </a:cubicBezTo>
                  <a:cubicBezTo>
                    <a:pt x="2885" y="862"/>
                    <a:pt x="2853" y="870"/>
                    <a:pt x="2853" y="846"/>
                  </a:cubicBezTo>
                  <a:cubicBezTo>
                    <a:pt x="2861" y="830"/>
                    <a:pt x="2853" y="807"/>
                    <a:pt x="2853" y="807"/>
                  </a:cubicBezTo>
                  <a:cubicBezTo>
                    <a:pt x="2853" y="807"/>
                    <a:pt x="2845" y="775"/>
                    <a:pt x="2821" y="783"/>
                  </a:cubicBezTo>
                  <a:cubicBezTo>
                    <a:pt x="2806" y="783"/>
                    <a:pt x="2806" y="783"/>
                    <a:pt x="2806" y="767"/>
                  </a:cubicBezTo>
                  <a:cubicBezTo>
                    <a:pt x="2806" y="744"/>
                    <a:pt x="2813" y="649"/>
                    <a:pt x="2790" y="617"/>
                  </a:cubicBezTo>
                  <a:cubicBezTo>
                    <a:pt x="2758" y="585"/>
                    <a:pt x="2766" y="554"/>
                    <a:pt x="2750" y="530"/>
                  </a:cubicBezTo>
                  <a:cubicBezTo>
                    <a:pt x="2726" y="498"/>
                    <a:pt x="2734" y="491"/>
                    <a:pt x="2719" y="459"/>
                  </a:cubicBezTo>
                  <a:cubicBezTo>
                    <a:pt x="2703" y="427"/>
                    <a:pt x="2711" y="396"/>
                    <a:pt x="2703" y="380"/>
                  </a:cubicBezTo>
                  <a:cubicBezTo>
                    <a:pt x="2695" y="372"/>
                    <a:pt x="2695" y="364"/>
                    <a:pt x="2687" y="348"/>
                  </a:cubicBezTo>
                  <a:cubicBezTo>
                    <a:pt x="2679" y="348"/>
                    <a:pt x="2671" y="348"/>
                    <a:pt x="2663" y="348"/>
                  </a:cubicBezTo>
                  <a:cubicBezTo>
                    <a:pt x="2624" y="356"/>
                    <a:pt x="2609" y="293"/>
                    <a:pt x="2601" y="293"/>
                  </a:cubicBezTo>
                  <a:cubicBezTo>
                    <a:pt x="2593" y="293"/>
                    <a:pt x="2561" y="269"/>
                    <a:pt x="2546" y="245"/>
                  </a:cubicBezTo>
                  <a:cubicBezTo>
                    <a:pt x="2530" y="222"/>
                    <a:pt x="2467" y="198"/>
                    <a:pt x="2435" y="198"/>
                  </a:cubicBezTo>
                  <a:cubicBezTo>
                    <a:pt x="2403" y="198"/>
                    <a:pt x="2411" y="182"/>
                    <a:pt x="2395" y="166"/>
                  </a:cubicBezTo>
                  <a:cubicBezTo>
                    <a:pt x="2372" y="143"/>
                    <a:pt x="2245" y="158"/>
                    <a:pt x="2214" y="158"/>
                  </a:cubicBezTo>
                  <a:cubicBezTo>
                    <a:pt x="2190" y="151"/>
                    <a:pt x="2190" y="166"/>
                    <a:pt x="2174" y="190"/>
                  </a:cubicBezTo>
                  <a:cubicBezTo>
                    <a:pt x="2150" y="214"/>
                    <a:pt x="2150" y="222"/>
                    <a:pt x="2143" y="206"/>
                  </a:cubicBezTo>
                  <a:cubicBezTo>
                    <a:pt x="2135" y="198"/>
                    <a:pt x="2119" y="182"/>
                    <a:pt x="2087" y="174"/>
                  </a:cubicBezTo>
                  <a:cubicBezTo>
                    <a:pt x="2048" y="174"/>
                    <a:pt x="2048" y="158"/>
                    <a:pt x="2040" y="143"/>
                  </a:cubicBezTo>
                  <a:cubicBezTo>
                    <a:pt x="2032" y="119"/>
                    <a:pt x="1984" y="95"/>
                    <a:pt x="1984" y="95"/>
                  </a:cubicBezTo>
                  <a:cubicBezTo>
                    <a:pt x="1605" y="111"/>
                    <a:pt x="285" y="16"/>
                    <a:pt x="63" y="0"/>
                  </a:cubicBezTo>
                  <a:cubicBezTo>
                    <a:pt x="0" y="957"/>
                    <a:pt x="0" y="957"/>
                    <a:pt x="0" y="957"/>
                  </a:cubicBezTo>
                  <a:cubicBezTo>
                    <a:pt x="285" y="981"/>
                    <a:pt x="514" y="996"/>
                    <a:pt x="625" y="981"/>
                  </a:cubicBezTo>
                  <a:cubicBezTo>
                    <a:pt x="625" y="981"/>
                    <a:pt x="688" y="965"/>
                    <a:pt x="696" y="1028"/>
                  </a:cubicBezTo>
                  <a:cubicBezTo>
                    <a:pt x="704" y="1044"/>
                    <a:pt x="696" y="1218"/>
                    <a:pt x="680" y="1463"/>
                  </a:cubicBezTo>
                  <a:cubicBezTo>
                    <a:pt x="909" y="1471"/>
                    <a:pt x="2474" y="1550"/>
                    <a:pt x="3098" y="1510"/>
                  </a:cubicBezTo>
                </a:path>
              </a:pathLst>
            </a:custGeom>
            <a:solidFill>
              <a:schemeClr val="accent1"/>
            </a:solidFill>
            <a:ln>
              <a:solidFill>
                <a:schemeClr val="bg1">
                  <a:lumMod val="95000"/>
                </a:schemeClr>
              </a:solidFill>
            </a:ln>
            <a:effectLst/>
          </p:spPr>
          <p:txBody>
            <a:bodyPr wrap="none" anchor="ctr"/>
            <a:lstStyle/>
            <a:p>
              <a:endParaRPr lang="en-US" sz="900"/>
            </a:p>
          </p:txBody>
        </p:sp>
        <p:sp>
          <p:nvSpPr>
            <p:cNvPr id="47" name="Freeform 351"/>
            <p:cNvSpPr>
              <a:spLocks noChangeArrowheads="1"/>
            </p:cNvSpPr>
            <p:nvPr/>
          </p:nvSpPr>
          <p:spPr bwMode="auto">
            <a:xfrm>
              <a:off x="10875467" y="5120026"/>
              <a:ext cx="1637430" cy="807118"/>
            </a:xfrm>
            <a:custGeom>
              <a:avLst/>
              <a:gdLst>
                <a:gd name="T0" fmla="*/ 2648 w 3115"/>
                <a:gd name="T1" fmla="*/ 1534 h 1535"/>
                <a:gd name="T2" fmla="*/ 688 w 3115"/>
                <a:gd name="T3" fmla="*/ 1471 h 1535"/>
                <a:gd name="T4" fmla="*/ 633 w 3115"/>
                <a:gd name="T5" fmla="*/ 989 h 1535"/>
                <a:gd name="T6" fmla="*/ 0 w 3115"/>
                <a:gd name="T7" fmla="*/ 973 h 1535"/>
                <a:gd name="T8" fmla="*/ 71 w 3115"/>
                <a:gd name="T9" fmla="*/ 0 h 1535"/>
                <a:gd name="T10" fmla="*/ 1992 w 3115"/>
                <a:gd name="T11" fmla="*/ 95 h 1535"/>
                <a:gd name="T12" fmla="*/ 2048 w 3115"/>
                <a:gd name="T13" fmla="*/ 151 h 1535"/>
                <a:gd name="T14" fmla="*/ 2151 w 3115"/>
                <a:gd name="T15" fmla="*/ 214 h 1535"/>
                <a:gd name="T16" fmla="*/ 2182 w 3115"/>
                <a:gd name="T17" fmla="*/ 182 h 1535"/>
                <a:gd name="T18" fmla="*/ 2332 w 3115"/>
                <a:gd name="T19" fmla="*/ 159 h 1535"/>
                <a:gd name="T20" fmla="*/ 2443 w 3115"/>
                <a:gd name="T21" fmla="*/ 206 h 1535"/>
                <a:gd name="T22" fmla="*/ 2624 w 3115"/>
                <a:gd name="T23" fmla="*/ 309 h 1535"/>
                <a:gd name="T24" fmla="*/ 2695 w 3115"/>
                <a:gd name="T25" fmla="*/ 356 h 1535"/>
                <a:gd name="T26" fmla="*/ 2711 w 3115"/>
                <a:gd name="T27" fmla="*/ 388 h 1535"/>
                <a:gd name="T28" fmla="*/ 2742 w 3115"/>
                <a:gd name="T29" fmla="*/ 490 h 1535"/>
                <a:gd name="T30" fmla="*/ 2798 w 3115"/>
                <a:gd name="T31" fmla="*/ 625 h 1535"/>
                <a:gd name="T32" fmla="*/ 2814 w 3115"/>
                <a:gd name="T33" fmla="*/ 783 h 1535"/>
                <a:gd name="T34" fmla="*/ 2837 w 3115"/>
                <a:gd name="T35" fmla="*/ 783 h 1535"/>
                <a:gd name="T36" fmla="*/ 2869 w 3115"/>
                <a:gd name="T37" fmla="*/ 854 h 1535"/>
                <a:gd name="T38" fmla="*/ 2893 w 3115"/>
                <a:gd name="T39" fmla="*/ 933 h 1535"/>
                <a:gd name="T40" fmla="*/ 2916 w 3115"/>
                <a:gd name="T41" fmla="*/ 1052 h 1535"/>
                <a:gd name="T42" fmla="*/ 2901 w 3115"/>
                <a:gd name="T43" fmla="*/ 1202 h 1535"/>
                <a:gd name="T44" fmla="*/ 2924 w 3115"/>
                <a:gd name="T45" fmla="*/ 1202 h 1535"/>
                <a:gd name="T46" fmla="*/ 2964 w 3115"/>
                <a:gd name="T47" fmla="*/ 1289 h 1535"/>
                <a:gd name="T48" fmla="*/ 3003 w 3115"/>
                <a:gd name="T49" fmla="*/ 1360 h 1535"/>
                <a:gd name="T50" fmla="*/ 3051 w 3115"/>
                <a:gd name="T51" fmla="*/ 1471 h 1535"/>
                <a:gd name="T52" fmla="*/ 3114 w 3115"/>
                <a:gd name="T53" fmla="*/ 1526 h 1535"/>
                <a:gd name="T54" fmla="*/ 696 w 3115"/>
                <a:gd name="T55" fmla="*/ 1463 h 1535"/>
                <a:gd name="T56" fmla="*/ 2648 w 3115"/>
                <a:gd name="T57" fmla="*/ 1526 h 1535"/>
                <a:gd name="T58" fmla="*/ 3074 w 3115"/>
                <a:gd name="T59" fmla="*/ 1502 h 1535"/>
                <a:gd name="T60" fmla="*/ 3027 w 3115"/>
                <a:gd name="T61" fmla="*/ 1400 h 1535"/>
                <a:gd name="T62" fmla="*/ 2956 w 3115"/>
                <a:gd name="T63" fmla="*/ 1289 h 1535"/>
                <a:gd name="T64" fmla="*/ 2924 w 3115"/>
                <a:gd name="T65" fmla="*/ 1210 h 1535"/>
                <a:gd name="T66" fmla="*/ 2893 w 3115"/>
                <a:gd name="T67" fmla="*/ 1210 h 1535"/>
                <a:gd name="T68" fmla="*/ 2908 w 3115"/>
                <a:gd name="T69" fmla="*/ 1060 h 1535"/>
                <a:gd name="T70" fmla="*/ 2893 w 3115"/>
                <a:gd name="T71" fmla="*/ 941 h 1535"/>
                <a:gd name="T72" fmla="*/ 2861 w 3115"/>
                <a:gd name="T73" fmla="*/ 854 h 1535"/>
                <a:gd name="T74" fmla="*/ 2829 w 3115"/>
                <a:gd name="T75" fmla="*/ 791 h 1535"/>
                <a:gd name="T76" fmla="*/ 2805 w 3115"/>
                <a:gd name="T77" fmla="*/ 775 h 1535"/>
                <a:gd name="T78" fmla="*/ 2766 w 3115"/>
                <a:gd name="T79" fmla="*/ 570 h 1535"/>
                <a:gd name="T80" fmla="*/ 2719 w 3115"/>
                <a:gd name="T81" fmla="*/ 467 h 1535"/>
                <a:gd name="T82" fmla="*/ 2695 w 3115"/>
                <a:gd name="T83" fmla="*/ 364 h 1535"/>
                <a:gd name="T84" fmla="*/ 2663 w 3115"/>
                <a:gd name="T85" fmla="*/ 364 h 1535"/>
                <a:gd name="T86" fmla="*/ 2554 w 3115"/>
                <a:gd name="T87" fmla="*/ 253 h 1535"/>
                <a:gd name="T88" fmla="*/ 2395 w 3115"/>
                <a:gd name="T89" fmla="*/ 174 h 1535"/>
                <a:gd name="T90" fmla="*/ 2222 w 3115"/>
                <a:gd name="T91" fmla="*/ 166 h 1535"/>
                <a:gd name="T92" fmla="*/ 2158 w 3115"/>
                <a:gd name="T93" fmla="*/ 230 h 1535"/>
                <a:gd name="T94" fmla="*/ 2087 w 3115"/>
                <a:gd name="T95" fmla="*/ 190 h 1535"/>
                <a:gd name="T96" fmla="*/ 1984 w 3115"/>
                <a:gd name="T97" fmla="*/ 103 h 1535"/>
                <a:gd name="T98" fmla="*/ 8 w 3115"/>
                <a:gd name="T99" fmla="*/ 965 h 1535"/>
                <a:gd name="T100" fmla="*/ 648 w 3115"/>
                <a:gd name="T101" fmla="*/ 981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5" h="1535">
                  <a:moveTo>
                    <a:pt x="2648" y="1534"/>
                  </a:moveTo>
                  <a:lnTo>
                    <a:pt x="2648" y="1534"/>
                  </a:lnTo>
                  <a:lnTo>
                    <a:pt x="2648" y="1534"/>
                  </a:lnTo>
                  <a:cubicBezTo>
                    <a:pt x="1921" y="1534"/>
                    <a:pt x="886" y="1487"/>
                    <a:pt x="688" y="1471"/>
                  </a:cubicBezTo>
                  <a:lnTo>
                    <a:pt x="688" y="1471"/>
                  </a:lnTo>
                  <a:lnTo>
                    <a:pt x="688" y="1471"/>
                  </a:lnTo>
                  <a:cubicBezTo>
                    <a:pt x="696" y="1202"/>
                    <a:pt x="704" y="1052"/>
                    <a:pt x="704" y="1036"/>
                  </a:cubicBezTo>
                  <a:cubicBezTo>
                    <a:pt x="696" y="996"/>
                    <a:pt x="672" y="989"/>
                    <a:pt x="648" y="989"/>
                  </a:cubicBezTo>
                  <a:cubicBezTo>
                    <a:pt x="640" y="989"/>
                    <a:pt x="633" y="989"/>
                    <a:pt x="633" y="989"/>
                  </a:cubicBezTo>
                  <a:cubicBezTo>
                    <a:pt x="601" y="996"/>
                    <a:pt x="553" y="996"/>
                    <a:pt x="498" y="996"/>
                  </a:cubicBezTo>
                  <a:cubicBezTo>
                    <a:pt x="388" y="996"/>
                    <a:pt x="222" y="989"/>
                    <a:pt x="8" y="973"/>
                  </a:cubicBezTo>
                  <a:cubicBezTo>
                    <a:pt x="0" y="973"/>
                    <a:pt x="0" y="973"/>
                    <a:pt x="0" y="973"/>
                  </a:cubicBezTo>
                  <a:cubicBezTo>
                    <a:pt x="0" y="965"/>
                    <a:pt x="0" y="965"/>
                    <a:pt x="0" y="965"/>
                  </a:cubicBezTo>
                  <a:cubicBezTo>
                    <a:pt x="71" y="0"/>
                    <a:pt x="71" y="0"/>
                    <a:pt x="71" y="0"/>
                  </a:cubicBezTo>
                  <a:lnTo>
                    <a:pt x="71" y="0"/>
                  </a:lnTo>
                  <a:cubicBezTo>
                    <a:pt x="293" y="16"/>
                    <a:pt x="1399" y="95"/>
                    <a:pt x="1874" y="95"/>
                  </a:cubicBezTo>
                  <a:cubicBezTo>
                    <a:pt x="1921" y="95"/>
                    <a:pt x="1961" y="95"/>
                    <a:pt x="1992" y="95"/>
                  </a:cubicBezTo>
                  <a:lnTo>
                    <a:pt x="1992" y="95"/>
                  </a:lnTo>
                  <a:lnTo>
                    <a:pt x="1992" y="95"/>
                  </a:lnTo>
                  <a:cubicBezTo>
                    <a:pt x="1992" y="95"/>
                    <a:pt x="2040" y="127"/>
                    <a:pt x="2048" y="151"/>
                  </a:cubicBezTo>
                  <a:lnTo>
                    <a:pt x="2048" y="151"/>
                  </a:lnTo>
                  <a:cubicBezTo>
                    <a:pt x="2056" y="166"/>
                    <a:pt x="2063" y="174"/>
                    <a:pt x="2095" y="182"/>
                  </a:cubicBezTo>
                  <a:cubicBezTo>
                    <a:pt x="2127" y="182"/>
                    <a:pt x="2143" y="198"/>
                    <a:pt x="2151" y="214"/>
                  </a:cubicBezTo>
                  <a:lnTo>
                    <a:pt x="2151" y="214"/>
                  </a:lnTo>
                  <a:lnTo>
                    <a:pt x="2158" y="222"/>
                  </a:lnTo>
                  <a:cubicBezTo>
                    <a:pt x="2158" y="222"/>
                    <a:pt x="2166" y="206"/>
                    <a:pt x="2174" y="198"/>
                  </a:cubicBezTo>
                  <a:cubicBezTo>
                    <a:pt x="2182" y="190"/>
                    <a:pt x="2182" y="190"/>
                    <a:pt x="2182" y="182"/>
                  </a:cubicBezTo>
                  <a:cubicBezTo>
                    <a:pt x="2198" y="166"/>
                    <a:pt x="2198" y="159"/>
                    <a:pt x="2222" y="159"/>
                  </a:cubicBezTo>
                  <a:cubicBezTo>
                    <a:pt x="2229" y="159"/>
                    <a:pt x="2253" y="159"/>
                    <a:pt x="2269" y="159"/>
                  </a:cubicBezTo>
                  <a:cubicBezTo>
                    <a:pt x="2293" y="159"/>
                    <a:pt x="2316" y="159"/>
                    <a:pt x="2332" y="159"/>
                  </a:cubicBezTo>
                  <a:cubicBezTo>
                    <a:pt x="2372" y="159"/>
                    <a:pt x="2395" y="159"/>
                    <a:pt x="2403" y="166"/>
                  </a:cubicBezTo>
                  <a:cubicBezTo>
                    <a:pt x="2411" y="174"/>
                    <a:pt x="2411" y="182"/>
                    <a:pt x="2411" y="190"/>
                  </a:cubicBezTo>
                  <a:cubicBezTo>
                    <a:pt x="2419" y="198"/>
                    <a:pt x="2427" y="206"/>
                    <a:pt x="2443" y="206"/>
                  </a:cubicBezTo>
                  <a:cubicBezTo>
                    <a:pt x="2475" y="206"/>
                    <a:pt x="2538" y="222"/>
                    <a:pt x="2554" y="253"/>
                  </a:cubicBezTo>
                  <a:cubicBezTo>
                    <a:pt x="2577" y="277"/>
                    <a:pt x="2601" y="293"/>
                    <a:pt x="2609" y="293"/>
                  </a:cubicBezTo>
                  <a:cubicBezTo>
                    <a:pt x="2617" y="293"/>
                    <a:pt x="2616" y="301"/>
                    <a:pt x="2624" y="309"/>
                  </a:cubicBezTo>
                  <a:cubicBezTo>
                    <a:pt x="2632" y="332"/>
                    <a:pt x="2648" y="356"/>
                    <a:pt x="2663" y="356"/>
                  </a:cubicBezTo>
                  <a:cubicBezTo>
                    <a:pt x="2671" y="356"/>
                    <a:pt x="2671" y="356"/>
                    <a:pt x="2671" y="356"/>
                  </a:cubicBezTo>
                  <a:cubicBezTo>
                    <a:pt x="2679" y="356"/>
                    <a:pt x="2687" y="356"/>
                    <a:pt x="2695" y="356"/>
                  </a:cubicBezTo>
                  <a:cubicBezTo>
                    <a:pt x="2703" y="356"/>
                    <a:pt x="2703" y="356"/>
                    <a:pt x="2703" y="356"/>
                  </a:cubicBezTo>
                  <a:cubicBezTo>
                    <a:pt x="2703" y="364"/>
                    <a:pt x="2703" y="364"/>
                    <a:pt x="2703" y="364"/>
                  </a:cubicBezTo>
                  <a:cubicBezTo>
                    <a:pt x="2703" y="372"/>
                    <a:pt x="2711" y="380"/>
                    <a:pt x="2711" y="388"/>
                  </a:cubicBezTo>
                  <a:cubicBezTo>
                    <a:pt x="2719" y="396"/>
                    <a:pt x="2719" y="404"/>
                    <a:pt x="2719" y="419"/>
                  </a:cubicBezTo>
                  <a:cubicBezTo>
                    <a:pt x="2719" y="427"/>
                    <a:pt x="2719" y="443"/>
                    <a:pt x="2727" y="467"/>
                  </a:cubicBezTo>
                  <a:cubicBezTo>
                    <a:pt x="2734" y="475"/>
                    <a:pt x="2734" y="483"/>
                    <a:pt x="2742" y="490"/>
                  </a:cubicBezTo>
                  <a:cubicBezTo>
                    <a:pt x="2742" y="506"/>
                    <a:pt x="2750" y="514"/>
                    <a:pt x="2758" y="530"/>
                  </a:cubicBezTo>
                  <a:cubicBezTo>
                    <a:pt x="2766" y="546"/>
                    <a:pt x="2774" y="562"/>
                    <a:pt x="2774" y="570"/>
                  </a:cubicBezTo>
                  <a:cubicBezTo>
                    <a:pt x="2782" y="585"/>
                    <a:pt x="2782" y="601"/>
                    <a:pt x="2798" y="625"/>
                  </a:cubicBezTo>
                  <a:cubicBezTo>
                    <a:pt x="2821" y="649"/>
                    <a:pt x="2814" y="720"/>
                    <a:pt x="2814" y="759"/>
                  </a:cubicBezTo>
                  <a:cubicBezTo>
                    <a:pt x="2814" y="767"/>
                    <a:pt x="2814" y="767"/>
                    <a:pt x="2814" y="775"/>
                  </a:cubicBezTo>
                  <a:lnTo>
                    <a:pt x="2814" y="783"/>
                  </a:lnTo>
                  <a:cubicBezTo>
                    <a:pt x="2814" y="791"/>
                    <a:pt x="2814" y="791"/>
                    <a:pt x="2821" y="791"/>
                  </a:cubicBezTo>
                  <a:lnTo>
                    <a:pt x="2829" y="783"/>
                  </a:lnTo>
                  <a:lnTo>
                    <a:pt x="2837" y="783"/>
                  </a:lnTo>
                  <a:cubicBezTo>
                    <a:pt x="2853" y="783"/>
                    <a:pt x="2869" y="815"/>
                    <a:pt x="2869" y="815"/>
                  </a:cubicBezTo>
                  <a:lnTo>
                    <a:pt x="2869" y="815"/>
                  </a:lnTo>
                  <a:cubicBezTo>
                    <a:pt x="2869" y="815"/>
                    <a:pt x="2869" y="838"/>
                    <a:pt x="2869" y="854"/>
                  </a:cubicBezTo>
                  <a:cubicBezTo>
                    <a:pt x="2861" y="862"/>
                    <a:pt x="2869" y="862"/>
                    <a:pt x="2877" y="870"/>
                  </a:cubicBezTo>
                  <a:cubicBezTo>
                    <a:pt x="2885" y="870"/>
                    <a:pt x="2893" y="878"/>
                    <a:pt x="2893" y="886"/>
                  </a:cubicBezTo>
                  <a:cubicBezTo>
                    <a:pt x="2885" y="910"/>
                    <a:pt x="2885" y="925"/>
                    <a:pt x="2893" y="933"/>
                  </a:cubicBezTo>
                  <a:cubicBezTo>
                    <a:pt x="2908" y="941"/>
                    <a:pt x="2908" y="973"/>
                    <a:pt x="2893" y="996"/>
                  </a:cubicBezTo>
                  <a:cubicBezTo>
                    <a:pt x="2885" y="1020"/>
                    <a:pt x="2885" y="1020"/>
                    <a:pt x="2901" y="1036"/>
                  </a:cubicBezTo>
                  <a:cubicBezTo>
                    <a:pt x="2908" y="1044"/>
                    <a:pt x="2908" y="1044"/>
                    <a:pt x="2916" y="1052"/>
                  </a:cubicBezTo>
                  <a:cubicBezTo>
                    <a:pt x="2932" y="1076"/>
                    <a:pt x="2916" y="1123"/>
                    <a:pt x="2908" y="1154"/>
                  </a:cubicBezTo>
                  <a:cubicBezTo>
                    <a:pt x="2901" y="1170"/>
                    <a:pt x="2901" y="1186"/>
                    <a:pt x="2901" y="1194"/>
                  </a:cubicBezTo>
                  <a:cubicBezTo>
                    <a:pt x="2901" y="1202"/>
                    <a:pt x="2901" y="1202"/>
                    <a:pt x="2901" y="1202"/>
                  </a:cubicBezTo>
                  <a:lnTo>
                    <a:pt x="2901" y="1202"/>
                  </a:lnTo>
                  <a:cubicBezTo>
                    <a:pt x="2908" y="1202"/>
                    <a:pt x="2908" y="1202"/>
                    <a:pt x="2908" y="1202"/>
                  </a:cubicBezTo>
                  <a:cubicBezTo>
                    <a:pt x="2916" y="1202"/>
                    <a:pt x="2916" y="1202"/>
                    <a:pt x="2924" y="1202"/>
                  </a:cubicBezTo>
                  <a:cubicBezTo>
                    <a:pt x="2932" y="1202"/>
                    <a:pt x="2940" y="1210"/>
                    <a:pt x="2940" y="1226"/>
                  </a:cubicBezTo>
                  <a:cubicBezTo>
                    <a:pt x="2940" y="1242"/>
                    <a:pt x="2940" y="1257"/>
                    <a:pt x="2956" y="1273"/>
                  </a:cubicBezTo>
                  <a:cubicBezTo>
                    <a:pt x="2964" y="1289"/>
                    <a:pt x="2964" y="1289"/>
                    <a:pt x="2964" y="1289"/>
                  </a:cubicBezTo>
                  <a:lnTo>
                    <a:pt x="2964" y="1289"/>
                  </a:lnTo>
                  <a:cubicBezTo>
                    <a:pt x="2956" y="1297"/>
                    <a:pt x="2956" y="1305"/>
                    <a:pt x="2956" y="1313"/>
                  </a:cubicBezTo>
                  <a:cubicBezTo>
                    <a:pt x="2964" y="1336"/>
                    <a:pt x="2980" y="1344"/>
                    <a:pt x="3003" y="1360"/>
                  </a:cubicBezTo>
                  <a:cubicBezTo>
                    <a:pt x="3011" y="1368"/>
                    <a:pt x="3027" y="1376"/>
                    <a:pt x="3035" y="1392"/>
                  </a:cubicBezTo>
                  <a:cubicBezTo>
                    <a:pt x="3059" y="1416"/>
                    <a:pt x="3059" y="1431"/>
                    <a:pt x="3051" y="1447"/>
                  </a:cubicBezTo>
                  <a:cubicBezTo>
                    <a:pt x="3051" y="1455"/>
                    <a:pt x="3051" y="1463"/>
                    <a:pt x="3051" y="1471"/>
                  </a:cubicBezTo>
                  <a:cubicBezTo>
                    <a:pt x="3051" y="1487"/>
                    <a:pt x="3059" y="1494"/>
                    <a:pt x="3074" y="1494"/>
                  </a:cubicBezTo>
                  <a:cubicBezTo>
                    <a:pt x="3082" y="1494"/>
                    <a:pt x="3090" y="1502"/>
                    <a:pt x="3090" y="1502"/>
                  </a:cubicBezTo>
                  <a:cubicBezTo>
                    <a:pt x="3114" y="1526"/>
                    <a:pt x="3114" y="1526"/>
                    <a:pt x="3114" y="1526"/>
                  </a:cubicBezTo>
                  <a:cubicBezTo>
                    <a:pt x="3106" y="1526"/>
                    <a:pt x="3106" y="1526"/>
                    <a:pt x="3106" y="1526"/>
                  </a:cubicBezTo>
                  <a:cubicBezTo>
                    <a:pt x="2987" y="1526"/>
                    <a:pt x="2837" y="1534"/>
                    <a:pt x="2648" y="1534"/>
                  </a:cubicBezTo>
                  <a:close/>
                  <a:moveTo>
                    <a:pt x="696" y="1463"/>
                  </a:moveTo>
                  <a:lnTo>
                    <a:pt x="696" y="1463"/>
                  </a:lnTo>
                  <a:cubicBezTo>
                    <a:pt x="901" y="1479"/>
                    <a:pt x="1929" y="1526"/>
                    <a:pt x="2648" y="1526"/>
                  </a:cubicBezTo>
                  <a:lnTo>
                    <a:pt x="2648" y="1526"/>
                  </a:lnTo>
                  <a:cubicBezTo>
                    <a:pt x="2829" y="1526"/>
                    <a:pt x="2980" y="1526"/>
                    <a:pt x="3090" y="1518"/>
                  </a:cubicBezTo>
                  <a:cubicBezTo>
                    <a:pt x="3090" y="1510"/>
                    <a:pt x="3090" y="1510"/>
                    <a:pt x="3090" y="1510"/>
                  </a:cubicBezTo>
                  <a:cubicBezTo>
                    <a:pt x="3082" y="1502"/>
                    <a:pt x="3074" y="1502"/>
                    <a:pt x="3074" y="1502"/>
                  </a:cubicBezTo>
                  <a:cubicBezTo>
                    <a:pt x="3059" y="1502"/>
                    <a:pt x="3043" y="1494"/>
                    <a:pt x="3043" y="1471"/>
                  </a:cubicBezTo>
                  <a:cubicBezTo>
                    <a:pt x="3043" y="1463"/>
                    <a:pt x="3043" y="1455"/>
                    <a:pt x="3043" y="1447"/>
                  </a:cubicBezTo>
                  <a:cubicBezTo>
                    <a:pt x="3051" y="1431"/>
                    <a:pt x="3051" y="1416"/>
                    <a:pt x="3027" y="1400"/>
                  </a:cubicBezTo>
                  <a:cubicBezTo>
                    <a:pt x="3019" y="1384"/>
                    <a:pt x="3003" y="1376"/>
                    <a:pt x="2995" y="1368"/>
                  </a:cubicBezTo>
                  <a:cubicBezTo>
                    <a:pt x="2972" y="1352"/>
                    <a:pt x="2956" y="1336"/>
                    <a:pt x="2956" y="1313"/>
                  </a:cubicBezTo>
                  <a:cubicBezTo>
                    <a:pt x="2948" y="1297"/>
                    <a:pt x="2948" y="1289"/>
                    <a:pt x="2956" y="1289"/>
                  </a:cubicBezTo>
                  <a:cubicBezTo>
                    <a:pt x="2956" y="1289"/>
                    <a:pt x="2948" y="1281"/>
                    <a:pt x="2948" y="1273"/>
                  </a:cubicBezTo>
                  <a:cubicBezTo>
                    <a:pt x="2940" y="1265"/>
                    <a:pt x="2932" y="1242"/>
                    <a:pt x="2932" y="1226"/>
                  </a:cubicBezTo>
                  <a:cubicBezTo>
                    <a:pt x="2932" y="1218"/>
                    <a:pt x="2932" y="1210"/>
                    <a:pt x="2924" y="1210"/>
                  </a:cubicBezTo>
                  <a:lnTo>
                    <a:pt x="2916" y="1210"/>
                  </a:lnTo>
                  <a:cubicBezTo>
                    <a:pt x="2908" y="1210"/>
                    <a:pt x="2908" y="1210"/>
                    <a:pt x="2901" y="1210"/>
                  </a:cubicBezTo>
                  <a:cubicBezTo>
                    <a:pt x="2901" y="1210"/>
                    <a:pt x="2901" y="1210"/>
                    <a:pt x="2893" y="1210"/>
                  </a:cubicBezTo>
                  <a:cubicBezTo>
                    <a:pt x="2893" y="1202"/>
                    <a:pt x="2893" y="1202"/>
                    <a:pt x="2893" y="1194"/>
                  </a:cubicBezTo>
                  <a:cubicBezTo>
                    <a:pt x="2893" y="1186"/>
                    <a:pt x="2901" y="1170"/>
                    <a:pt x="2901" y="1154"/>
                  </a:cubicBezTo>
                  <a:cubicBezTo>
                    <a:pt x="2908" y="1123"/>
                    <a:pt x="2924" y="1083"/>
                    <a:pt x="2908" y="1060"/>
                  </a:cubicBezTo>
                  <a:cubicBezTo>
                    <a:pt x="2901" y="1052"/>
                    <a:pt x="2901" y="1044"/>
                    <a:pt x="2901" y="1044"/>
                  </a:cubicBezTo>
                  <a:cubicBezTo>
                    <a:pt x="2877" y="1020"/>
                    <a:pt x="2877" y="1020"/>
                    <a:pt x="2893" y="996"/>
                  </a:cubicBezTo>
                  <a:cubicBezTo>
                    <a:pt x="2901" y="973"/>
                    <a:pt x="2901" y="949"/>
                    <a:pt x="2893" y="941"/>
                  </a:cubicBezTo>
                  <a:cubicBezTo>
                    <a:pt x="2877" y="933"/>
                    <a:pt x="2877" y="910"/>
                    <a:pt x="2885" y="886"/>
                  </a:cubicBezTo>
                  <a:cubicBezTo>
                    <a:pt x="2885" y="878"/>
                    <a:pt x="2885" y="878"/>
                    <a:pt x="2877" y="878"/>
                  </a:cubicBezTo>
                  <a:cubicBezTo>
                    <a:pt x="2869" y="870"/>
                    <a:pt x="2853" y="870"/>
                    <a:pt x="2861" y="854"/>
                  </a:cubicBezTo>
                  <a:cubicBezTo>
                    <a:pt x="2861" y="838"/>
                    <a:pt x="2861" y="815"/>
                    <a:pt x="2861" y="815"/>
                  </a:cubicBezTo>
                  <a:cubicBezTo>
                    <a:pt x="2853" y="807"/>
                    <a:pt x="2845" y="791"/>
                    <a:pt x="2837" y="791"/>
                  </a:cubicBezTo>
                  <a:lnTo>
                    <a:pt x="2829" y="791"/>
                  </a:lnTo>
                  <a:cubicBezTo>
                    <a:pt x="2821" y="791"/>
                    <a:pt x="2821" y="791"/>
                    <a:pt x="2821" y="791"/>
                  </a:cubicBezTo>
                  <a:cubicBezTo>
                    <a:pt x="2814" y="791"/>
                    <a:pt x="2814" y="791"/>
                    <a:pt x="2805" y="791"/>
                  </a:cubicBezTo>
                  <a:cubicBezTo>
                    <a:pt x="2805" y="783"/>
                    <a:pt x="2805" y="775"/>
                    <a:pt x="2805" y="775"/>
                  </a:cubicBezTo>
                  <a:cubicBezTo>
                    <a:pt x="2805" y="767"/>
                    <a:pt x="2805" y="759"/>
                    <a:pt x="2805" y="759"/>
                  </a:cubicBezTo>
                  <a:cubicBezTo>
                    <a:pt x="2814" y="720"/>
                    <a:pt x="2814" y="657"/>
                    <a:pt x="2790" y="625"/>
                  </a:cubicBezTo>
                  <a:cubicBezTo>
                    <a:pt x="2774" y="609"/>
                    <a:pt x="2774" y="593"/>
                    <a:pt x="2766" y="570"/>
                  </a:cubicBezTo>
                  <a:cubicBezTo>
                    <a:pt x="2766" y="562"/>
                    <a:pt x="2766" y="546"/>
                    <a:pt x="2750" y="538"/>
                  </a:cubicBezTo>
                  <a:cubicBezTo>
                    <a:pt x="2742" y="514"/>
                    <a:pt x="2734" y="506"/>
                    <a:pt x="2734" y="490"/>
                  </a:cubicBezTo>
                  <a:cubicBezTo>
                    <a:pt x="2727" y="490"/>
                    <a:pt x="2727" y="483"/>
                    <a:pt x="2719" y="467"/>
                  </a:cubicBezTo>
                  <a:cubicBezTo>
                    <a:pt x="2711" y="451"/>
                    <a:pt x="2711" y="435"/>
                    <a:pt x="2711" y="419"/>
                  </a:cubicBezTo>
                  <a:cubicBezTo>
                    <a:pt x="2711" y="412"/>
                    <a:pt x="2711" y="396"/>
                    <a:pt x="2703" y="396"/>
                  </a:cubicBezTo>
                  <a:cubicBezTo>
                    <a:pt x="2703" y="388"/>
                    <a:pt x="2703" y="372"/>
                    <a:pt x="2695" y="364"/>
                  </a:cubicBezTo>
                  <a:lnTo>
                    <a:pt x="2695" y="364"/>
                  </a:lnTo>
                  <a:cubicBezTo>
                    <a:pt x="2687" y="364"/>
                    <a:pt x="2679" y="364"/>
                    <a:pt x="2671" y="364"/>
                  </a:cubicBezTo>
                  <a:cubicBezTo>
                    <a:pt x="2671" y="364"/>
                    <a:pt x="2671" y="364"/>
                    <a:pt x="2663" y="364"/>
                  </a:cubicBezTo>
                  <a:cubicBezTo>
                    <a:pt x="2640" y="364"/>
                    <a:pt x="2624" y="332"/>
                    <a:pt x="2617" y="317"/>
                  </a:cubicBezTo>
                  <a:cubicBezTo>
                    <a:pt x="2617" y="309"/>
                    <a:pt x="2609" y="301"/>
                    <a:pt x="2609" y="301"/>
                  </a:cubicBezTo>
                  <a:cubicBezTo>
                    <a:pt x="2601" y="301"/>
                    <a:pt x="2569" y="277"/>
                    <a:pt x="2554" y="253"/>
                  </a:cubicBezTo>
                  <a:cubicBezTo>
                    <a:pt x="2538" y="230"/>
                    <a:pt x="2475" y="214"/>
                    <a:pt x="2443" y="214"/>
                  </a:cubicBezTo>
                  <a:cubicBezTo>
                    <a:pt x="2419" y="214"/>
                    <a:pt x="2419" y="206"/>
                    <a:pt x="2411" y="190"/>
                  </a:cubicBezTo>
                  <a:cubicBezTo>
                    <a:pt x="2403" y="190"/>
                    <a:pt x="2403" y="182"/>
                    <a:pt x="2395" y="174"/>
                  </a:cubicBezTo>
                  <a:cubicBezTo>
                    <a:pt x="2395" y="174"/>
                    <a:pt x="2380" y="166"/>
                    <a:pt x="2332" y="166"/>
                  </a:cubicBezTo>
                  <a:cubicBezTo>
                    <a:pt x="2316" y="166"/>
                    <a:pt x="2293" y="166"/>
                    <a:pt x="2277" y="166"/>
                  </a:cubicBezTo>
                  <a:cubicBezTo>
                    <a:pt x="2253" y="166"/>
                    <a:pt x="2229" y="166"/>
                    <a:pt x="2222" y="166"/>
                  </a:cubicBezTo>
                  <a:cubicBezTo>
                    <a:pt x="2206" y="166"/>
                    <a:pt x="2198" y="174"/>
                    <a:pt x="2190" y="190"/>
                  </a:cubicBezTo>
                  <a:lnTo>
                    <a:pt x="2182" y="198"/>
                  </a:lnTo>
                  <a:cubicBezTo>
                    <a:pt x="2166" y="222"/>
                    <a:pt x="2166" y="230"/>
                    <a:pt x="2158" y="230"/>
                  </a:cubicBezTo>
                  <a:cubicBezTo>
                    <a:pt x="2151" y="230"/>
                    <a:pt x="2151" y="222"/>
                    <a:pt x="2151" y="222"/>
                  </a:cubicBezTo>
                  <a:cubicBezTo>
                    <a:pt x="2151" y="222"/>
                    <a:pt x="2143" y="222"/>
                    <a:pt x="2143" y="214"/>
                  </a:cubicBezTo>
                  <a:cubicBezTo>
                    <a:pt x="2135" y="206"/>
                    <a:pt x="2119" y="190"/>
                    <a:pt x="2087" y="190"/>
                  </a:cubicBezTo>
                  <a:cubicBezTo>
                    <a:pt x="2056" y="182"/>
                    <a:pt x="2048" y="174"/>
                    <a:pt x="2048" y="159"/>
                  </a:cubicBezTo>
                  <a:cubicBezTo>
                    <a:pt x="2040" y="151"/>
                    <a:pt x="2040" y="151"/>
                    <a:pt x="2040" y="151"/>
                  </a:cubicBezTo>
                  <a:cubicBezTo>
                    <a:pt x="2032" y="135"/>
                    <a:pt x="1992" y="111"/>
                    <a:pt x="1984" y="103"/>
                  </a:cubicBezTo>
                  <a:cubicBezTo>
                    <a:pt x="1961" y="103"/>
                    <a:pt x="1921" y="103"/>
                    <a:pt x="1874" y="103"/>
                  </a:cubicBezTo>
                  <a:cubicBezTo>
                    <a:pt x="1399" y="103"/>
                    <a:pt x="300" y="24"/>
                    <a:pt x="71" y="8"/>
                  </a:cubicBezTo>
                  <a:cubicBezTo>
                    <a:pt x="8" y="965"/>
                    <a:pt x="8" y="965"/>
                    <a:pt x="8" y="965"/>
                  </a:cubicBezTo>
                  <a:cubicBezTo>
                    <a:pt x="222" y="981"/>
                    <a:pt x="388" y="989"/>
                    <a:pt x="498" y="989"/>
                  </a:cubicBezTo>
                  <a:cubicBezTo>
                    <a:pt x="553" y="989"/>
                    <a:pt x="601" y="989"/>
                    <a:pt x="633" y="981"/>
                  </a:cubicBezTo>
                  <a:cubicBezTo>
                    <a:pt x="633" y="981"/>
                    <a:pt x="640" y="981"/>
                    <a:pt x="648" y="981"/>
                  </a:cubicBezTo>
                  <a:cubicBezTo>
                    <a:pt x="672" y="981"/>
                    <a:pt x="704" y="989"/>
                    <a:pt x="712" y="1036"/>
                  </a:cubicBezTo>
                  <a:cubicBezTo>
                    <a:pt x="712" y="1052"/>
                    <a:pt x="704" y="1194"/>
                    <a:pt x="696" y="1463"/>
                  </a:cubicBezTo>
                  <a:close/>
                </a:path>
              </a:pathLst>
            </a:custGeom>
            <a:grpFill/>
            <a:ln>
              <a:solidFill>
                <a:schemeClr val="bg1">
                  <a:lumMod val="95000"/>
                </a:schemeClr>
              </a:solidFill>
            </a:ln>
            <a:effectLst/>
          </p:spPr>
          <p:txBody>
            <a:bodyPr wrap="none" anchor="ctr"/>
            <a:lstStyle/>
            <a:p>
              <a:endParaRPr lang="en-US" sz="900"/>
            </a:p>
          </p:txBody>
        </p:sp>
        <p:sp>
          <p:nvSpPr>
            <p:cNvPr id="48" name="Freeform 352"/>
            <p:cNvSpPr>
              <a:spLocks noChangeArrowheads="1"/>
            </p:cNvSpPr>
            <p:nvPr/>
          </p:nvSpPr>
          <p:spPr bwMode="auto">
            <a:xfrm>
              <a:off x="11195531" y="5894674"/>
              <a:ext cx="1454204" cy="776968"/>
            </a:xfrm>
            <a:custGeom>
              <a:avLst/>
              <a:gdLst>
                <a:gd name="T0" fmla="*/ 2758 w 2767"/>
                <a:gd name="T1" fmla="*/ 529 h 1478"/>
                <a:gd name="T2" fmla="*/ 2758 w 2767"/>
                <a:gd name="T3" fmla="*/ 529 h 1478"/>
                <a:gd name="T4" fmla="*/ 2711 w 2767"/>
                <a:gd name="T5" fmla="*/ 419 h 1478"/>
                <a:gd name="T6" fmla="*/ 2655 w 2767"/>
                <a:gd name="T7" fmla="*/ 356 h 1478"/>
                <a:gd name="T8" fmla="*/ 2624 w 2767"/>
                <a:gd name="T9" fmla="*/ 300 h 1478"/>
                <a:gd name="T10" fmla="*/ 2560 w 2767"/>
                <a:gd name="T11" fmla="*/ 245 h 1478"/>
                <a:gd name="T12" fmla="*/ 2631 w 2767"/>
                <a:gd name="T13" fmla="*/ 182 h 1478"/>
                <a:gd name="T14" fmla="*/ 2655 w 2767"/>
                <a:gd name="T15" fmla="*/ 150 h 1478"/>
                <a:gd name="T16" fmla="*/ 2624 w 2767"/>
                <a:gd name="T17" fmla="*/ 103 h 1478"/>
                <a:gd name="T18" fmla="*/ 2584 w 2767"/>
                <a:gd name="T19" fmla="*/ 95 h 1478"/>
                <a:gd name="T20" fmla="*/ 2560 w 2767"/>
                <a:gd name="T21" fmla="*/ 118 h 1478"/>
                <a:gd name="T22" fmla="*/ 2497 w 2767"/>
                <a:gd name="T23" fmla="*/ 47 h 1478"/>
                <a:gd name="T24" fmla="*/ 79 w 2767"/>
                <a:gd name="T25" fmla="*/ 0 h 1478"/>
                <a:gd name="T26" fmla="*/ 0 w 2767"/>
                <a:gd name="T27" fmla="*/ 1414 h 1478"/>
                <a:gd name="T28" fmla="*/ 2758 w 2767"/>
                <a:gd name="T29" fmla="*/ 1469 h 1478"/>
                <a:gd name="T30" fmla="*/ 2758 w 2767"/>
                <a:gd name="T31" fmla="*/ 529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67" h="1478">
                  <a:moveTo>
                    <a:pt x="2758" y="529"/>
                  </a:moveTo>
                  <a:lnTo>
                    <a:pt x="2758" y="529"/>
                  </a:lnTo>
                  <a:cubicBezTo>
                    <a:pt x="2766" y="403"/>
                    <a:pt x="2726" y="442"/>
                    <a:pt x="2711" y="419"/>
                  </a:cubicBezTo>
                  <a:cubicBezTo>
                    <a:pt x="2687" y="395"/>
                    <a:pt x="2655" y="387"/>
                    <a:pt x="2655" y="356"/>
                  </a:cubicBezTo>
                  <a:cubicBezTo>
                    <a:pt x="2655" y="324"/>
                    <a:pt x="2655" y="324"/>
                    <a:pt x="2624" y="300"/>
                  </a:cubicBezTo>
                  <a:cubicBezTo>
                    <a:pt x="2584" y="276"/>
                    <a:pt x="2536" y="269"/>
                    <a:pt x="2560" y="245"/>
                  </a:cubicBezTo>
                  <a:cubicBezTo>
                    <a:pt x="2592" y="213"/>
                    <a:pt x="2608" y="189"/>
                    <a:pt x="2631" y="182"/>
                  </a:cubicBezTo>
                  <a:cubicBezTo>
                    <a:pt x="2655" y="174"/>
                    <a:pt x="2671" y="174"/>
                    <a:pt x="2655" y="150"/>
                  </a:cubicBezTo>
                  <a:cubicBezTo>
                    <a:pt x="2647" y="126"/>
                    <a:pt x="2624" y="126"/>
                    <a:pt x="2624" y="103"/>
                  </a:cubicBezTo>
                  <a:cubicBezTo>
                    <a:pt x="2624" y="79"/>
                    <a:pt x="2584" y="71"/>
                    <a:pt x="2584" y="95"/>
                  </a:cubicBezTo>
                  <a:cubicBezTo>
                    <a:pt x="2584" y="118"/>
                    <a:pt x="2584" y="134"/>
                    <a:pt x="2560" y="118"/>
                  </a:cubicBezTo>
                  <a:cubicBezTo>
                    <a:pt x="2545" y="103"/>
                    <a:pt x="2513" y="71"/>
                    <a:pt x="2497" y="47"/>
                  </a:cubicBezTo>
                  <a:cubicBezTo>
                    <a:pt x="1873" y="87"/>
                    <a:pt x="308" y="8"/>
                    <a:pt x="79" y="0"/>
                  </a:cubicBezTo>
                  <a:cubicBezTo>
                    <a:pt x="55" y="411"/>
                    <a:pt x="24" y="1019"/>
                    <a:pt x="0" y="1414"/>
                  </a:cubicBezTo>
                  <a:cubicBezTo>
                    <a:pt x="814" y="1461"/>
                    <a:pt x="1739" y="1477"/>
                    <a:pt x="2758" y="1469"/>
                  </a:cubicBezTo>
                  <a:cubicBezTo>
                    <a:pt x="2758" y="1469"/>
                    <a:pt x="2750" y="656"/>
                    <a:pt x="2758" y="529"/>
                  </a:cubicBezTo>
                </a:path>
              </a:pathLst>
            </a:custGeom>
            <a:grpFill/>
            <a:ln>
              <a:solidFill>
                <a:schemeClr val="bg1">
                  <a:lumMod val="95000"/>
                </a:schemeClr>
              </a:solidFill>
            </a:ln>
            <a:effectLst/>
          </p:spPr>
          <p:txBody>
            <a:bodyPr wrap="none" anchor="ctr"/>
            <a:lstStyle/>
            <a:p>
              <a:endParaRPr lang="en-US" sz="900"/>
            </a:p>
          </p:txBody>
        </p:sp>
        <p:sp>
          <p:nvSpPr>
            <p:cNvPr id="49" name="Freeform 353"/>
            <p:cNvSpPr>
              <a:spLocks noChangeArrowheads="1"/>
            </p:cNvSpPr>
            <p:nvPr/>
          </p:nvSpPr>
          <p:spPr bwMode="auto">
            <a:xfrm>
              <a:off x="11195531" y="5890036"/>
              <a:ext cx="1454204" cy="781607"/>
            </a:xfrm>
            <a:custGeom>
              <a:avLst/>
              <a:gdLst>
                <a:gd name="T0" fmla="*/ 2181 w 2767"/>
                <a:gd name="T1" fmla="*/ 1485 h 1486"/>
                <a:gd name="T2" fmla="*/ 0 w 2767"/>
                <a:gd name="T3" fmla="*/ 1430 h 1486"/>
                <a:gd name="T4" fmla="*/ 0 w 2767"/>
                <a:gd name="T5" fmla="*/ 1422 h 1486"/>
                <a:gd name="T6" fmla="*/ 79 w 2767"/>
                <a:gd name="T7" fmla="*/ 0 h 1486"/>
                <a:gd name="T8" fmla="*/ 2039 w 2767"/>
                <a:gd name="T9" fmla="*/ 63 h 1486"/>
                <a:gd name="T10" fmla="*/ 2497 w 2767"/>
                <a:gd name="T11" fmla="*/ 55 h 1486"/>
                <a:gd name="T12" fmla="*/ 2576 w 2767"/>
                <a:gd name="T13" fmla="*/ 126 h 1486"/>
                <a:gd name="T14" fmla="*/ 2600 w 2767"/>
                <a:gd name="T15" fmla="*/ 87 h 1486"/>
                <a:gd name="T16" fmla="*/ 2639 w 2767"/>
                <a:gd name="T17" fmla="*/ 134 h 1486"/>
                <a:gd name="T18" fmla="*/ 2663 w 2767"/>
                <a:gd name="T19" fmla="*/ 182 h 1486"/>
                <a:gd name="T20" fmla="*/ 2631 w 2767"/>
                <a:gd name="T21" fmla="*/ 197 h 1486"/>
                <a:gd name="T22" fmla="*/ 2568 w 2767"/>
                <a:gd name="T23" fmla="*/ 253 h 1486"/>
                <a:gd name="T24" fmla="*/ 2584 w 2767"/>
                <a:gd name="T25" fmla="*/ 284 h 1486"/>
                <a:gd name="T26" fmla="*/ 2631 w 2767"/>
                <a:gd name="T27" fmla="*/ 308 h 1486"/>
                <a:gd name="T28" fmla="*/ 2687 w 2767"/>
                <a:gd name="T29" fmla="*/ 403 h 1486"/>
                <a:gd name="T30" fmla="*/ 2726 w 2767"/>
                <a:gd name="T31" fmla="*/ 435 h 1486"/>
                <a:gd name="T32" fmla="*/ 2766 w 2767"/>
                <a:gd name="T33" fmla="*/ 1477 h 1486"/>
                <a:gd name="T34" fmla="*/ 2758 w 2767"/>
                <a:gd name="T35" fmla="*/ 1477 h 1486"/>
                <a:gd name="T36" fmla="*/ 8 w 2767"/>
                <a:gd name="T37" fmla="*/ 1422 h 1486"/>
                <a:gd name="T38" fmla="*/ 2181 w 2767"/>
                <a:gd name="T39" fmla="*/ 1477 h 1486"/>
                <a:gd name="T40" fmla="*/ 2758 w 2767"/>
                <a:gd name="T41" fmla="*/ 1469 h 1486"/>
                <a:gd name="T42" fmla="*/ 2726 w 2767"/>
                <a:gd name="T43" fmla="*/ 443 h 1486"/>
                <a:gd name="T44" fmla="*/ 2687 w 2767"/>
                <a:gd name="T45" fmla="*/ 411 h 1486"/>
                <a:gd name="T46" fmla="*/ 2631 w 2767"/>
                <a:gd name="T47" fmla="*/ 316 h 1486"/>
                <a:gd name="T48" fmla="*/ 2584 w 2767"/>
                <a:gd name="T49" fmla="*/ 292 h 1486"/>
                <a:gd name="T50" fmla="*/ 2560 w 2767"/>
                <a:gd name="T51" fmla="*/ 245 h 1486"/>
                <a:gd name="T52" fmla="*/ 2631 w 2767"/>
                <a:gd name="T53" fmla="*/ 190 h 1486"/>
                <a:gd name="T54" fmla="*/ 2663 w 2767"/>
                <a:gd name="T55" fmla="*/ 174 h 1486"/>
                <a:gd name="T56" fmla="*/ 2639 w 2767"/>
                <a:gd name="T57" fmla="*/ 134 h 1486"/>
                <a:gd name="T58" fmla="*/ 2600 w 2767"/>
                <a:gd name="T59" fmla="*/ 95 h 1486"/>
                <a:gd name="T60" fmla="*/ 2576 w 2767"/>
                <a:gd name="T61" fmla="*/ 134 h 1486"/>
                <a:gd name="T62" fmla="*/ 2489 w 2767"/>
                <a:gd name="T63" fmla="*/ 63 h 1486"/>
                <a:gd name="T64" fmla="*/ 87 w 2767"/>
                <a:gd name="T65" fmla="*/ 8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7" h="1486">
                  <a:moveTo>
                    <a:pt x="2181" y="1485"/>
                  </a:moveTo>
                  <a:lnTo>
                    <a:pt x="2181" y="1485"/>
                  </a:lnTo>
                  <a:lnTo>
                    <a:pt x="2181" y="1485"/>
                  </a:lnTo>
                  <a:cubicBezTo>
                    <a:pt x="1447" y="1485"/>
                    <a:pt x="711" y="1461"/>
                    <a:pt x="0" y="1430"/>
                  </a:cubicBezTo>
                  <a:lnTo>
                    <a:pt x="0" y="1430"/>
                  </a:lnTo>
                  <a:cubicBezTo>
                    <a:pt x="0" y="1422"/>
                    <a:pt x="0" y="1422"/>
                    <a:pt x="0" y="1422"/>
                  </a:cubicBezTo>
                  <a:cubicBezTo>
                    <a:pt x="24" y="1003"/>
                    <a:pt x="55" y="411"/>
                    <a:pt x="79" y="8"/>
                  </a:cubicBezTo>
                  <a:cubicBezTo>
                    <a:pt x="79" y="0"/>
                    <a:pt x="79" y="0"/>
                    <a:pt x="79" y="0"/>
                  </a:cubicBezTo>
                  <a:lnTo>
                    <a:pt x="79" y="0"/>
                  </a:lnTo>
                  <a:cubicBezTo>
                    <a:pt x="277" y="16"/>
                    <a:pt x="1312" y="63"/>
                    <a:pt x="2039" y="63"/>
                  </a:cubicBezTo>
                  <a:cubicBezTo>
                    <a:pt x="2228" y="63"/>
                    <a:pt x="2378" y="63"/>
                    <a:pt x="2497" y="55"/>
                  </a:cubicBezTo>
                  <a:lnTo>
                    <a:pt x="2497" y="55"/>
                  </a:lnTo>
                  <a:cubicBezTo>
                    <a:pt x="2568" y="126"/>
                    <a:pt x="2568" y="126"/>
                    <a:pt x="2568" y="126"/>
                  </a:cubicBezTo>
                  <a:lnTo>
                    <a:pt x="2576" y="126"/>
                  </a:lnTo>
                  <a:cubicBezTo>
                    <a:pt x="2576" y="126"/>
                    <a:pt x="2576" y="111"/>
                    <a:pt x="2576" y="103"/>
                  </a:cubicBezTo>
                  <a:cubicBezTo>
                    <a:pt x="2576" y="95"/>
                    <a:pt x="2584" y="87"/>
                    <a:pt x="2600" y="87"/>
                  </a:cubicBezTo>
                  <a:cubicBezTo>
                    <a:pt x="2608" y="87"/>
                    <a:pt x="2624" y="95"/>
                    <a:pt x="2624" y="111"/>
                  </a:cubicBezTo>
                  <a:cubicBezTo>
                    <a:pt x="2624" y="119"/>
                    <a:pt x="2631" y="126"/>
                    <a:pt x="2639" y="134"/>
                  </a:cubicBezTo>
                  <a:cubicBezTo>
                    <a:pt x="2647" y="142"/>
                    <a:pt x="2655" y="142"/>
                    <a:pt x="2663" y="158"/>
                  </a:cubicBezTo>
                  <a:cubicBezTo>
                    <a:pt x="2671" y="166"/>
                    <a:pt x="2671" y="174"/>
                    <a:pt x="2663" y="182"/>
                  </a:cubicBezTo>
                  <a:cubicBezTo>
                    <a:pt x="2663" y="190"/>
                    <a:pt x="2655" y="190"/>
                    <a:pt x="2639" y="190"/>
                  </a:cubicBezTo>
                  <a:cubicBezTo>
                    <a:pt x="2639" y="190"/>
                    <a:pt x="2639" y="190"/>
                    <a:pt x="2631" y="197"/>
                  </a:cubicBezTo>
                  <a:cubicBezTo>
                    <a:pt x="2616" y="197"/>
                    <a:pt x="2592" y="221"/>
                    <a:pt x="2568" y="245"/>
                  </a:cubicBezTo>
                  <a:cubicBezTo>
                    <a:pt x="2568" y="253"/>
                    <a:pt x="2568" y="253"/>
                    <a:pt x="2568" y="253"/>
                  </a:cubicBezTo>
                  <a:cubicBezTo>
                    <a:pt x="2560" y="261"/>
                    <a:pt x="2560" y="261"/>
                    <a:pt x="2560" y="269"/>
                  </a:cubicBezTo>
                  <a:cubicBezTo>
                    <a:pt x="2560" y="277"/>
                    <a:pt x="2576" y="277"/>
                    <a:pt x="2584" y="284"/>
                  </a:cubicBezTo>
                  <a:cubicBezTo>
                    <a:pt x="2600" y="292"/>
                    <a:pt x="2616" y="300"/>
                    <a:pt x="2624" y="308"/>
                  </a:cubicBezTo>
                  <a:cubicBezTo>
                    <a:pt x="2631" y="308"/>
                    <a:pt x="2631" y="308"/>
                    <a:pt x="2631" y="308"/>
                  </a:cubicBezTo>
                  <a:cubicBezTo>
                    <a:pt x="2663" y="332"/>
                    <a:pt x="2663" y="332"/>
                    <a:pt x="2663" y="364"/>
                  </a:cubicBezTo>
                  <a:cubicBezTo>
                    <a:pt x="2655" y="379"/>
                    <a:pt x="2671" y="395"/>
                    <a:pt x="2687" y="403"/>
                  </a:cubicBezTo>
                  <a:cubicBezTo>
                    <a:pt x="2695" y="411"/>
                    <a:pt x="2703" y="419"/>
                    <a:pt x="2711" y="427"/>
                  </a:cubicBezTo>
                  <a:cubicBezTo>
                    <a:pt x="2711" y="427"/>
                    <a:pt x="2718" y="435"/>
                    <a:pt x="2726" y="435"/>
                  </a:cubicBezTo>
                  <a:cubicBezTo>
                    <a:pt x="2750" y="443"/>
                    <a:pt x="2766" y="450"/>
                    <a:pt x="2758" y="537"/>
                  </a:cubicBezTo>
                  <a:cubicBezTo>
                    <a:pt x="2750" y="664"/>
                    <a:pt x="2766" y="1469"/>
                    <a:pt x="2766" y="1477"/>
                  </a:cubicBezTo>
                  <a:lnTo>
                    <a:pt x="2766" y="1477"/>
                  </a:lnTo>
                  <a:cubicBezTo>
                    <a:pt x="2758" y="1477"/>
                    <a:pt x="2758" y="1477"/>
                    <a:pt x="2758" y="1477"/>
                  </a:cubicBezTo>
                  <a:cubicBezTo>
                    <a:pt x="2568" y="1477"/>
                    <a:pt x="2378" y="1485"/>
                    <a:pt x="2181" y="1485"/>
                  </a:cubicBezTo>
                  <a:close/>
                  <a:moveTo>
                    <a:pt x="8" y="1422"/>
                  </a:moveTo>
                  <a:lnTo>
                    <a:pt x="8" y="1422"/>
                  </a:lnTo>
                  <a:cubicBezTo>
                    <a:pt x="711" y="1453"/>
                    <a:pt x="1447" y="1477"/>
                    <a:pt x="2181" y="1477"/>
                  </a:cubicBezTo>
                  <a:lnTo>
                    <a:pt x="2181" y="1477"/>
                  </a:lnTo>
                  <a:cubicBezTo>
                    <a:pt x="2371" y="1477"/>
                    <a:pt x="2568" y="1477"/>
                    <a:pt x="2758" y="1469"/>
                  </a:cubicBezTo>
                  <a:cubicBezTo>
                    <a:pt x="2758" y="1414"/>
                    <a:pt x="2750" y="664"/>
                    <a:pt x="2758" y="537"/>
                  </a:cubicBezTo>
                  <a:cubicBezTo>
                    <a:pt x="2758" y="450"/>
                    <a:pt x="2742" y="443"/>
                    <a:pt x="2726" y="443"/>
                  </a:cubicBezTo>
                  <a:cubicBezTo>
                    <a:pt x="2718" y="435"/>
                    <a:pt x="2711" y="435"/>
                    <a:pt x="2703" y="427"/>
                  </a:cubicBezTo>
                  <a:cubicBezTo>
                    <a:pt x="2695" y="427"/>
                    <a:pt x="2695" y="419"/>
                    <a:pt x="2687" y="411"/>
                  </a:cubicBezTo>
                  <a:cubicBezTo>
                    <a:pt x="2671" y="395"/>
                    <a:pt x="2647" y="387"/>
                    <a:pt x="2655" y="364"/>
                  </a:cubicBezTo>
                  <a:cubicBezTo>
                    <a:pt x="2655" y="332"/>
                    <a:pt x="2655" y="332"/>
                    <a:pt x="2631" y="316"/>
                  </a:cubicBezTo>
                  <a:cubicBezTo>
                    <a:pt x="2624" y="308"/>
                    <a:pt x="2624" y="308"/>
                    <a:pt x="2624" y="308"/>
                  </a:cubicBezTo>
                  <a:cubicBezTo>
                    <a:pt x="2608" y="300"/>
                    <a:pt x="2592" y="300"/>
                    <a:pt x="2584" y="292"/>
                  </a:cubicBezTo>
                  <a:cubicBezTo>
                    <a:pt x="2568" y="284"/>
                    <a:pt x="2552" y="277"/>
                    <a:pt x="2552" y="269"/>
                  </a:cubicBezTo>
                  <a:cubicBezTo>
                    <a:pt x="2552" y="261"/>
                    <a:pt x="2552" y="253"/>
                    <a:pt x="2560" y="245"/>
                  </a:cubicBezTo>
                  <a:lnTo>
                    <a:pt x="2560" y="245"/>
                  </a:lnTo>
                  <a:cubicBezTo>
                    <a:pt x="2592" y="213"/>
                    <a:pt x="2608" y="190"/>
                    <a:pt x="2631" y="190"/>
                  </a:cubicBezTo>
                  <a:lnTo>
                    <a:pt x="2639" y="182"/>
                  </a:lnTo>
                  <a:cubicBezTo>
                    <a:pt x="2647" y="182"/>
                    <a:pt x="2655" y="182"/>
                    <a:pt x="2663" y="174"/>
                  </a:cubicBezTo>
                  <a:cubicBezTo>
                    <a:pt x="2663" y="174"/>
                    <a:pt x="2663" y="166"/>
                    <a:pt x="2655" y="158"/>
                  </a:cubicBezTo>
                  <a:cubicBezTo>
                    <a:pt x="2647" y="150"/>
                    <a:pt x="2639" y="142"/>
                    <a:pt x="2639" y="134"/>
                  </a:cubicBezTo>
                  <a:cubicBezTo>
                    <a:pt x="2624" y="126"/>
                    <a:pt x="2616" y="126"/>
                    <a:pt x="2616" y="111"/>
                  </a:cubicBezTo>
                  <a:cubicBezTo>
                    <a:pt x="2616" y="95"/>
                    <a:pt x="2608" y="95"/>
                    <a:pt x="2600" y="95"/>
                  </a:cubicBezTo>
                  <a:cubicBezTo>
                    <a:pt x="2592" y="95"/>
                    <a:pt x="2584" y="95"/>
                    <a:pt x="2584" y="103"/>
                  </a:cubicBezTo>
                  <a:cubicBezTo>
                    <a:pt x="2584" y="119"/>
                    <a:pt x="2584" y="134"/>
                    <a:pt x="2576" y="134"/>
                  </a:cubicBezTo>
                  <a:cubicBezTo>
                    <a:pt x="2568" y="134"/>
                    <a:pt x="2568" y="134"/>
                    <a:pt x="2560" y="126"/>
                  </a:cubicBezTo>
                  <a:cubicBezTo>
                    <a:pt x="2489" y="63"/>
                    <a:pt x="2489" y="63"/>
                    <a:pt x="2489" y="63"/>
                  </a:cubicBezTo>
                  <a:cubicBezTo>
                    <a:pt x="2378" y="63"/>
                    <a:pt x="2220" y="71"/>
                    <a:pt x="2039" y="71"/>
                  </a:cubicBezTo>
                  <a:cubicBezTo>
                    <a:pt x="1320" y="71"/>
                    <a:pt x="292" y="24"/>
                    <a:pt x="87" y="8"/>
                  </a:cubicBezTo>
                  <a:cubicBezTo>
                    <a:pt x="63" y="411"/>
                    <a:pt x="31" y="995"/>
                    <a:pt x="8" y="1422"/>
                  </a:cubicBezTo>
                  <a:close/>
                </a:path>
              </a:pathLst>
            </a:custGeom>
            <a:grpFill/>
            <a:ln>
              <a:solidFill>
                <a:schemeClr val="bg1">
                  <a:lumMod val="95000"/>
                </a:schemeClr>
              </a:solidFill>
            </a:ln>
            <a:effectLst/>
          </p:spPr>
          <p:txBody>
            <a:bodyPr wrap="none" anchor="ctr"/>
            <a:lstStyle/>
            <a:p>
              <a:endParaRPr lang="en-US" sz="900"/>
            </a:p>
          </p:txBody>
        </p:sp>
        <p:sp>
          <p:nvSpPr>
            <p:cNvPr id="50" name="Freeform 384"/>
            <p:cNvSpPr>
              <a:spLocks noChangeArrowheads="1"/>
            </p:cNvSpPr>
            <p:nvPr/>
          </p:nvSpPr>
          <p:spPr bwMode="auto">
            <a:xfrm>
              <a:off x="14166561" y="7963495"/>
              <a:ext cx="1809058" cy="1393904"/>
            </a:xfrm>
            <a:custGeom>
              <a:avLst/>
              <a:gdLst>
                <a:gd name="T0" fmla="*/ 3392 w 3440"/>
                <a:gd name="T1" fmla="*/ 2403 h 2649"/>
                <a:gd name="T2" fmla="*/ 3431 w 3440"/>
                <a:gd name="T3" fmla="*/ 2063 h 2649"/>
                <a:gd name="T4" fmla="*/ 3052 w 3440"/>
                <a:gd name="T5" fmla="*/ 1146 h 2649"/>
                <a:gd name="T6" fmla="*/ 2981 w 3440"/>
                <a:gd name="T7" fmla="*/ 1027 h 2649"/>
                <a:gd name="T8" fmla="*/ 2965 w 3440"/>
                <a:gd name="T9" fmla="*/ 948 h 2649"/>
                <a:gd name="T10" fmla="*/ 3052 w 3440"/>
                <a:gd name="T11" fmla="*/ 1035 h 2649"/>
                <a:gd name="T12" fmla="*/ 2680 w 3440"/>
                <a:gd name="T13" fmla="*/ 458 h 2649"/>
                <a:gd name="T14" fmla="*/ 2514 w 3440"/>
                <a:gd name="T15" fmla="*/ 63 h 2649"/>
                <a:gd name="T16" fmla="*/ 2491 w 3440"/>
                <a:gd name="T17" fmla="*/ 15 h 2649"/>
                <a:gd name="T18" fmla="*/ 2285 w 3440"/>
                <a:gd name="T19" fmla="*/ 197 h 2649"/>
                <a:gd name="T20" fmla="*/ 2190 w 3440"/>
                <a:gd name="T21" fmla="*/ 134 h 2649"/>
                <a:gd name="T22" fmla="*/ 24 w 3440"/>
                <a:gd name="T23" fmla="*/ 237 h 2649"/>
                <a:gd name="T24" fmla="*/ 127 w 3440"/>
                <a:gd name="T25" fmla="*/ 458 h 2649"/>
                <a:gd name="T26" fmla="*/ 198 w 3440"/>
                <a:gd name="T27" fmla="*/ 474 h 2649"/>
                <a:gd name="T28" fmla="*/ 285 w 3440"/>
                <a:gd name="T29" fmla="*/ 403 h 2649"/>
                <a:gd name="T30" fmla="*/ 214 w 3440"/>
                <a:gd name="T31" fmla="*/ 506 h 2649"/>
                <a:gd name="T32" fmla="*/ 514 w 3440"/>
                <a:gd name="T33" fmla="*/ 395 h 2649"/>
                <a:gd name="T34" fmla="*/ 546 w 3440"/>
                <a:gd name="T35" fmla="*/ 419 h 2649"/>
                <a:gd name="T36" fmla="*/ 815 w 3440"/>
                <a:gd name="T37" fmla="*/ 521 h 2649"/>
                <a:gd name="T38" fmla="*/ 830 w 3440"/>
                <a:gd name="T39" fmla="*/ 450 h 2649"/>
                <a:gd name="T40" fmla="*/ 862 w 3440"/>
                <a:gd name="T41" fmla="*/ 513 h 2649"/>
                <a:gd name="T42" fmla="*/ 965 w 3440"/>
                <a:gd name="T43" fmla="*/ 672 h 2649"/>
                <a:gd name="T44" fmla="*/ 1241 w 3440"/>
                <a:gd name="T45" fmla="*/ 640 h 2649"/>
                <a:gd name="T46" fmla="*/ 1170 w 3440"/>
                <a:gd name="T47" fmla="*/ 735 h 2649"/>
                <a:gd name="T48" fmla="*/ 1352 w 3440"/>
                <a:gd name="T49" fmla="*/ 561 h 2649"/>
                <a:gd name="T50" fmla="*/ 1471 w 3440"/>
                <a:gd name="T51" fmla="*/ 458 h 2649"/>
                <a:gd name="T52" fmla="*/ 1811 w 3440"/>
                <a:gd name="T53" fmla="*/ 664 h 2649"/>
                <a:gd name="T54" fmla="*/ 2087 w 3440"/>
                <a:gd name="T55" fmla="*/ 853 h 2649"/>
                <a:gd name="T56" fmla="*/ 2174 w 3440"/>
                <a:gd name="T57" fmla="*/ 1106 h 2649"/>
                <a:gd name="T58" fmla="*/ 2159 w 3440"/>
                <a:gd name="T59" fmla="*/ 1415 h 2649"/>
                <a:gd name="T60" fmla="*/ 2214 w 3440"/>
                <a:gd name="T61" fmla="*/ 1367 h 2649"/>
                <a:gd name="T62" fmla="*/ 2324 w 3440"/>
                <a:gd name="T63" fmla="*/ 1423 h 2649"/>
                <a:gd name="T64" fmla="*/ 2222 w 3440"/>
                <a:gd name="T65" fmla="*/ 1589 h 2649"/>
                <a:gd name="T66" fmla="*/ 2451 w 3440"/>
                <a:gd name="T67" fmla="*/ 1865 h 2649"/>
                <a:gd name="T68" fmla="*/ 2530 w 3440"/>
                <a:gd name="T69" fmla="*/ 1818 h 2649"/>
                <a:gd name="T70" fmla="*/ 2609 w 3440"/>
                <a:gd name="T71" fmla="*/ 1992 h 2649"/>
                <a:gd name="T72" fmla="*/ 2672 w 3440"/>
                <a:gd name="T73" fmla="*/ 2071 h 2649"/>
                <a:gd name="T74" fmla="*/ 2902 w 3440"/>
                <a:gd name="T75" fmla="*/ 2276 h 2649"/>
                <a:gd name="T76" fmla="*/ 3123 w 3440"/>
                <a:gd name="T77" fmla="*/ 2474 h 2649"/>
                <a:gd name="T78" fmla="*/ 3052 w 3440"/>
                <a:gd name="T79" fmla="*/ 2490 h 2649"/>
                <a:gd name="T80" fmla="*/ 3194 w 3440"/>
                <a:gd name="T81" fmla="*/ 2537 h 2649"/>
                <a:gd name="T82" fmla="*/ 3360 w 3440"/>
                <a:gd name="T83" fmla="*/ 2506 h 2649"/>
                <a:gd name="T84" fmla="*/ 3352 w 3440"/>
                <a:gd name="T85" fmla="*/ 2593 h 2649"/>
                <a:gd name="T86" fmla="*/ 3321 w 3440"/>
                <a:gd name="T87" fmla="*/ 1849 h 2649"/>
                <a:gd name="T88" fmla="*/ 3242 w 3440"/>
                <a:gd name="T89" fmla="*/ 1929 h 2649"/>
                <a:gd name="T90" fmla="*/ 3131 w 3440"/>
                <a:gd name="T91" fmla="*/ 1810 h 2649"/>
                <a:gd name="T92" fmla="*/ 3234 w 3440"/>
                <a:gd name="T93" fmla="*/ 1683 h 2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0" h="2649">
                  <a:moveTo>
                    <a:pt x="3400" y="2434"/>
                  </a:moveTo>
                  <a:lnTo>
                    <a:pt x="3400" y="2434"/>
                  </a:lnTo>
                  <a:cubicBezTo>
                    <a:pt x="3384" y="2434"/>
                    <a:pt x="3384" y="2427"/>
                    <a:pt x="3392" y="2403"/>
                  </a:cubicBezTo>
                  <a:cubicBezTo>
                    <a:pt x="3408" y="2371"/>
                    <a:pt x="3392" y="2387"/>
                    <a:pt x="3384" y="2355"/>
                  </a:cubicBezTo>
                  <a:cubicBezTo>
                    <a:pt x="3384" y="2324"/>
                    <a:pt x="3360" y="2316"/>
                    <a:pt x="3384" y="2284"/>
                  </a:cubicBezTo>
                  <a:cubicBezTo>
                    <a:pt x="3408" y="2253"/>
                    <a:pt x="3431" y="2102"/>
                    <a:pt x="3431" y="2063"/>
                  </a:cubicBezTo>
                  <a:cubicBezTo>
                    <a:pt x="3423" y="2023"/>
                    <a:pt x="3416" y="2000"/>
                    <a:pt x="3423" y="1905"/>
                  </a:cubicBezTo>
                  <a:cubicBezTo>
                    <a:pt x="3439" y="1810"/>
                    <a:pt x="3392" y="1620"/>
                    <a:pt x="3305" y="1549"/>
                  </a:cubicBezTo>
                  <a:cubicBezTo>
                    <a:pt x="3210" y="1486"/>
                    <a:pt x="3202" y="1320"/>
                    <a:pt x="3052" y="1146"/>
                  </a:cubicBezTo>
                  <a:cubicBezTo>
                    <a:pt x="3052" y="1146"/>
                    <a:pt x="3044" y="1075"/>
                    <a:pt x="3036" y="1083"/>
                  </a:cubicBezTo>
                  <a:cubicBezTo>
                    <a:pt x="3020" y="1083"/>
                    <a:pt x="3012" y="1099"/>
                    <a:pt x="3012" y="1083"/>
                  </a:cubicBezTo>
                  <a:cubicBezTo>
                    <a:pt x="3004" y="1067"/>
                    <a:pt x="2997" y="1059"/>
                    <a:pt x="2981" y="1027"/>
                  </a:cubicBezTo>
                  <a:cubicBezTo>
                    <a:pt x="2965" y="996"/>
                    <a:pt x="2910" y="901"/>
                    <a:pt x="2917" y="893"/>
                  </a:cubicBezTo>
                  <a:cubicBezTo>
                    <a:pt x="2925" y="885"/>
                    <a:pt x="2925" y="909"/>
                    <a:pt x="2941" y="917"/>
                  </a:cubicBezTo>
                  <a:cubicBezTo>
                    <a:pt x="2957" y="932"/>
                    <a:pt x="2957" y="948"/>
                    <a:pt x="2965" y="948"/>
                  </a:cubicBezTo>
                  <a:cubicBezTo>
                    <a:pt x="2981" y="948"/>
                    <a:pt x="2981" y="932"/>
                    <a:pt x="2989" y="940"/>
                  </a:cubicBezTo>
                  <a:cubicBezTo>
                    <a:pt x="2997" y="940"/>
                    <a:pt x="3020" y="964"/>
                    <a:pt x="3028" y="996"/>
                  </a:cubicBezTo>
                  <a:cubicBezTo>
                    <a:pt x="3036" y="1027"/>
                    <a:pt x="3044" y="1051"/>
                    <a:pt x="3052" y="1035"/>
                  </a:cubicBezTo>
                  <a:cubicBezTo>
                    <a:pt x="3060" y="1012"/>
                    <a:pt x="3060" y="996"/>
                    <a:pt x="3020" y="924"/>
                  </a:cubicBezTo>
                  <a:cubicBezTo>
                    <a:pt x="2973" y="853"/>
                    <a:pt x="2957" y="853"/>
                    <a:pt x="2941" y="846"/>
                  </a:cubicBezTo>
                  <a:cubicBezTo>
                    <a:pt x="2925" y="830"/>
                    <a:pt x="2704" y="506"/>
                    <a:pt x="2680" y="458"/>
                  </a:cubicBezTo>
                  <a:cubicBezTo>
                    <a:pt x="2680" y="458"/>
                    <a:pt x="2593" y="268"/>
                    <a:pt x="2570" y="229"/>
                  </a:cubicBezTo>
                  <a:cubicBezTo>
                    <a:pt x="2554" y="181"/>
                    <a:pt x="2562" y="158"/>
                    <a:pt x="2538" y="126"/>
                  </a:cubicBezTo>
                  <a:cubicBezTo>
                    <a:pt x="2514" y="95"/>
                    <a:pt x="2506" y="102"/>
                    <a:pt x="2514" y="63"/>
                  </a:cubicBezTo>
                  <a:cubicBezTo>
                    <a:pt x="2522" y="23"/>
                    <a:pt x="2522" y="23"/>
                    <a:pt x="2499" y="7"/>
                  </a:cubicBezTo>
                  <a:lnTo>
                    <a:pt x="2499" y="7"/>
                  </a:lnTo>
                  <a:cubicBezTo>
                    <a:pt x="2491" y="7"/>
                    <a:pt x="2491" y="7"/>
                    <a:pt x="2491" y="15"/>
                  </a:cubicBezTo>
                  <a:cubicBezTo>
                    <a:pt x="2475" y="55"/>
                    <a:pt x="2301" y="0"/>
                    <a:pt x="2277" y="15"/>
                  </a:cubicBezTo>
                  <a:cubicBezTo>
                    <a:pt x="2253" y="23"/>
                    <a:pt x="2261" y="47"/>
                    <a:pt x="2285" y="79"/>
                  </a:cubicBezTo>
                  <a:cubicBezTo>
                    <a:pt x="2301" y="110"/>
                    <a:pt x="2285" y="158"/>
                    <a:pt x="2285" y="197"/>
                  </a:cubicBezTo>
                  <a:cubicBezTo>
                    <a:pt x="2285" y="237"/>
                    <a:pt x="2269" y="229"/>
                    <a:pt x="2238" y="221"/>
                  </a:cubicBezTo>
                  <a:cubicBezTo>
                    <a:pt x="2206" y="221"/>
                    <a:pt x="2214" y="181"/>
                    <a:pt x="2206" y="158"/>
                  </a:cubicBezTo>
                  <a:cubicBezTo>
                    <a:pt x="2198" y="134"/>
                    <a:pt x="2190" y="134"/>
                    <a:pt x="2190" y="134"/>
                  </a:cubicBezTo>
                  <a:cubicBezTo>
                    <a:pt x="2190" y="134"/>
                    <a:pt x="1154" y="213"/>
                    <a:pt x="1139" y="213"/>
                  </a:cubicBezTo>
                  <a:cubicBezTo>
                    <a:pt x="1131" y="213"/>
                    <a:pt x="1052" y="87"/>
                    <a:pt x="1052" y="87"/>
                  </a:cubicBezTo>
                  <a:cubicBezTo>
                    <a:pt x="1052" y="87"/>
                    <a:pt x="40" y="205"/>
                    <a:pt x="24" y="237"/>
                  </a:cubicBezTo>
                  <a:cubicBezTo>
                    <a:pt x="0" y="260"/>
                    <a:pt x="64" y="300"/>
                    <a:pt x="95" y="324"/>
                  </a:cubicBezTo>
                  <a:cubicBezTo>
                    <a:pt x="127" y="347"/>
                    <a:pt x="111" y="363"/>
                    <a:pt x="103" y="387"/>
                  </a:cubicBezTo>
                  <a:cubicBezTo>
                    <a:pt x="95" y="411"/>
                    <a:pt x="127" y="442"/>
                    <a:pt x="127" y="458"/>
                  </a:cubicBezTo>
                  <a:cubicBezTo>
                    <a:pt x="135" y="466"/>
                    <a:pt x="119" y="498"/>
                    <a:pt x="103" y="521"/>
                  </a:cubicBezTo>
                  <a:cubicBezTo>
                    <a:pt x="119" y="529"/>
                    <a:pt x="127" y="537"/>
                    <a:pt x="143" y="521"/>
                  </a:cubicBezTo>
                  <a:cubicBezTo>
                    <a:pt x="166" y="506"/>
                    <a:pt x="182" y="506"/>
                    <a:pt x="198" y="474"/>
                  </a:cubicBezTo>
                  <a:cubicBezTo>
                    <a:pt x="214" y="442"/>
                    <a:pt x="198" y="419"/>
                    <a:pt x="222" y="411"/>
                  </a:cubicBezTo>
                  <a:cubicBezTo>
                    <a:pt x="237" y="403"/>
                    <a:pt x="253" y="426"/>
                    <a:pt x="261" y="426"/>
                  </a:cubicBezTo>
                  <a:cubicBezTo>
                    <a:pt x="269" y="419"/>
                    <a:pt x="261" y="387"/>
                    <a:pt x="285" y="403"/>
                  </a:cubicBezTo>
                  <a:cubicBezTo>
                    <a:pt x="317" y="419"/>
                    <a:pt x="340" y="442"/>
                    <a:pt x="309" y="450"/>
                  </a:cubicBezTo>
                  <a:cubicBezTo>
                    <a:pt x="277" y="450"/>
                    <a:pt x="269" y="466"/>
                    <a:pt x="253" y="474"/>
                  </a:cubicBezTo>
                  <a:cubicBezTo>
                    <a:pt x="237" y="490"/>
                    <a:pt x="182" y="498"/>
                    <a:pt x="214" y="506"/>
                  </a:cubicBezTo>
                  <a:cubicBezTo>
                    <a:pt x="246" y="513"/>
                    <a:pt x="261" y="490"/>
                    <a:pt x="317" y="482"/>
                  </a:cubicBezTo>
                  <a:cubicBezTo>
                    <a:pt x="364" y="474"/>
                    <a:pt x="451" y="458"/>
                    <a:pt x="467" y="434"/>
                  </a:cubicBezTo>
                  <a:cubicBezTo>
                    <a:pt x="483" y="403"/>
                    <a:pt x="475" y="395"/>
                    <a:pt x="514" y="395"/>
                  </a:cubicBezTo>
                  <a:cubicBezTo>
                    <a:pt x="546" y="395"/>
                    <a:pt x="562" y="379"/>
                    <a:pt x="593" y="387"/>
                  </a:cubicBezTo>
                  <a:cubicBezTo>
                    <a:pt x="625" y="387"/>
                    <a:pt x="641" y="411"/>
                    <a:pt x="609" y="411"/>
                  </a:cubicBezTo>
                  <a:cubicBezTo>
                    <a:pt x="577" y="411"/>
                    <a:pt x="562" y="403"/>
                    <a:pt x="546" y="419"/>
                  </a:cubicBezTo>
                  <a:cubicBezTo>
                    <a:pt x="522" y="426"/>
                    <a:pt x="475" y="419"/>
                    <a:pt x="490" y="434"/>
                  </a:cubicBezTo>
                  <a:cubicBezTo>
                    <a:pt x="506" y="450"/>
                    <a:pt x="514" y="442"/>
                    <a:pt x="562" y="442"/>
                  </a:cubicBezTo>
                  <a:cubicBezTo>
                    <a:pt x="601" y="442"/>
                    <a:pt x="791" y="498"/>
                    <a:pt x="815" y="521"/>
                  </a:cubicBezTo>
                  <a:cubicBezTo>
                    <a:pt x="830" y="545"/>
                    <a:pt x="830" y="529"/>
                    <a:pt x="823" y="506"/>
                  </a:cubicBezTo>
                  <a:cubicBezTo>
                    <a:pt x="815" y="482"/>
                    <a:pt x="775" y="490"/>
                    <a:pt x="791" y="466"/>
                  </a:cubicBezTo>
                  <a:cubicBezTo>
                    <a:pt x="807" y="434"/>
                    <a:pt x="807" y="450"/>
                    <a:pt x="830" y="450"/>
                  </a:cubicBezTo>
                  <a:cubicBezTo>
                    <a:pt x="854" y="450"/>
                    <a:pt x="870" y="426"/>
                    <a:pt x="870" y="442"/>
                  </a:cubicBezTo>
                  <a:cubicBezTo>
                    <a:pt x="870" y="458"/>
                    <a:pt x="830" y="458"/>
                    <a:pt x="846" y="482"/>
                  </a:cubicBezTo>
                  <a:cubicBezTo>
                    <a:pt x="854" y="506"/>
                    <a:pt x="854" y="506"/>
                    <a:pt x="862" y="513"/>
                  </a:cubicBezTo>
                  <a:cubicBezTo>
                    <a:pt x="870" y="529"/>
                    <a:pt x="838" y="537"/>
                    <a:pt x="846" y="545"/>
                  </a:cubicBezTo>
                  <a:cubicBezTo>
                    <a:pt x="854" y="553"/>
                    <a:pt x="989" y="616"/>
                    <a:pt x="989" y="640"/>
                  </a:cubicBezTo>
                  <a:cubicBezTo>
                    <a:pt x="989" y="664"/>
                    <a:pt x="957" y="656"/>
                    <a:pt x="965" y="672"/>
                  </a:cubicBezTo>
                  <a:cubicBezTo>
                    <a:pt x="973" y="695"/>
                    <a:pt x="989" y="711"/>
                    <a:pt x="1012" y="719"/>
                  </a:cubicBezTo>
                  <a:cubicBezTo>
                    <a:pt x="1028" y="727"/>
                    <a:pt x="1068" y="711"/>
                    <a:pt x="1123" y="695"/>
                  </a:cubicBezTo>
                  <a:cubicBezTo>
                    <a:pt x="1178" y="679"/>
                    <a:pt x="1226" y="640"/>
                    <a:pt x="1241" y="640"/>
                  </a:cubicBezTo>
                  <a:cubicBezTo>
                    <a:pt x="1249" y="648"/>
                    <a:pt x="1241" y="664"/>
                    <a:pt x="1210" y="679"/>
                  </a:cubicBezTo>
                  <a:cubicBezTo>
                    <a:pt x="1178" y="695"/>
                    <a:pt x="1163" y="711"/>
                    <a:pt x="1147" y="727"/>
                  </a:cubicBezTo>
                  <a:cubicBezTo>
                    <a:pt x="1123" y="735"/>
                    <a:pt x="1147" y="750"/>
                    <a:pt x="1170" y="735"/>
                  </a:cubicBezTo>
                  <a:cubicBezTo>
                    <a:pt x="1194" y="719"/>
                    <a:pt x="1257" y="679"/>
                    <a:pt x="1257" y="640"/>
                  </a:cubicBezTo>
                  <a:cubicBezTo>
                    <a:pt x="1265" y="600"/>
                    <a:pt x="1273" y="608"/>
                    <a:pt x="1289" y="600"/>
                  </a:cubicBezTo>
                  <a:cubicBezTo>
                    <a:pt x="1305" y="585"/>
                    <a:pt x="1321" y="561"/>
                    <a:pt x="1352" y="561"/>
                  </a:cubicBezTo>
                  <a:cubicBezTo>
                    <a:pt x="1392" y="561"/>
                    <a:pt x="1407" y="569"/>
                    <a:pt x="1400" y="545"/>
                  </a:cubicBezTo>
                  <a:cubicBezTo>
                    <a:pt x="1392" y="529"/>
                    <a:pt x="1360" y="521"/>
                    <a:pt x="1392" y="498"/>
                  </a:cubicBezTo>
                  <a:cubicBezTo>
                    <a:pt x="1431" y="474"/>
                    <a:pt x="1400" y="458"/>
                    <a:pt x="1471" y="458"/>
                  </a:cubicBezTo>
                  <a:cubicBezTo>
                    <a:pt x="1542" y="466"/>
                    <a:pt x="1574" y="482"/>
                    <a:pt x="1613" y="506"/>
                  </a:cubicBezTo>
                  <a:cubicBezTo>
                    <a:pt x="1653" y="521"/>
                    <a:pt x="1740" y="608"/>
                    <a:pt x="1771" y="624"/>
                  </a:cubicBezTo>
                  <a:cubicBezTo>
                    <a:pt x="1795" y="632"/>
                    <a:pt x="1787" y="632"/>
                    <a:pt x="1811" y="664"/>
                  </a:cubicBezTo>
                  <a:cubicBezTo>
                    <a:pt x="1827" y="695"/>
                    <a:pt x="1850" y="711"/>
                    <a:pt x="1898" y="735"/>
                  </a:cubicBezTo>
                  <a:cubicBezTo>
                    <a:pt x="1937" y="766"/>
                    <a:pt x="1937" y="822"/>
                    <a:pt x="2000" y="822"/>
                  </a:cubicBezTo>
                  <a:cubicBezTo>
                    <a:pt x="2071" y="822"/>
                    <a:pt x="2080" y="822"/>
                    <a:pt x="2087" y="853"/>
                  </a:cubicBezTo>
                  <a:cubicBezTo>
                    <a:pt x="2103" y="893"/>
                    <a:pt x="2111" y="924"/>
                    <a:pt x="2135" y="932"/>
                  </a:cubicBezTo>
                  <a:cubicBezTo>
                    <a:pt x="2159" y="940"/>
                    <a:pt x="2159" y="948"/>
                    <a:pt x="2166" y="988"/>
                  </a:cubicBezTo>
                  <a:cubicBezTo>
                    <a:pt x="2174" y="1027"/>
                    <a:pt x="2190" y="1059"/>
                    <a:pt x="2174" y="1106"/>
                  </a:cubicBezTo>
                  <a:cubicBezTo>
                    <a:pt x="2166" y="1154"/>
                    <a:pt x="2166" y="1201"/>
                    <a:pt x="2166" y="1241"/>
                  </a:cubicBezTo>
                  <a:cubicBezTo>
                    <a:pt x="2159" y="1280"/>
                    <a:pt x="2135" y="1296"/>
                    <a:pt x="2143" y="1336"/>
                  </a:cubicBezTo>
                  <a:cubicBezTo>
                    <a:pt x="2151" y="1367"/>
                    <a:pt x="2166" y="1375"/>
                    <a:pt x="2159" y="1415"/>
                  </a:cubicBezTo>
                  <a:cubicBezTo>
                    <a:pt x="2159" y="1454"/>
                    <a:pt x="2174" y="1486"/>
                    <a:pt x="2198" y="1486"/>
                  </a:cubicBezTo>
                  <a:cubicBezTo>
                    <a:pt x="2230" y="1486"/>
                    <a:pt x="2253" y="1486"/>
                    <a:pt x="2246" y="1454"/>
                  </a:cubicBezTo>
                  <a:cubicBezTo>
                    <a:pt x="2238" y="1423"/>
                    <a:pt x="2214" y="1399"/>
                    <a:pt x="2214" y="1367"/>
                  </a:cubicBezTo>
                  <a:cubicBezTo>
                    <a:pt x="2214" y="1336"/>
                    <a:pt x="2230" y="1328"/>
                    <a:pt x="2253" y="1359"/>
                  </a:cubicBezTo>
                  <a:cubicBezTo>
                    <a:pt x="2269" y="1391"/>
                    <a:pt x="2269" y="1383"/>
                    <a:pt x="2293" y="1391"/>
                  </a:cubicBezTo>
                  <a:cubicBezTo>
                    <a:pt x="2317" y="1391"/>
                    <a:pt x="2324" y="1383"/>
                    <a:pt x="2324" y="1423"/>
                  </a:cubicBezTo>
                  <a:cubicBezTo>
                    <a:pt x="2317" y="1454"/>
                    <a:pt x="2277" y="1510"/>
                    <a:pt x="2277" y="1533"/>
                  </a:cubicBezTo>
                  <a:cubicBezTo>
                    <a:pt x="2277" y="1549"/>
                    <a:pt x="2269" y="1565"/>
                    <a:pt x="2246" y="1565"/>
                  </a:cubicBezTo>
                  <a:cubicBezTo>
                    <a:pt x="2230" y="1573"/>
                    <a:pt x="2198" y="1573"/>
                    <a:pt x="2222" y="1589"/>
                  </a:cubicBezTo>
                  <a:cubicBezTo>
                    <a:pt x="2246" y="1604"/>
                    <a:pt x="2246" y="1557"/>
                    <a:pt x="2277" y="1612"/>
                  </a:cubicBezTo>
                  <a:cubicBezTo>
                    <a:pt x="2301" y="1668"/>
                    <a:pt x="2293" y="1683"/>
                    <a:pt x="2333" y="1739"/>
                  </a:cubicBezTo>
                  <a:cubicBezTo>
                    <a:pt x="2364" y="1802"/>
                    <a:pt x="2419" y="1857"/>
                    <a:pt x="2451" y="1865"/>
                  </a:cubicBezTo>
                  <a:cubicBezTo>
                    <a:pt x="2475" y="1881"/>
                    <a:pt x="2514" y="1881"/>
                    <a:pt x="2499" y="1849"/>
                  </a:cubicBezTo>
                  <a:cubicBezTo>
                    <a:pt x="2483" y="1818"/>
                    <a:pt x="2451" y="1794"/>
                    <a:pt x="2483" y="1802"/>
                  </a:cubicBezTo>
                  <a:cubicBezTo>
                    <a:pt x="2514" y="1810"/>
                    <a:pt x="2514" y="1834"/>
                    <a:pt x="2530" y="1818"/>
                  </a:cubicBezTo>
                  <a:cubicBezTo>
                    <a:pt x="2554" y="1810"/>
                    <a:pt x="2570" y="1818"/>
                    <a:pt x="2554" y="1849"/>
                  </a:cubicBezTo>
                  <a:cubicBezTo>
                    <a:pt x="2546" y="1873"/>
                    <a:pt x="2538" y="1913"/>
                    <a:pt x="2554" y="1936"/>
                  </a:cubicBezTo>
                  <a:cubicBezTo>
                    <a:pt x="2562" y="1968"/>
                    <a:pt x="2601" y="2007"/>
                    <a:pt x="2609" y="1992"/>
                  </a:cubicBezTo>
                  <a:cubicBezTo>
                    <a:pt x="2617" y="1984"/>
                    <a:pt x="2625" y="1992"/>
                    <a:pt x="2625" y="2007"/>
                  </a:cubicBezTo>
                  <a:cubicBezTo>
                    <a:pt x="2625" y="2031"/>
                    <a:pt x="2625" y="2031"/>
                    <a:pt x="2649" y="2031"/>
                  </a:cubicBezTo>
                  <a:cubicBezTo>
                    <a:pt x="2664" y="2039"/>
                    <a:pt x="2664" y="2047"/>
                    <a:pt x="2672" y="2071"/>
                  </a:cubicBezTo>
                  <a:cubicBezTo>
                    <a:pt x="2672" y="2102"/>
                    <a:pt x="2696" y="2150"/>
                    <a:pt x="2728" y="2189"/>
                  </a:cubicBezTo>
                  <a:cubicBezTo>
                    <a:pt x="2752" y="2229"/>
                    <a:pt x="2752" y="2276"/>
                    <a:pt x="2783" y="2276"/>
                  </a:cubicBezTo>
                  <a:cubicBezTo>
                    <a:pt x="2815" y="2269"/>
                    <a:pt x="2862" y="2237"/>
                    <a:pt x="2902" y="2276"/>
                  </a:cubicBezTo>
                  <a:cubicBezTo>
                    <a:pt x="2941" y="2324"/>
                    <a:pt x="2981" y="2355"/>
                    <a:pt x="2997" y="2387"/>
                  </a:cubicBezTo>
                  <a:cubicBezTo>
                    <a:pt x="3012" y="2419"/>
                    <a:pt x="3036" y="2442"/>
                    <a:pt x="3052" y="2450"/>
                  </a:cubicBezTo>
                  <a:cubicBezTo>
                    <a:pt x="3068" y="2466"/>
                    <a:pt x="3107" y="2482"/>
                    <a:pt x="3123" y="2474"/>
                  </a:cubicBezTo>
                  <a:cubicBezTo>
                    <a:pt x="3139" y="2466"/>
                    <a:pt x="3147" y="2474"/>
                    <a:pt x="3131" y="2490"/>
                  </a:cubicBezTo>
                  <a:cubicBezTo>
                    <a:pt x="3123" y="2513"/>
                    <a:pt x="3123" y="2521"/>
                    <a:pt x="3099" y="2506"/>
                  </a:cubicBezTo>
                  <a:cubicBezTo>
                    <a:pt x="3083" y="2490"/>
                    <a:pt x="3060" y="2474"/>
                    <a:pt x="3052" y="2490"/>
                  </a:cubicBezTo>
                  <a:cubicBezTo>
                    <a:pt x="3036" y="2513"/>
                    <a:pt x="2997" y="2537"/>
                    <a:pt x="3060" y="2561"/>
                  </a:cubicBezTo>
                  <a:cubicBezTo>
                    <a:pt x="3123" y="2577"/>
                    <a:pt x="3099" y="2569"/>
                    <a:pt x="3131" y="2553"/>
                  </a:cubicBezTo>
                  <a:cubicBezTo>
                    <a:pt x="3163" y="2545"/>
                    <a:pt x="3147" y="2529"/>
                    <a:pt x="3194" y="2537"/>
                  </a:cubicBezTo>
                  <a:cubicBezTo>
                    <a:pt x="3242" y="2545"/>
                    <a:pt x="3250" y="2553"/>
                    <a:pt x="3257" y="2529"/>
                  </a:cubicBezTo>
                  <a:cubicBezTo>
                    <a:pt x="3265" y="2506"/>
                    <a:pt x="3281" y="2474"/>
                    <a:pt x="3313" y="2482"/>
                  </a:cubicBezTo>
                  <a:cubicBezTo>
                    <a:pt x="3344" y="2490"/>
                    <a:pt x="3368" y="2482"/>
                    <a:pt x="3360" y="2506"/>
                  </a:cubicBezTo>
                  <a:cubicBezTo>
                    <a:pt x="3352" y="2529"/>
                    <a:pt x="3336" y="2569"/>
                    <a:pt x="3313" y="2593"/>
                  </a:cubicBezTo>
                  <a:cubicBezTo>
                    <a:pt x="3297" y="2616"/>
                    <a:pt x="3281" y="2648"/>
                    <a:pt x="3297" y="2640"/>
                  </a:cubicBezTo>
                  <a:cubicBezTo>
                    <a:pt x="3321" y="2632"/>
                    <a:pt x="3329" y="2624"/>
                    <a:pt x="3352" y="2593"/>
                  </a:cubicBezTo>
                  <a:cubicBezTo>
                    <a:pt x="3368" y="2561"/>
                    <a:pt x="3423" y="2411"/>
                    <a:pt x="3416" y="2411"/>
                  </a:cubicBezTo>
                  <a:cubicBezTo>
                    <a:pt x="3408" y="2419"/>
                    <a:pt x="3408" y="2427"/>
                    <a:pt x="3400" y="2434"/>
                  </a:cubicBezTo>
                  <a:close/>
                  <a:moveTo>
                    <a:pt x="3321" y="1849"/>
                  </a:moveTo>
                  <a:lnTo>
                    <a:pt x="3321" y="1849"/>
                  </a:lnTo>
                  <a:cubicBezTo>
                    <a:pt x="3305" y="1865"/>
                    <a:pt x="3289" y="1873"/>
                    <a:pt x="3289" y="1913"/>
                  </a:cubicBezTo>
                  <a:cubicBezTo>
                    <a:pt x="3289" y="1952"/>
                    <a:pt x="3281" y="1936"/>
                    <a:pt x="3242" y="1929"/>
                  </a:cubicBezTo>
                  <a:cubicBezTo>
                    <a:pt x="3202" y="1929"/>
                    <a:pt x="3210" y="1913"/>
                    <a:pt x="3194" y="1881"/>
                  </a:cubicBezTo>
                  <a:cubicBezTo>
                    <a:pt x="3178" y="1857"/>
                    <a:pt x="3170" y="1865"/>
                    <a:pt x="3139" y="1849"/>
                  </a:cubicBezTo>
                  <a:cubicBezTo>
                    <a:pt x="3107" y="1841"/>
                    <a:pt x="3131" y="1826"/>
                    <a:pt x="3131" y="1810"/>
                  </a:cubicBezTo>
                  <a:cubicBezTo>
                    <a:pt x="3139" y="1794"/>
                    <a:pt x="3178" y="1754"/>
                    <a:pt x="3194" y="1747"/>
                  </a:cubicBezTo>
                  <a:cubicBezTo>
                    <a:pt x="3210" y="1739"/>
                    <a:pt x="3218" y="1723"/>
                    <a:pt x="3218" y="1707"/>
                  </a:cubicBezTo>
                  <a:cubicBezTo>
                    <a:pt x="3218" y="1699"/>
                    <a:pt x="3234" y="1683"/>
                    <a:pt x="3234" y="1683"/>
                  </a:cubicBezTo>
                  <a:cubicBezTo>
                    <a:pt x="3257" y="1676"/>
                    <a:pt x="3297" y="1747"/>
                    <a:pt x="3313" y="1778"/>
                  </a:cubicBezTo>
                  <a:cubicBezTo>
                    <a:pt x="3321" y="1802"/>
                    <a:pt x="3329" y="1841"/>
                    <a:pt x="3321" y="1849"/>
                  </a:cubicBezTo>
                  <a:close/>
                </a:path>
              </a:pathLst>
            </a:custGeom>
            <a:solidFill>
              <a:schemeClr val="accent5"/>
            </a:solidFill>
            <a:ln>
              <a:solidFill>
                <a:schemeClr val="bg1">
                  <a:lumMod val="95000"/>
                </a:schemeClr>
              </a:solidFill>
            </a:ln>
            <a:effectLst/>
          </p:spPr>
          <p:txBody>
            <a:bodyPr wrap="none" anchor="ctr"/>
            <a:lstStyle/>
            <a:p>
              <a:endParaRPr lang="en-US" sz="900"/>
            </a:p>
          </p:txBody>
        </p:sp>
        <p:sp>
          <p:nvSpPr>
            <p:cNvPr id="51" name="Freeform 385"/>
            <p:cNvSpPr>
              <a:spLocks noChangeArrowheads="1"/>
            </p:cNvSpPr>
            <p:nvPr/>
          </p:nvSpPr>
          <p:spPr bwMode="auto">
            <a:xfrm>
              <a:off x="14175838" y="7963495"/>
              <a:ext cx="1799781" cy="1389265"/>
            </a:xfrm>
            <a:custGeom>
              <a:avLst/>
              <a:gdLst>
                <a:gd name="T0" fmla="*/ 3249 w 3424"/>
                <a:gd name="T1" fmla="*/ 2529 h 2641"/>
                <a:gd name="T2" fmla="*/ 3004 w 3424"/>
                <a:gd name="T3" fmla="*/ 2537 h 2641"/>
                <a:gd name="T4" fmla="*/ 3107 w 3424"/>
                <a:gd name="T5" fmla="*/ 2474 h 2641"/>
                <a:gd name="T6" fmla="*/ 2704 w 3424"/>
                <a:gd name="T7" fmla="*/ 2189 h 2641"/>
                <a:gd name="T8" fmla="*/ 2538 w 3424"/>
                <a:gd name="T9" fmla="*/ 1841 h 2641"/>
                <a:gd name="T10" fmla="*/ 2467 w 3424"/>
                <a:gd name="T11" fmla="*/ 1881 h 2641"/>
                <a:gd name="T12" fmla="*/ 2222 w 3424"/>
                <a:gd name="T13" fmla="*/ 1565 h 2641"/>
                <a:gd name="T14" fmla="*/ 2214 w 3424"/>
                <a:gd name="T15" fmla="*/ 1343 h 2641"/>
                <a:gd name="T16" fmla="*/ 2119 w 3424"/>
                <a:gd name="T17" fmla="*/ 1336 h 2641"/>
                <a:gd name="T18" fmla="*/ 1992 w 3424"/>
                <a:gd name="T19" fmla="*/ 822 h 2641"/>
                <a:gd name="T20" fmla="*/ 1455 w 3424"/>
                <a:gd name="T21" fmla="*/ 466 h 2641"/>
                <a:gd name="T22" fmla="*/ 1289 w 3424"/>
                <a:gd name="T23" fmla="*/ 593 h 2641"/>
                <a:gd name="T24" fmla="*/ 1218 w 3424"/>
                <a:gd name="T25" fmla="*/ 648 h 2641"/>
                <a:gd name="T26" fmla="*/ 838 w 3424"/>
                <a:gd name="T27" fmla="*/ 545 h 2641"/>
                <a:gd name="T28" fmla="*/ 846 w 3424"/>
                <a:gd name="T29" fmla="*/ 442 h 2641"/>
                <a:gd name="T30" fmla="*/ 546 w 3424"/>
                <a:gd name="T31" fmla="*/ 450 h 2641"/>
                <a:gd name="T32" fmla="*/ 609 w 3424"/>
                <a:gd name="T33" fmla="*/ 403 h 2641"/>
                <a:gd name="T34" fmla="*/ 206 w 3424"/>
                <a:gd name="T35" fmla="*/ 513 h 2641"/>
                <a:gd name="T36" fmla="*/ 253 w 3424"/>
                <a:gd name="T37" fmla="*/ 411 h 2641"/>
                <a:gd name="T38" fmla="*/ 87 w 3424"/>
                <a:gd name="T39" fmla="*/ 521 h 2641"/>
                <a:gd name="T40" fmla="*/ 0 w 3424"/>
                <a:gd name="T41" fmla="*/ 237 h 2641"/>
                <a:gd name="T42" fmla="*/ 2222 w 3424"/>
                <a:gd name="T43" fmla="*/ 221 h 2641"/>
                <a:gd name="T44" fmla="*/ 2427 w 3424"/>
                <a:gd name="T45" fmla="*/ 23 h 2641"/>
                <a:gd name="T46" fmla="*/ 2546 w 3424"/>
                <a:gd name="T47" fmla="*/ 173 h 2641"/>
                <a:gd name="T48" fmla="*/ 3012 w 3424"/>
                <a:gd name="T49" fmla="*/ 996 h 2641"/>
                <a:gd name="T50" fmla="*/ 2949 w 3424"/>
                <a:gd name="T51" fmla="*/ 980 h 2641"/>
                <a:gd name="T52" fmla="*/ 3289 w 3424"/>
                <a:gd name="T53" fmla="*/ 1549 h 2641"/>
                <a:gd name="T54" fmla="*/ 3376 w 3424"/>
                <a:gd name="T55" fmla="*/ 2427 h 2641"/>
                <a:gd name="T56" fmla="*/ 3289 w 3424"/>
                <a:gd name="T57" fmla="*/ 2474 h 2641"/>
                <a:gd name="T58" fmla="*/ 3392 w 3424"/>
                <a:gd name="T59" fmla="*/ 2427 h 2641"/>
                <a:gd name="T60" fmla="*/ 3407 w 3424"/>
                <a:gd name="T61" fmla="*/ 1905 h 2641"/>
                <a:gd name="T62" fmla="*/ 2981 w 3424"/>
                <a:gd name="T63" fmla="*/ 1067 h 2641"/>
                <a:gd name="T64" fmla="*/ 2965 w 3424"/>
                <a:gd name="T65" fmla="*/ 940 h 2641"/>
                <a:gd name="T66" fmla="*/ 2925 w 3424"/>
                <a:gd name="T67" fmla="*/ 846 h 2641"/>
                <a:gd name="T68" fmla="*/ 2483 w 3424"/>
                <a:gd name="T69" fmla="*/ 15 h 2641"/>
                <a:gd name="T70" fmla="*/ 2230 w 3424"/>
                <a:gd name="T71" fmla="*/ 229 h 2641"/>
                <a:gd name="T72" fmla="*/ 79 w 3424"/>
                <a:gd name="T73" fmla="*/ 324 h 2641"/>
                <a:gd name="T74" fmla="*/ 190 w 3424"/>
                <a:gd name="T75" fmla="*/ 434 h 2641"/>
                <a:gd name="T76" fmla="*/ 253 w 3424"/>
                <a:gd name="T77" fmla="*/ 474 h 2641"/>
                <a:gd name="T78" fmla="*/ 498 w 3424"/>
                <a:gd name="T79" fmla="*/ 387 h 2641"/>
                <a:gd name="T80" fmla="*/ 474 w 3424"/>
                <a:gd name="T81" fmla="*/ 434 h 2641"/>
                <a:gd name="T82" fmla="*/ 791 w 3424"/>
                <a:gd name="T83" fmla="*/ 442 h 2641"/>
                <a:gd name="T84" fmla="*/ 838 w 3424"/>
                <a:gd name="T85" fmla="*/ 537 h 2641"/>
                <a:gd name="T86" fmla="*/ 1107 w 3424"/>
                <a:gd name="T87" fmla="*/ 687 h 2641"/>
                <a:gd name="T88" fmla="*/ 1265 w 3424"/>
                <a:gd name="T89" fmla="*/ 600 h 2641"/>
                <a:gd name="T90" fmla="*/ 1376 w 3424"/>
                <a:gd name="T91" fmla="*/ 498 h 2641"/>
                <a:gd name="T92" fmla="*/ 1921 w 3424"/>
                <a:gd name="T93" fmla="*/ 774 h 2641"/>
                <a:gd name="T94" fmla="*/ 2150 w 3424"/>
                <a:gd name="T95" fmla="*/ 1241 h 2641"/>
                <a:gd name="T96" fmla="*/ 2214 w 3424"/>
                <a:gd name="T97" fmla="*/ 1423 h 2641"/>
                <a:gd name="T98" fmla="*/ 2261 w 3424"/>
                <a:gd name="T99" fmla="*/ 1533 h 2641"/>
                <a:gd name="T100" fmla="*/ 2435 w 3424"/>
                <a:gd name="T101" fmla="*/ 1865 h 2641"/>
                <a:gd name="T102" fmla="*/ 2546 w 3424"/>
                <a:gd name="T103" fmla="*/ 1849 h 2641"/>
                <a:gd name="T104" fmla="*/ 2712 w 3424"/>
                <a:gd name="T105" fmla="*/ 2189 h 2641"/>
                <a:gd name="T106" fmla="*/ 3107 w 3424"/>
                <a:gd name="T107" fmla="*/ 2466 h 2641"/>
                <a:gd name="T108" fmla="*/ 3044 w 3424"/>
                <a:gd name="T109" fmla="*/ 2553 h 2641"/>
                <a:gd name="T110" fmla="*/ 3265 w 3424"/>
                <a:gd name="T111" fmla="*/ 1944 h 2641"/>
                <a:gd name="T112" fmla="*/ 3115 w 3424"/>
                <a:gd name="T113" fmla="*/ 1810 h 2641"/>
                <a:gd name="T114" fmla="*/ 3226 w 3424"/>
                <a:gd name="T115" fmla="*/ 1691 h 2641"/>
                <a:gd name="T116" fmla="*/ 3178 w 3424"/>
                <a:gd name="T117" fmla="*/ 188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24" h="2641">
                  <a:moveTo>
                    <a:pt x="3281" y="2640"/>
                  </a:moveTo>
                  <a:lnTo>
                    <a:pt x="3281" y="2640"/>
                  </a:lnTo>
                  <a:cubicBezTo>
                    <a:pt x="3273" y="2640"/>
                    <a:pt x="3273" y="2640"/>
                    <a:pt x="3273" y="2640"/>
                  </a:cubicBezTo>
                  <a:cubicBezTo>
                    <a:pt x="3273" y="2640"/>
                    <a:pt x="3265" y="2632"/>
                    <a:pt x="3297" y="2593"/>
                  </a:cubicBezTo>
                  <a:cubicBezTo>
                    <a:pt x="3313" y="2569"/>
                    <a:pt x="3336" y="2529"/>
                    <a:pt x="3344" y="2506"/>
                  </a:cubicBezTo>
                  <a:cubicBezTo>
                    <a:pt x="3344" y="2498"/>
                    <a:pt x="3344" y="2498"/>
                    <a:pt x="3344" y="2498"/>
                  </a:cubicBezTo>
                  <a:cubicBezTo>
                    <a:pt x="3336" y="2490"/>
                    <a:pt x="3328" y="2490"/>
                    <a:pt x="3320" y="2490"/>
                  </a:cubicBezTo>
                  <a:cubicBezTo>
                    <a:pt x="3313" y="2482"/>
                    <a:pt x="3305" y="2482"/>
                    <a:pt x="3297" y="2482"/>
                  </a:cubicBezTo>
                  <a:lnTo>
                    <a:pt x="3289" y="2482"/>
                  </a:lnTo>
                  <a:cubicBezTo>
                    <a:pt x="3265" y="2482"/>
                    <a:pt x="3257" y="2513"/>
                    <a:pt x="3249" y="2529"/>
                  </a:cubicBezTo>
                  <a:cubicBezTo>
                    <a:pt x="3241" y="2545"/>
                    <a:pt x="3234" y="2553"/>
                    <a:pt x="3218" y="2553"/>
                  </a:cubicBezTo>
                  <a:cubicBezTo>
                    <a:pt x="3210" y="2553"/>
                    <a:pt x="3202" y="2545"/>
                    <a:pt x="3178" y="2545"/>
                  </a:cubicBezTo>
                  <a:lnTo>
                    <a:pt x="3178" y="2545"/>
                  </a:lnTo>
                  <a:cubicBezTo>
                    <a:pt x="3170" y="2545"/>
                    <a:pt x="3162" y="2537"/>
                    <a:pt x="3154" y="2537"/>
                  </a:cubicBezTo>
                  <a:cubicBezTo>
                    <a:pt x="3147" y="2537"/>
                    <a:pt x="3139" y="2545"/>
                    <a:pt x="3139" y="2545"/>
                  </a:cubicBezTo>
                  <a:cubicBezTo>
                    <a:pt x="3131" y="2553"/>
                    <a:pt x="3123" y="2553"/>
                    <a:pt x="3115" y="2561"/>
                  </a:cubicBezTo>
                  <a:cubicBezTo>
                    <a:pt x="3107" y="2561"/>
                    <a:pt x="3099" y="2569"/>
                    <a:pt x="3099" y="2569"/>
                  </a:cubicBezTo>
                  <a:cubicBezTo>
                    <a:pt x="3099" y="2569"/>
                    <a:pt x="3091" y="2577"/>
                    <a:pt x="3083" y="2577"/>
                  </a:cubicBezTo>
                  <a:cubicBezTo>
                    <a:pt x="3083" y="2577"/>
                    <a:pt x="3067" y="2569"/>
                    <a:pt x="3044" y="2561"/>
                  </a:cubicBezTo>
                  <a:cubicBezTo>
                    <a:pt x="3020" y="2553"/>
                    <a:pt x="3004" y="2545"/>
                    <a:pt x="3004" y="2537"/>
                  </a:cubicBezTo>
                  <a:cubicBezTo>
                    <a:pt x="3004" y="2521"/>
                    <a:pt x="3012" y="2513"/>
                    <a:pt x="3020" y="2506"/>
                  </a:cubicBezTo>
                  <a:cubicBezTo>
                    <a:pt x="3020" y="2498"/>
                    <a:pt x="3028" y="2498"/>
                    <a:pt x="3028" y="2490"/>
                  </a:cubicBezTo>
                  <a:cubicBezTo>
                    <a:pt x="3036" y="2482"/>
                    <a:pt x="3044" y="2482"/>
                    <a:pt x="3052" y="2482"/>
                  </a:cubicBezTo>
                  <a:cubicBezTo>
                    <a:pt x="3060" y="2482"/>
                    <a:pt x="3076" y="2490"/>
                    <a:pt x="3091" y="2498"/>
                  </a:cubicBezTo>
                  <a:cubicBezTo>
                    <a:pt x="3099" y="2506"/>
                    <a:pt x="3099" y="2513"/>
                    <a:pt x="3099" y="2513"/>
                  </a:cubicBezTo>
                  <a:cubicBezTo>
                    <a:pt x="3107" y="2513"/>
                    <a:pt x="3107" y="2506"/>
                    <a:pt x="3107" y="2506"/>
                  </a:cubicBezTo>
                  <a:cubicBezTo>
                    <a:pt x="3107" y="2498"/>
                    <a:pt x="3115" y="2498"/>
                    <a:pt x="3115" y="2490"/>
                  </a:cubicBezTo>
                  <a:cubicBezTo>
                    <a:pt x="3123" y="2482"/>
                    <a:pt x="3123" y="2482"/>
                    <a:pt x="3123" y="2474"/>
                  </a:cubicBezTo>
                  <a:lnTo>
                    <a:pt x="3115" y="2474"/>
                  </a:lnTo>
                  <a:cubicBezTo>
                    <a:pt x="3115" y="2474"/>
                    <a:pt x="3115" y="2474"/>
                    <a:pt x="3107" y="2474"/>
                  </a:cubicBezTo>
                  <a:cubicBezTo>
                    <a:pt x="3107" y="2482"/>
                    <a:pt x="3099" y="2482"/>
                    <a:pt x="3091" y="2482"/>
                  </a:cubicBezTo>
                  <a:cubicBezTo>
                    <a:pt x="3076" y="2482"/>
                    <a:pt x="3052" y="2466"/>
                    <a:pt x="3036" y="2458"/>
                  </a:cubicBezTo>
                  <a:cubicBezTo>
                    <a:pt x="3036" y="2450"/>
                    <a:pt x="3028" y="2450"/>
                    <a:pt x="3028" y="2450"/>
                  </a:cubicBezTo>
                  <a:cubicBezTo>
                    <a:pt x="3012" y="2434"/>
                    <a:pt x="2988" y="2419"/>
                    <a:pt x="2973" y="2395"/>
                  </a:cubicBezTo>
                  <a:cubicBezTo>
                    <a:pt x="2957" y="2355"/>
                    <a:pt x="2925" y="2324"/>
                    <a:pt x="2886" y="2284"/>
                  </a:cubicBezTo>
                  <a:cubicBezTo>
                    <a:pt x="2870" y="2269"/>
                    <a:pt x="2854" y="2260"/>
                    <a:pt x="2838" y="2260"/>
                  </a:cubicBezTo>
                  <a:cubicBezTo>
                    <a:pt x="2823" y="2260"/>
                    <a:pt x="2807" y="2269"/>
                    <a:pt x="2799" y="2269"/>
                  </a:cubicBezTo>
                  <a:cubicBezTo>
                    <a:pt x="2783" y="2269"/>
                    <a:pt x="2775" y="2276"/>
                    <a:pt x="2767" y="2276"/>
                  </a:cubicBezTo>
                  <a:cubicBezTo>
                    <a:pt x="2743" y="2276"/>
                    <a:pt x="2736" y="2260"/>
                    <a:pt x="2728" y="2237"/>
                  </a:cubicBezTo>
                  <a:cubicBezTo>
                    <a:pt x="2720" y="2221"/>
                    <a:pt x="2720" y="2205"/>
                    <a:pt x="2704" y="2189"/>
                  </a:cubicBezTo>
                  <a:cubicBezTo>
                    <a:pt x="2680" y="2158"/>
                    <a:pt x="2656" y="2102"/>
                    <a:pt x="2648" y="2071"/>
                  </a:cubicBezTo>
                  <a:lnTo>
                    <a:pt x="2648" y="2071"/>
                  </a:lnTo>
                  <a:cubicBezTo>
                    <a:pt x="2648" y="2047"/>
                    <a:pt x="2648" y="2047"/>
                    <a:pt x="2633" y="2039"/>
                  </a:cubicBezTo>
                  <a:cubicBezTo>
                    <a:pt x="2625" y="2039"/>
                    <a:pt x="2625" y="2039"/>
                    <a:pt x="2625" y="2039"/>
                  </a:cubicBezTo>
                  <a:cubicBezTo>
                    <a:pt x="2609" y="2031"/>
                    <a:pt x="2601" y="2031"/>
                    <a:pt x="2601" y="2007"/>
                  </a:cubicBezTo>
                  <a:cubicBezTo>
                    <a:pt x="2601" y="2000"/>
                    <a:pt x="2601" y="1992"/>
                    <a:pt x="2601" y="1992"/>
                  </a:cubicBezTo>
                  <a:cubicBezTo>
                    <a:pt x="2601" y="1992"/>
                    <a:pt x="2601" y="1992"/>
                    <a:pt x="2593" y="2000"/>
                  </a:cubicBezTo>
                  <a:cubicBezTo>
                    <a:pt x="2593" y="2000"/>
                    <a:pt x="2593" y="2000"/>
                    <a:pt x="2585" y="2000"/>
                  </a:cubicBezTo>
                  <a:cubicBezTo>
                    <a:pt x="2570" y="2000"/>
                    <a:pt x="2538" y="1960"/>
                    <a:pt x="2530" y="1936"/>
                  </a:cubicBezTo>
                  <a:cubicBezTo>
                    <a:pt x="2522" y="1913"/>
                    <a:pt x="2522" y="1873"/>
                    <a:pt x="2538" y="1841"/>
                  </a:cubicBezTo>
                  <a:cubicBezTo>
                    <a:pt x="2538" y="1834"/>
                    <a:pt x="2538" y="1826"/>
                    <a:pt x="2538" y="1826"/>
                  </a:cubicBezTo>
                  <a:cubicBezTo>
                    <a:pt x="2538" y="1818"/>
                    <a:pt x="2530" y="1818"/>
                    <a:pt x="2514" y="1826"/>
                  </a:cubicBezTo>
                  <a:cubicBezTo>
                    <a:pt x="2514" y="1826"/>
                    <a:pt x="2514" y="1826"/>
                    <a:pt x="2506" y="1826"/>
                  </a:cubicBezTo>
                  <a:cubicBezTo>
                    <a:pt x="2498" y="1826"/>
                    <a:pt x="2498" y="1826"/>
                    <a:pt x="2490" y="1818"/>
                  </a:cubicBezTo>
                  <a:cubicBezTo>
                    <a:pt x="2483" y="1818"/>
                    <a:pt x="2475" y="1810"/>
                    <a:pt x="2467" y="1802"/>
                  </a:cubicBezTo>
                  <a:cubicBezTo>
                    <a:pt x="2459" y="1802"/>
                    <a:pt x="2459" y="1802"/>
                    <a:pt x="2459" y="1802"/>
                  </a:cubicBezTo>
                  <a:cubicBezTo>
                    <a:pt x="2459" y="1810"/>
                    <a:pt x="2467" y="1810"/>
                    <a:pt x="2467" y="1818"/>
                  </a:cubicBezTo>
                  <a:cubicBezTo>
                    <a:pt x="2475" y="1826"/>
                    <a:pt x="2483" y="1834"/>
                    <a:pt x="2483" y="1849"/>
                  </a:cubicBezTo>
                  <a:cubicBezTo>
                    <a:pt x="2490" y="1857"/>
                    <a:pt x="2490" y="1865"/>
                    <a:pt x="2490" y="1873"/>
                  </a:cubicBezTo>
                  <a:cubicBezTo>
                    <a:pt x="2483" y="1873"/>
                    <a:pt x="2475" y="1881"/>
                    <a:pt x="2467" y="1881"/>
                  </a:cubicBezTo>
                  <a:cubicBezTo>
                    <a:pt x="2459" y="1881"/>
                    <a:pt x="2443" y="1873"/>
                    <a:pt x="2427" y="1873"/>
                  </a:cubicBezTo>
                  <a:cubicBezTo>
                    <a:pt x="2403" y="1857"/>
                    <a:pt x="2348" y="1802"/>
                    <a:pt x="2308" y="1747"/>
                  </a:cubicBezTo>
                  <a:cubicBezTo>
                    <a:pt x="2293" y="1707"/>
                    <a:pt x="2285" y="1691"/>
                    <a:pt x="2277" y="1668"/>
                  </a:cubicBezTo>
                  <a:cubicBezTo>
                    <a:pt x="2269" y="1652"/>
                    <a:pt x="2269" y="1636"/>
                    <a:pt x="2253" y="1612"/>
                  </a:cubicBezTo>
                  <a:cubicBezTo>
                    <a:pt x="2245" y="1596"/>
                    <a:pt x="2245" y="1589"/>
                    <a:pt x="2237" y="1589"/>
                  </a:cubicBezTo>
                  <a:lnTo>
                    <a:pt x="2230" y="1589"/>
                  </a:lnTo>
                  <a:cubicBezTo>
                    <a:pt x="2230" y="1596"/>
                    <a:pt x="2222" y="1596"/>
                    <a:pt x="2214" y="1596"/>
                  </a:cubicBezTo>
                  <a:cubicBezTo>
                    <a:pt x="2214" y="1596"/>
                    <a:pt x="2206" y="1596"/>
                    <a:pt x="2206" y="1589"/>
                  </a:cubicBezTo>
                  <a:cubicBezTo>
                    <a:pt x="2198" y="1589"/>
                    <a:pt x="2190" y="1581"/>
                    <a:pt x="2198" y="1581"/>
                  </a:cubicBezTo>
                  <a:cubicBezTo>
                    <a:pt x="2198" y="1573"/>
                    <a:pt x="2206" y="1565"/>
                    <a:pt x="2222" y="1565"/>
                  </a:cubicBezTo>
                  <a:lnTo>
                    <a:pt x="2230" y="1565"/>
                  </a:lnTo>
                  <a:cubicBezTo>
                    <a:pt x="2245" y="1557"/>
                    <a:pt x="2253" y="1549"/>
                    <a:pt x="2253" y="1533"/>
                  </a:cubicBezTo>
                  <a:cubicBezTo>
                    <a:pt x="2253" y="1517"/>
                    <a:pt x="2269" y="1502"/>
                    <a:pt x="2277" y="1478"/>
                  </a:cubicBezTo>
                  <a:cubicBezTo>
                    <a:pt x="2285" y="1462"/>
                    <a:pt x="2301" y="1438"/>
                    <a:pt x="2301" y="1423"/>
                  </a:cubicBezTo>
                  <a:cubicBezTo>
                    <a:pt x="2301" y="1415"/>
                    <a:pt x="2308" y="1399"/>
                    <a:pt x="2301" y="1399"/>
                  </a:cubicBezTo>
                  <a:cubicBezTo>
                    <a:pt x="2301" y="1391"/>
                    <a:pt x="2293" y="1391"/>
                    <a:pt x="2293" y="1391"/>
                  </a:cubicBezTo>
                  <a:cubicBezTo>
                    <a:pt x="2285" y="1391"/>
                    <a:pt x="2285" y="1391"/>
                    <a:pt x="2277" y="1391"/>
                  </a:cubicBezTo>
                  <a:cubicBezTo>
                    <a:pt x="2269" y="1391"/>
                    <a:pt x="2269" y="1391"/>
                    <a:pt x="2269" y="1391"/>
                  </a:cubicBezTo>
                  <a:cubicBezTo>
                    <a:pt x="2253" y="1391"/>
                    <a:pt x="2245" y="1391"/>
                    <a:pt x="2230" y="1359"/>
                  </a:cubicBezTo>
                  <a:cubicBezTo>
                    <a:pt x="2222" y="1351"/>
                    <a:pt x="2214" y="1343"/>
                    <a:pt x="2214" y="1343"/>
                  </a:cubicBezTo>
                  <a:cubicBezTo>
                    <a:pt x="2206" y="1343"/>
                    <a:pt x="2206" y="1351"/>
                    <a:pt x="2206" y="1367"/>
                  </a:cubicBezTo>
                  <a:cubicBezTo>
                    <a:pt x="2206" y="1383"/>
                    <a:pt x="2214" y="1399"/>
                    <a:pt x="2222" y="1423"/>
                  </a:cubicBezTo>
                  <a:cubicBezTo>
                    <a:pt x="2222" y="1430"/>
                    <a:pt x="2230" y="1438"/>
                    <a:pt x="2237" y="1454"/>
                  </a:cubicBezTo>
                  <a:cubicBezTo>
                    <a:pt x="2237" y="1462"/>
                    <a:pt x="2237" y="1470"/>
                    <a:pt x="2230" y="1478"/>
                  </a:cubicBezTo>
                  <a:cubicBezTo>
                    <a:pt x="2222" y="1486"/>
                    <a:pt x="2206" y="1486"/>
                    <a:pt x="2190" y="1486"/>
                  </a:cubicBezTo>
                  <a:cubicBezTo>
                    <a:pt x="2182" y="1486"/>
                    <a:pt x="2182" y="1486"/>
                    <a:pt x="2182" y="1486"/>
                  </a:cubicBezTo>
                  <a:cubicBezTo>
                    <a:pt x="2174" y="1494"/>
                    <a:pt x="2166" y="1486"/>
                    <a:pt x="2158" y="1478"/>
                  </a:cubicBezTo>
                  <a:cubicBezTo>
                    <a:pt x="2150" y="1470"/>
                    <a:pt x="2143" y="1446"/>
                    <a:pt x="2143" y="1415"/>
                  </a:cubicBezTo>
                  <a:cubicBezTo>
                    <a:pt x="2143" y="1391"/>
                    <a:pt x="2135" y="1383"/>
                    <a:pt x="2135" y="1367"/>
                  </a:cubicBezTo>
                  <a:cubicBezTo>
                    <a:pt x="2127" y="1359"/>
                    <a:pt x="2127" y="1351"/>
                    <a:pt x="2119" y="1336"/>
                  </a:cubicBezTo>
                  <a:cubicBezTo>
                    <a:pt x="2119" y="1312"/>
                    <a:pt x="2127" y="1296"/>
                    <a:pt x="2135" y="1280"/>
                  </a:cubicBezTo>
                  <a:cubicBezTo>
                    <a:pt x="2135" y="1264"/>
                    <a:pt x="2143" y="1256"/>
                    <a:pt x="2143" y="1241"/>
                  </a:cubicBezTo>
                  <a:cubicBezTo>
                    <a:pt x="2143" y="1225"/>
                    <a:pt x="2143" y="1209"/>
                    <a:pt x="2150" y="1201"/>
                  </a:cubicBezTo>
                  <a:cubicBezTo>
                    <a:pt x="2150" y="1170"/>
                    <a:pt x="2150" y="1138"/>
                    <a:pt x="2158" y="1106"/>
                  </a:cubicBezTo>
                  <a:cubicBezTo>
                    <a:pt x="2166" y="1067"/>
                    <a:pt x="2158" y="1035"/>
                    <a:pt x="2150" y="1003"/>
                  </a:cubicBezTo>
                  <a:cubicBezTo>
                    <a:pt x="2150" y="1003"/>
                    <a:pt x="2150" y="996"/>
                    <a:pt x="2150" y="988"/>
                  </a:cubicBezTo>
                  <a:cubicBezTo>
                    <a:pt x="2150" y="988"/>
                    <a:pt x="2150" y="980"/>
                    <a:pt x="2143" y="972"/>
                  </a:cubicBezTo>
                  <a:cubicBezTo>
                    <a:pt x="2143" y="948"/>
                    <a:pt x="2143" y="940"/>
                    <a:pt x="2119" y="932"/>
                  </a:cubicBezTo>
                  <a:cubicBezTo>
                    <a:pt x="2095" y="924"/>
                    <a:pt x="2079" y="893"/>
                    <a:pt x="2071" y="861"/>
                  </a:cubicBezTo>
                  <a:cubicBezTo>
                    <a:pt x="2064" y="822"/>
                    <a:pt x="2055" y="822"/>
                    <a:pt x="1992" y="822"/>
                  </a:cubicBezTo>
                  <a:cubicBezTo>
                    <a:pt x="1984" y="822"/>
                    <a:pt x="1984" y="822"/>
                    <a:pt x="1984" y="822"/>
                  </a:cubicBezTo>
                  <a:cubicBezTo>
                    <a:pt x="1945" y="822"/>
                    <a:pt x="1929" y="798"/>
                    <a:pt x="1913" y="782"/>
                  </a:cubicBezTo>
                  <a:cubicBezTo>
                    <a:pt x="1905" y="766"/>
                    <a:pt x="1890" y="750"/>
                    <a:pt x="1874" y="743"/>
                  </a:cubicBezTo>
                  <a:cubicBezTo>
                    <a:pt x="1826" y="711"/>
                    <a:pt x="1811" y="695"/>
                    <a:pt x="1787" y="664"/>
                  </a:cubicBezTo>
                  <a:cubicBezTo>
                    <a:pt x="1787" y="656"/>
                    <a:pt x="1779" y="648"/>
                    <a:pt x="1779" y="648"/>
                  </a:cubicBezTo>
                  <a:cubicBezTo>
                    <a:pt x="1771" y="632"/>
                    <a:pt x="1771" y="632"/>
                    <a:pt x="1747" y="624"/>
                  </a:cubicBezTo>
                  <a:cubicBezTo>
                    <a:pt x="1739" y="616"/>
                    <a:pt x="1708" y="600"/>
                    <a:pt x="1684" y="569"/>
                  </a:cubicBezTo>
                  <a:cubicBezTo>
                    <a:pt x="1653" y="545"/>
                    <a:pt x="1621" y="513"/>
                    <a:pt x="1597" y="506"/>
                  </a:cubicBezTo>
                  <a:cubicBezTo>
                    <a:pt x="1589" y="506"/>
                    <a:pt x="1589" y="506"/>
                    <a:pt x="1581" y="506"/>
                  </a:cubicBezTo>
                  <a:cubicBezTo>
                    <a:pt x="1550" y="482"/>
                    <a:pt x="1518" y="474"/>
                    <a:pt x="1455" y="466"/>
                  </a:cubicBezTo>
                  <a:cubicBezTo>
                    <a:pt x="1447" y="466"/>
                    <a:pt x="1439" y="466"/>
                    <a:pt x="1431" y="466"/>
                  </a:cubicBezTo>
                  <a:cubicBezTo>
                    <a:pt x="1407" y="466"/>
                    <a:pt x="1407" y="466"/>
                    <a:pt x="1400" y="474"/>
                  </a:cubicBezTo>
                  <a:cubicBezTo>
                    <a:pt x="1400" y="482"/>
                    <a:pt x="1391" y="490"/>
                    <a:pt x="1384" y="498"/>
                  </a:cubicBezTo>
                  <a:cubicBezTo>
                    <a:pt x="1368" y="506"/>
                    <a:pt x="1368" y="513"/>
                    <a:pt x="1368" y="521"/>
                  </a:cubicBezTo>
                  <a:cubicBezTo>
                    <a:pt x="1368" y="521"/>
                    <a:pt x="1368" y="529"/>
                    <a:pt x="1376" y="529"/>
                  </a:cubicBezTo>
                  <a:cubicBezTo>
                    <a:pt x="1384" y="537"/>
                    <a:pt x="1384" y="537"/>
                    <a:pt x="1391" y="545"/>
                  </a:cubicBezTo>
                  <a:cubicBezTo>
                    <a:pt x="1391" y="553"/>
                    <a:pt x="1391" y="553"/>
                    <a:pt x="1391" y="561"/>
                  </a:cubicBezTo>
                  <a:cubicBezTo>
                    <a:pt x="1384" y="569"/>
                    <a:pt x="1376" y="569"/>
                    <a:pt x="1360" y="569"/>
                  </a:cubicBezTo>
                  <a:cubicBezTo>
                    <a:pt x="1352" y="569"/>
                    <a:pt x="1344" y="569"/>
                    <a:pt x="1336" y="569"/>
                  </a:cubicBezTo>
                  <a:cubicBezTo>
                    <a:pt x="1313" y="569"/>
                    <a:pt x="1297" y="577"/>
                    <a:pt x="1289" y="593"/>
                  </a:cubicBezTo>
                  <a:cubicBezTo>
                    <a:pt x="1281" y="593"/>
                    <a:pt x="1281" y="600"/>
                    <a:pt x="1273" y="600"/>
                  </a:cubicBezTo>
                  <a:cubicBezTo>
                    <a:pt x="1273" y="600"/>
                    <a:pt x="1265" y="600"/>
                    <a:pt x="1265" y="608"/>
                  </a:cubicBezTo>
                  <a:cubicBezTo>
                    <a:pt x="1257" y="608"/>
                    <a:pt x="1249" y="616"/>
                    <a:pt x="1249" y="640"/>
                  </a:cubicBezTo>
                  <a:cubicBezTo>
                    <a:pt x="1249" y="687"/>
                    <a:pt x="1170" y="727"/>
                    <a:pt x="1154" y="743"/>
                  </a:cubicBezTo>
                  <a:cubicBezTo>
                    <a:pt x="1147" y="743"/>
                    <a:pt x="1138" y="743"/>
                    <a:pt x="1131" y="743"/>
                  </a:cubicBezTo>
                  <a:cubicBezTo>
                    <a:pt x="1123" y="743"/>
                    <a:pt x="1123" y="743"/>
                    <a:pt x="1115" y="735"/>
                  </a:cubicBezTo>
                  <a:cubicBezTo>
                    <a:pt x="1115" y="735"/>
                    <a:pt x="1115" y="727"/>
                    <a:pt x="1123" y="719"/>
                  </a:cubicBezTo>
                  <a:cubicBezTo>
                    <a:pt x="1147" y="703"/>
                    <a:pt x="1170" y="695"/>
                    <a:pt x="1194" y="679"/>
                  </a:cubicBezTo>
                  <a:cubicBezTo>
                    <a:pt x="1218" y="672"/>
                    <a:pt x="1225" y="656"/>
                    <a:pt x="1225" y="656"/>
                  </a:cubicBezTo>
                  <a:cubicBezTo>
                    <a:pt x="1225" y="648"/>
                    <a:pt x="1225" y="648"/>
                    <a:pt x="1218" y="648"/>
                  </a:cubicBezTo>
                  <a:lnTo>
                    <a:pt x="1218" y="648"/>
                  </a:lnTo>
                  <a:cubicBezTo>
                    <a:pt x="1210" y="648"/>
                    <a:pt x="1202" y="656"/>
                    <a:pt x="1186" y="664"/>
                  </a:cubicBezTo>
                  <a:cubicBezTo>
                    <a:pt x="1162" y="672"/>
                    <a:pt x="1131" y="687"/>
                    <a:pt x="1107" y="695"/>
                  </a:cubicBezTo>
                  <a:cubicBezTo>
                    <a:pt x="1091" y="703"/>
                    <a:pt x="1075" y="703"/>
                    <a:pt x="1060" y="711"/>
                  </a:cubicBezTo>
                  <a:cubicBezTo>
                    <a:pt x="1028" y="719"/>
                    <a:pt x="1004" y="727"/>
                    <a:pt x="988" y="719"/>
                  </a:cubicBezTo>
                  <a:cubicBezTo>
                    <a:pt x="973" y="711"/>
                    <a:pt x="949" y="687"/>
                    <a:pt x="949" y="672"/>
                  </a:cubicBezTo>
                  <a:cubicBezTo>
                    <a:pt x="941" y="672"/>
                    <a:pt x="941" y="664"/>
                    <a:pt x="941" y="664"/>
                  </a:cubicBezTo>
                  <a:cubicBezTo>
                    <a:pt x="949" y="656"/>
                    <a:pt x="949" y="656"/>
                    <a:pt x="957" y="656"/>
                  </a:cubicBezTo>
                  <a:cubicBezTo>
                    <a:pt x="965" y="648"/>
                    <a:pt x="965" y="648"/>
                    <a:pt x="965" y="640"/>
                  </a:cubicBezTo>
                  <a:cubicBezTo>
                    <a:pt x="965" y="640"/>
                    <a:pt x="957" y="616"/>
                    <a:pt x="838" y="545"/>
                  </a:cubicBezTo>
                  <a:cubicBezTo>
                    <a:pt x="830" y="545"/>
                    <a:pt x="830" y="545"/>
                    <a:pt x="830" y="545"/>
                  </a:cubicBezTo>
                  <a:lnTo>
                    <a:pt x="830" y="545"/>
                  </a:lnTo>
                  <a:cubicBezTo>
                    <a:pt x="822" y="537"/>
                    <a:pt x="830" y="537"/>
                    <a:pt x="838" y="529"/>
                  </a:cubicBezTo>
                  <a:cubicBezTo>
                    <a:pt x="838" y="521"/>
                    <a:pt x="846" y="521"/>
                    <a:pt x="838" y="513"/>
                  </a:cubicBezTo>
                  <a:lnTo>
                    <a:pt x="838" y="513"/>
                  </a:lnTo>
                  <a:cubicBezTo>
                    <a:pt x="830" y="506"/>
                    <a:pt x="830" y="498"/>
                    <a:pt x="822" y="482"/>
                  </a:cubicBezTo>
                  <a:cubicBezTo>
                    <a:pt x="814" y="466"/>
                    <a:pt x="830" y="458"/>
                    <a:pt x="838" y="458"/>
                  </a:cubicBezTo>
                  <a:cubicBezTo>
                    <a:pt x="846" y="450"/>
                    <a:pt x="854" y="450"/>
                    <a:pt x="854" y="442"/>
                  </a:cubicBezTo>
                  <a:lnTo>
                    <a:pt x="854" y="442"/>
                  </a:lnTo>
                  <a:cubicBezTo>
                    <a:pt x="846" y="442"/>
                    <a:pt x="846" y="442"/>
                    <a:pt x="846" y="442"/>
                  </a:cubicBezTo>
                  <a:cubicBezTo>
                    <a:pt x="838" y="450"/>
                    <a:pt x="822" y="458"/>
                    <a:pt x="814" y="450"/>
                  </a:cubicBezTo>
                  <a:cubicBezTo>
                    <a:pt x="807" y="450"/>
                    <a:pt x="799" y="450"/>
                    <a:pt x="799" y="450"/>
                  </a:cubicBezTo>
                  <a:cubicBezTo>
                    <a:pt x="791" y="450"/>
                    <a:pt x="791" y="450"/>
                    <a:pt x="775" y="466"/>
                  </a:cubicBezTo>
                  <a:cubicBezTo>
                    <a:pt x="775" y="474"/>
                    <a:pt x="775" y="474"/>
                    <a:pt x="775" y="474"/>
                  </a:cubicBezTo>
                  <a:cubicBezTo>
                    <a:pt x="775" y="482"/>
                    <a:pt x="783" y="482"/>
                    <a:pt x="783" y="490"/>
                  </a:cubicBezTo>
                  <a:cubicBezTo>
                    <a:pt x="799" y="490"/>
                    <a:pt x="807" y="498"/>
                    <a:pt x="814" y="506"/>
                  </a:cubicBezTo>
                  <a:cubicBezTo>
                    <a:pt x="822" y="529"/>
                    <a:pt x="814" y="537"/>
                    <a:pt x="814" y="537"/>
                  </a:cubicBezTo>
                  <a:lnTo>
                    <a:pt x="814" y="537"/>
                  </a:lnTo>
                  <a:cubicBezTo>
                    <a:pt x="807" y="537"/>
                    <a:pt x="807" y="537"/>
                    <a:pt x="799" y="529"/>
                  </a:cubicBezTo>
                  <a:cubicBezTo>
                    <a:pt x="775" y="506"/>
                    <a:pt x="585" y="450"/>
                    <a:pt x="546" y="450"/>
                  </a:cubicBezTo>
                  <a:cubicBezTo>
                    <a:pt x="538" y="450"/>
                    <a:pt x="530" y="450"/>
                    <a:pt x="522" y="450"/>
                  </a:cubicBezTo>
                  <a:cubicBezTo>
                    <a:pt x="514" y="450"/>
                    <a:pt x="514" y="450"/>
                    <a:pt x="506" y="450"/>
                  </a:cubicBezTo>
                  <a:cubicBezTo>
                    <a:pt x="490" y="450"/>
                    <a:pt x="482" y="450"/>
                    <a:pt x="474" y="442"/>
                  </a:cubicBezTo>
                  <a:cubicBezTo>
                    <a:pt x="474" y="434"/>
                    <a:pt x="467" y="434"/>
                    <a:pt x="467" y="426"/>
                  </a:cubicBezTo>
                  <a:cubicBezTo>
                    <a:pt x="467" y="426"/>
                    <a:pt x="474" y="426"/>
                    <a:pt x="490" y="419"/>
                  </a:cubicBezTo>
                  <a:cubicBezTo>
                    <a:pt x="506" y="419"/>
                    <a:pt x="522" y="419"/>
                    <a:pt x="530" y="411"/>
                  </a:cubicBezTo>
                  <a:cubicBezTo>
                    <a:pt x="538" y="403"/>
                    <a:pt x="546" y="403"/>
                    <a:pt x="554" y="403"/>
                  </a:cubicBezTo>
                  <a:cubicBezTo>
                    <a:pt x="561" y="403"/>
                    <a:pt x="561" y="403"/>
                    <a:pt x="569" y="403"/>
                  </a:cubicBezTo>
                  <a:cubicBezTo>
                    <a:pt x="577" y="403"/>
                    <a:pt x="585" y="403"/>
                    <a:pt x="593" y="403"/>
                  </a:cubicBezTo>
                  <a:cubicBezTo>
                    <a:pt x="601" y="403"/>
                    <a:pt x="609" y="403"/>
                    <a:pt x="609" y="403"/>
                  </a:cubicBezTo>
                  <a:cubicBezTo>
                    <a:pt x="609" y="403"/>
                    <a:pt x="593" y="395"/>
                    <a:pt x="577" y="387"/>
                  </a:cubicBezTo>
                  <a:cubicBezTo>
                    <a:pt x="569" y="387"/>
                    <a:pt x="569" y="387"/>
                    <a:pt x="561" y="387"/>
                  </a:cubicBezTo>
                  <a:cubicBezTo>
                    <a:pt x="554" y="387"/>
                    <a:pt x="546" y="387"/>
                    <a:pt x="538" y="395"/>
                  </a:cubicBezTo>
                  <a:cubicBezTo>
                    <a:pt x="522" y="395"/>
                    <a:pt x="514" y="395"/>
                    <a:pt x="498" y="395"/>
                  </a:cubicBezTo>
                  <a:cubicBezTo>
                    <a:pt x="467" y="395"/>
                    <a:pt x="467" y="403"/>
                    <a:pt x="467" y="411"/>
                  </a:cubicBezTo>
                  <a:cubicBezTo>
                    <a:pt x="459" y="419"/>
                    <a:pt x="459" y="426"/>
                    <a:pt x="451" y="434"/>
                  </a:cubicBezTo>
                  <a:cubicBezTo>
                    <a:pt x="435" y="458"/>
                    <a:pt x="380" y="466"/>
                    <a:pt x="324" y="482"/>
                  </a:cubicBezTo>
                  <a:cubicBezTo>
                    <a:pt x="316" y="482"/>
                    <a:pt x="308" y="482"/>
                    <a:pt x="301" y="482"/>
                  </a:cubicBezTo>
                  <a:cubicBezTo>
                    <a:pt x="277" y="490"/>
                    <a:pt x="261" y="498"/>
                    <a:pt x="245" y="498"/>
                  </a:cubicBezTo>
                  <a:cubicBezTo>
                    <a:pt x="230" y="506"/>
                    <a:pt x="221" y="513"/>
                    <a:pt x="206" y="513"/>
                  </a:cubicBezTo>
                  <a:lnTo>
                    <a:pt x="198" y="513"/>
                  </a:lnTo>
                  <a:cubicBezTo>
                    <a:pt x="190" y="506"/>
                    <a:pt x="182" y="506"/>
                    <a:pt x="182" y="506"/>
                  </a:cubicBezTo>
                  <a:cubicBezTo>
                    <a:pt x="182" y="498"/>
                    <a:pt x="190" y="498"/>
                    <a:pt x="206" y="490"/>
                  </a:cubicBezTo>
                  <a:cubicBezTo>
                    <a:pt x="221" y="482"/>
                    <a:pt x="230" y="482"/>
                    <a:pt x="237" y="474"/>
                  </a:cubicBezTo>
                  <a:cubicBezTo>
                    <a:pt x="245" y="474"/>
                    <a:pt x="245" y="466"/>
                    <a:pt x="245" y="466"/>
                  </a:cubicBezTo>
                  <a:cubicBezTo>
                    <a:pt x="253" y="458"/>
                    <a:pt x="261" y="450"/>
                    <a:pt x="293" y="442"/>
                  </a:cubicBezTo>
                  <a:lnTo>
                    <a:pt x="301" y="442"/>
                  </a:lnTo>
                  <a:cubicBezTo>
                    <a:pt x="301" y="434"/>
                    <a:pt x="293" y="419"/>
                    <a:pt x="269" y="403"/>
                  </a:cubicBezTo>
                  <a:cubicBezTo>
                    <a:pt x="261" y="403"/>
                    <a:pt x="261" y="403"/>
                    <a:pt x="261" y="403"/>
                  </a:cubicBezTo>
                  <a:cubicBezTo>
                    <a:pt x="253" y="403"/>
                    <a:pt x="253" y="403"/>
                    <a:pt x="253" y="411"/>
                  </a:cubicBezTo>
                  <a:cubicBezTo>
                    <a:pt x="253" y="419"/>
                    <a:pt x="253" y="426"/>
                    <a:pt x="245" y="426"/>
                  </a:cubicBezTo>
                  <a:lnTo>
                    <a:pt x="245" y="426"/>
                  </a:lnTo>
                  <a:cubicBezTo>
                    <a:pt x="237" y="426"/>
                    <a:pt x="230" y="426"/>
                    <a:pt x="230" y="419"/>
                  </a:cubicBezTo>
                  <a:cubicBezTo>
                    <a:pt x="221" y="419"/>
                    <a:pt x="214" y="411"/>
                    <a:pt x="206" y="411"/>
                  </a:cubicBezTo>
                  <a:cubicBezTo>
                    <a:pt x="198" y="419"/>
                    <a:pt x="198" y="419"/>
                    <a:pt x="198" y="434"/>
                  </a:cubicBezTo>
                  <a:cubicBezTo>
                    <a:pt x="198" y="442"/>
                    <a:pt x="198" y="458"/>
                    <a:pt x="182" y="474"/>
                  </a:cubicBezTo>
                  <a:cubicBezTo>
                    <a:pt x="174" y="498"/>
                    <a:pt x="166" y="498"/>
                    <a:pt x="150" y="506"/>
                  </a:cubicBezTo>
                  <a:cubicBezTo>
                    <a:pt x="142" y="513"/>
                    <a:pt x="142" y="521"/>
                    <a:pt x="135" y="529"/>
                  </a:cubicBezTo>
                  <a:cubicBezTo>
                    <a:pt x="127" y="529"/>
                    <a:pt x="119" y="537"/>
                    <a:pt x="111" y="537"/>
                  </a:cubicBezTo>
                  <a:cubicBezTo>
                    <a:pt x="103" y="537"/>
                    <a:pt x="95" y="529"/>
                    <a:pt x="87" y="521"/>
                  </a:cubicBezTo>
                  <a:lnTo>
                    <a:pt x="87" y="521"/>
                  </a:lnTo>
                  <a:cubicBezTo>
                    <a:pt x="87" y="513"/>
                    <a:pt x="87" y="513"/>
                    <a:pt x="87" y="513"/>
                  </a:cubicBezTo>
                  <a:cubicBezTo>
                    <a:pt x="95" y="498"/>
                    <a:pt x="111" y="466"/>
                    <a:pt x="111" y="458"/>
                  </a:cubicBezTo>
                  <a:cubicBezTo>
                    <a:pt x="111" y="450"/>
                    <a:pt x="103" y="442"/>
                    <a:pt x="95" y="434"/>
                  </a:cubicBezTo>
                  <a:cubicBezTo>
                    <a:pt x="87" y="419"/>
                    <a:pt x="79" y="403"/>
                    <a:pt x="79" y="387"/>
                  </a:cubicBezTo>
                  <a:cubicBezTo>
                    <a:pt x="87" y="379"/>
                    <a:pt x="87" y="379"/>
                    <a:pt x="87" y="371"/>
                  </a:cubicBezTo>
                  <a:cubicBezTo>
                    <a:pt x="95" y="355"/>
                    <a:pt x="95" y="347"/>
                    <a:pt x="71" y="324"/>
                  </a:cubicBezTo>
                  <a:cubicBezTo>
                    <a:pt x="71" y="324"/>
                    <a:pt x="63" y="316"/>
                    <a:pt x="48" y="308"/>
                  </a:cubicBezTo>
                  <a:cubicBezTo>
                    <a:pt x="24" y="292"/>
                    <a:pt x="0" y="268"/>
                    <a:pt x="0" y="253"/>
                  </a:cubicBezTo>
                  <a:cubicBezTo>
                    <a:pt x="0" y="245"/>
                    <a:pt x="0" y="237"/>
                    <a:pt x="0" y="237"/>
                  </a:cubicBezTo>
                  <a:cubicBezTo>
                    <a:pt x="24" y="205"/>
                    <a:pt x="933" y="95"/>
                    <a:pt x="1036" y="79"/>
                  </a:cubicBezTo>
                  <a:lnTo>
                    <a:pt x="1036" y="79"/>
                  </a:lnTo>
                  <a:lnTo>
                    <a:pt x="1036" y="79"/>
                  </a:lnTo>
                  <a:cubicBezTo>
                    <a:pt x="1075" y="142"/>
                    <a:pt x="1115" y="205"/>
                    <a:pt x="1123" y="213"/>
                  </a:cubicBezTo>
                  <a:cubicBezTo>
                    <a:pt x="1138" y="213"/>
                    <a:pt x="2158" y="126"/>
                    <a:pt x="2174" y="126"/>
                  </a:cubicBezTo>
                  <a:lnTo>
                    <a:pt x="2174" y="126"/>
                  </a:lnTo>
                  <a:lnTo>
                    <a:pt x="2174" y="126"/>
                  </a:lnTo>
                  <a:cubicBezTo>
                    <a:pt x="2174" y="126"/>
                    <a:pt x="2182" y="134"/>
                    <a:pt x="2198" y="158"/>
                  </a:cubicBezTo>
                  <a:cubicBezTo>
                    <a:pt x="2198" y="166"/>
                    <a:pt x="2198" y="173"/>
                    <a:pt x="2198" y="181"/>
                  </a:cubicBezTo>
                  <a:cubicBezTo>
                    <a:pt x="2198" y="205"/>
                    <a:pt x="2198" y="221"/>
                    <a:pt x="2222" y="221"/>
                  </a:cubicBezTo>
                  <a:cubicBezTo>
                    <a:pt x="2222" y="221"/>
                    <a:pt x="2230" y="221"/>
                    <a:pt x="2237" y="221"/>
                  </a:cubicBezTo>
                  <a:cubicBezTo>
                    <a:pt x="2237" y="221"/>
                    <a:pt x="2245" y="221"/>
                    <a:pt x="2253" y="221"/>
                  </a:cubicBezTo>
                  <a:cubicBezTo>
                    <a:pt x="2261" y="221"/>
                    <a:pt x="2269" y="221"/>
                    <a:pt x="2269" y="197"/>
                  </a:cubicBezTo>
                  <a:cubicBezTo>
                    <a:pt x="2269" y="189"/>
                    <a:pt x="2269" y="173"/>
                    <a:pt x="2269" y="158"/>
                  </a:cubicBezTo>
                  <a:cubicBezTo>
                    <a:pt x="2277" y="134"/>
                    <a:pt x="2277" y="102"/>
                    <a:pt x="2261" y="79"/>
                  </a:cubicBezTo>
                  <a:cubicBezTo>
                    <a:pt x="2245" y="55"/>
                    <a:pt x="2245" y="39"/>
                    <a:pt x="2245" y="31"/>
                  </a:cubicBezTo>
                  <a:cubicBezTo>
                    <a:pt x="2245" y="23"/>
                    <a:pt x="2253" y="15"/>
                    <a:pt x="2261" y="7"/>
                  </a:cubicBezTo>
                  <a:cubicBezTo>
                    <a:pt x="2261" y="7"/>
                    <a:pt x="2269" y="7"/>
                    <a:pt x="2277" y="7"/>
                  </a:cubicBezTo>
                  <a:cubicBezTo>
                    <a:pt x="2285" y="7"/>
                    <a:pt x="2308" y="7"/>
                    <a:pt x="2332" y="15"/>
                  </a:cubicBezTo>
                  <a:cubicBezTo>
                    <a:pt x="2364" y="23"/>
                    <a:pt x="2403" y="23"/>
                    <a:pt x="2427" y="23"/>
                  </a:cubicBezTo>
                  <a:cubicBezTo>
                    <a:pt x="2451" y="23"/>
                    <a:pt x="2467" y="23"/>
                    <a:pt x="2475" y="15"/>
                  </a:cubicBezTo>
                  <a:cubicBezTo>
                    <a:pt x="2475" y="7"/>
                    <a:pt x="2475" y="7"/>
                    <a:pt x="2475" y="7"/>
                  </a:cubicBezTo>
                  <a:cubicBezTo>
                    <a:pt x="2483" y="0"/>
                    <a:pt x="2483" y="0"/>
                    <a:pt x="2483" y="0"/>
                  </a:cubicBezTo>
                  <a:cubicBezTo>
                    <a:pt x="2483" y="7"/>
                    <a:pt x="2483" y="7"/>
                    <a:pt x="2483" y="7"/>
                  </a:cubicBezTo>
                  <a:lnTo>
                    <a:pt x="2483" y="7"/>
                  </a:lnTo>
                  <a:cubicBezTo>
                    <a:pt x="2506" y="23"/>
                    <a:pt x="2506" y="23"/>
                    <a:pt x="2506" y="47"/>
                  </a:cubicBezTo>
                  <a:cubicBezTo>
                    <a:pt x="2506" y="55"/>
                    <a:pt x="2506" y="63"/>
                    <a:pt x="2506" y="63"/>
                  </a:cubicBezTo>
                  <a:cubicBezTo>
                    <a:pt x="2498" y="95"/>
                    <a:pt x="2498" y="95"/>
                    <a:pt x="2514" y="102"/>
                  </a:cubicBezTo>
                  <a:cubicBezTo>
                    <a:pt x="2514" y="110"/>
                    <a:pt x="2522" y="118"/>
                    <a:pt x="2522" y="126"/>
                  </a:cubicBezTo>
                  <a:cubicBezTo>
                    <a:pt x="2538" y="142"/>
                    <a:pt x="2546" y="158"/>
                    <a:pt x="2546" y="173"/>
                  </a:cubicBezTo>
                  <a:cubicBezTo>
                    <a:pt x="2546" y="189"/>
                    <a:pt x="2554" y="205"/>
                    <a:pt x="2561" y="221"/>
                  </a:cubicBezTo>
                  <a:cubicBezTo>
                    <a:pt x="2577" y="268"/>
                    <a:pt x="2664" y="458"/>
                    <a:pt x="2672" y="458"/>
                  </a:cubicBezTo>
                  <a:cubicBezTo>
                    <a:pt x="2688" y="513"/>
                    <a:pt x="2909" y="830"/>
                    <a:pt x="2925" y="837"/>
                  </a:cubicBezTo>
                  <a:lnTo>
                    <a:pt x="2933" y="837"/>
                  </a:lnTo>
                  <a:cubicBezTo>
                    <a:pt x="2949" y="846"/>
                    <a:pt x="2965" y="853"/>
                    <a:pt x="3004" y="924"/>
                  </a:cubicBezTo>
                  <a:cubicBezTo>
                    <a:pt x="3052" y="996"/>
                    <a:pt x="3044" y="1012"/>
                    <a:pt x="3036" y="1035"/>
                  </a:cubicBezTo>
                  <a:lnTo>
                    <a:pt x="3036" y="1035"/>
                  </a:lnTo>
                  <a:cubicBezTo>
                    <a:pt x="3036" y="1035"/>
                    <a:pt x="3036" y="1043"/>
                    <a:pt x="3028" y="1043"/>
                  </a:cubicBezTo>
                  <a:cubicBezTo>
                    <a:pt x="3028" y="1043"/>
                    <a:pt x="3020" y="1035"/>
                    <a:pt x="3012" y="1012"/>
                  </a:cubicBezTo>
                  <a:cubicBezTo>
                    <a:pt x="3012" y="1003"/>
                    <a:pt x="3012" y="1003"/>
                    <a:pt x="3012" y="996"/>
                  </a:cubicBezTo>
                  <a:cubicBezTo>
                    <a:pt x="2996" y="964"/>
                    <a:pt x="2973" y="940"/>
                    <a:pt x="2973" y="940"/>
                  </a:cubicBezTo>
                  <a:lnTo>
                    <a:pt x="2973" y="940"/>
                  </a:lnTo>
                  <a:lnTo>
                    <a:pt x="2973" y="940"/>
                  </a:lnTo>
                  <a:cubicBezTo>
                    <a:pt x="2965" y="948"/>
                    <a:pt x="2965" y="956"/>
                    <a:pt x="2949" y="956"/>
                  </a:cubicBezTo>
                  <a:cubicBezTo>
                    <a:pt x="2941" y="948"/>
                    <a:pt x="2941" y="948"/>
                    <a:pt x="2933" y="940"/>
                  </a:cubicBezTo>
                  <a:cubicBezTo>
                    <a:pt x="2933" y="932"/>
                    <a:pt x="2933" y="924"/>
                    <a:pt x="2925" y="924"/>
                  </a:cubicBezTo>
                  <a:cubicBezTo>
                    <a:pt x="2917" y="917"/>
                    <a:pt x="2909" y="909"/>
                    <a:pt x="2909" y="901"/>
                  </a:cubicBezTo>
                  <a:lnTo>
                    <a:pt x="2909" y="893"/>
                  </a:lnTo>
                  <a:lnTo>
                    <a:pt x="2909" y="893"/>
                  </a:lnTo>
                  <a:cubicBezTo>
                    <a:pt x="2901" y="901"/>
                    <a:pt x="2933" y="956"/>
                    <a:pt x="2949" y="980"/>
                  </a:cubicBezTo>
                  <a:cubicBezTo>
                    <a:pt x="2957" y="1003"/>
                    <a:pt x="2965" y="1019"/>
                    <a:pt x="2965" y="1027"/>
                  </a:cubicBezTo>
                  <a:cubicBezTo>
                    <a:pt x="2973" y="1043"/>
                    <a:pt x="2981" y="1051"/>
                    <a:pt x="2988" y="1059"/>
                  </a:cubicBezTo>
                  <a:cubicBezTo>
                    <a:pt x="2988" y="1067"/>
                    <a:pt x="2996" y="1075"/>
                    <a:pt x="2996" y="1083"/>
                  </a:cubicBezTo>
                  <a:lnTo>
                    <a:pt x="2996" y="1090"/>
                  </a:lnTo>
                  <a:cubicBezTo>
                    <a:pt x="3004" y="1090"/>
                    <a:pt x="3004" y="1090"/>
                    <a:pt x="3004" y="1090"/>
                  </a:cubicBezTo>
                  <a:cubicBezTo>
                    <a:pt x="3004" y="1083"/>
                    <a:pt x="3012" y="1083"/>
                    <a:pt x="3012" y="1075"/>
                  </a:cubicBezTo>
                  <a:cubicBezTo>
                    <a:pt x="3020" y="1075"/>
                    <a:pt x="3020" y="1075"/>
                    <a:pt x="3020" y="1075"/>
                  </a:cubicBezTo>
                  <a:cubicBezTo>
                    <a:pt x="3036" y="1075"/>
                    <a:pt x="3036" y="1122"/>
                    <a:pt x="3044" y="1146"/>
                  </a:cubicBezTo>
                  <a:cubicBezTo>
                    <a:pt x="3115" y="1233"/>
                    <a:pt x="3154" y="1328"/>
                    <a:pt x="3194" y="1399"/>
                  </a:cubicBezTo>
                  <a:cubicBezTo>
                    <a:pt x="3226" y="1462"/>
                    <a:pt x="3249" y="1517"/>
                    <a:pt x="3289" y="1549"/>
                  </a:cubicBezTo>
                  <a:cubicBezTo>
                    <a:pt x="3376" y="1620"/>
                    <a:pt x="3423" y="1810"/>
                    <a:pt x="3415" y="1905"/>
                  </a:cubicBezTo>
                  <a:cubicBezTo>
                    <a:pt x="3407" y="1976"/>
                    <a:pt x="3407" y="2000"/>
                    <a:pt x="3415" y="2031"/>
                  </a:cubicBezTo>
                  <a:cubicBezTo>
                    <a:pt x="3415" y="2039"/>
                    <a:pt x="3415" y="2047"/>
                    <a:pt x="3415" y="2063"/>
                  </a:cubicBezTo>
                  <a:cubicBezTo>
                    <a:pt x="3415" y="2102"/>
                    <a:pt x="3400" y="2253"/>
                    <a:pt x="3368" y="2284"/>
                  </a:cubicBezTo>
                  <a:cubicBezTo>
                    <a:pt x="3360" y="2308"/>
                    <a:pt x="3360" y="2316"/>
                    <a:pt x="3368" y="2332"/>
                  </a:cubicBezTo>
                  <a:cubicBezTo>
                    <a:pt x="3368" y="2340"/>
                    <a:pt x="3368" y="2347"/>
                    <a:pt x="3376" y="2355"/>
                  </a:cubicBezTo>
                  <a:cubicBezTo>
                    <a:pt x="3376" y="2371"/>
                    <a:pt x="3376" y="2371"/>
                    <a:pt x="3384" y="2379"/>
                  </a:cubicBezTo>
                  <a:cubicBezTo>
                    <a:pt x="3384" y="2387"/>
                    <a:pt x="3384" y="2387"/>
                    <a:pt x="3384" y="2403"/>
                  </a:cubicBezTo>
                  <a:cubicBezTo>
                    <a:pt x="3376" y="2419"/>
                    <a:pt x="3376" y="2427"/>
                    <a:pt x="3376" y="2427"/>
                  </a:cubicBezTo>
                  <a:lnTo>
                    <a:pt x="3376" y="2427"/>
                  </a:lnTo>
                  <a:cubicBezTo>
                    <a:pt x="3384" y="2427"/>
                    <a:pt x="3384" y="2427"/>
                    <a:pt x="3392" y="2419"/>
                  </a:cubicBezTo>
                  <a:cubicBezTo>
                    <a:pt x="3392" y="2419"/>
                    <a:pt x="3392" y="2411"/>
                    <a:pt x="3400" y="2411"/>
                  </a:cubicBezTo>
                  <a:lnTo>
                    <a:pt x="3400" y="2411"/>
                  </a:lnTo>
                  <a:cubicBezTo>
                    <a:pt x="3407" y="2411"/>
                    <a:pt x="3407" y="2411"/>
                    <a:pt x="3407" y="2411"/>
                  </a:cubicBezTo>
                  <a:lnTo>
                    <a:pt x="3407" y="2411"/>
                  </a:lnTo>
                  <a:cubicBezTo>
                    <a:pt x="3407" y="2419"/>
                    <a:pt x="3352" y="2569"/>
                    <a:pt x="3336" y="2593"/>
                  </a:cubicBezTo>
                  <a:cubicBezTo>
                    <a:pt x="3320" y="2624"/>
                    <a:pt x="3305" y="2632"/>
                    <a:pt x="3289" y="2640"/>
                  </a:cubicBezTo>
                  <a:cubicBezTo>
                    <a:pt x="3281" y="2640"/>
                    <a:pt x="3281" y="2640"/>
                    <a:pt x="3281" y="2640"/>
                  </a:cubicBezTo>
                  <a:close/>
                  <a:moveTo>
                    <a:pt x="3289" y="2474"/>
                  </a:moveTo>
                  <a:lnTo>
                    <a:pt x="3289" y="2474"/>
                  </a:lnTo>
                  <a:cubicBezTo>
                    <a:pt x="3297" y="2474"/>
                    <a:pt x="3297" y="2474"/>
                    <a:pt x="3297" y="2474"/>
                  </a:cubicBezTo>
                  <a:cubicBezTo>
                    <a:pt x="3305" y="2474"/>
                    <a:pt x="3313" y="2482"/>
                    <a:pt x="3320" y="2482"/>
                  </a:cubicBezTo>
                  <a:cubicBezTo>
                    <a:pt x="3336" y="2482"/>
                    <a:pt x="3344" y="2482"/>
                    <a:pt x="3344" y="2490"/>
                  </a:cubicBezTo>
                  <a:cubicBezTo>
                    <a:pt x="3352" y="2498"/>
                    <a:pt x="3352" y="2498"/>
                    <a:pt x="3352" y="2506"/>
                  </a:cubicBezTo>
                  <a:cubicBezTo>
                    <a:pt x="3344" y="2529"/>
                    <a:pt x="3320" y="2577"/>
                    <a:pt x="3305" y="2600"/>
                  </a:cubicBezTo>
                  <a:cubicBezTo>
                    <a:pt x="3281" y="2624"/>
                    <a:pt x="3281" y="2632"/>
                    <a:pt x="3281" y="2640"/>
                  </a:cubicBezTo>
                  <a:cubicBezTo>
                    <a:pt x="3281" y="2640"/>
                    <a:pt x="3281" y="2640"/>
                    <a:pt x="3281" y="2632"/>
                  </a:cubicBezTo>
                  <a:cubicBezTo>
                    <a:pt x="3305" y="2624"/>
                    <a:pt x="3313" y="2616"/>
                    <a:pt x="3328" y="2593"/>
                  </a:cubicBezTo>
                  <a:cubicBezTo>
                    <a:pt x="3352" y="2561"/>
                    <a:pt x="3392" y="2450"/>
                    <a:pt x="3400" y="2419"/>
                  </a:cubicBezTo>
                  <a:cubicBezTo>
                    <a:pt x="3400" y="2419"/>
                    <a:pt x="3392" y="2419"/>
                    <a:pt x="3392" y="2427"/>
                  </a:cubicBezTo>
                  <a:lnTo>
                    <a:pt x="3384" y="2434"/>
                  </a:lnTo>
                  <a:cubicBezTo>
                    <a:pt x="3376" y="2434"/>
                    <a:pt x="3368" y="2434"/>
                    <a:pt x="3368" y="2434"/>
                  </a:cubicBezTo>
                  <a:cubicBezTo>
                    <a:pt x="3368" y="2427"/>
                    <a:pt x="3368" y="2411"/>
                    <a:pt x="3376" y="2403"/>
                  </a:cubicBezTo>
                  <a:cubicBezTo>
                    <a:pt x="3376" y="2387"/>
                    <a:pt x="3376" y="2387"/>
                    <a:pt x="3376" y="2379"/>
                  </a:cubicBezTo>
                  <a:cubicBezTo>
                    <a:pt x="3376" y="2379"/>
                    <a:pt x="3368" y="2371"/>
                    <a:pt x="3368" y="2355"/>
                  </a:cubicBezTo>
                  <a:cubicBezTo>
                    <a:pt x="3360" y="2347"/>
                    <a:pt x="3360" y="2340"/>
                    <a:pt x="3360" y="2332"/>
                  </a:cubicBezTo>
                  <a:cubicBezTo>
                    <a:pt x="3352" y="2316"/>
                    <a:pt x="3344" y="2308"/>
                    <a:pt x="3368" y="2284"/>
                  </a:cubicBezTo>
                  <a:cubicBezTo>
                    <a:pt x="3392" y="2253"/>
                    <a:pt x="3407" y="2102"/>
                    <a:pt x="3407" y="2063"/>
                  </a:cubicBezTo>
                  <a:cubicBezTo>
                    <a:pt x="3407" y="2047"/>
                    <a:pt x="3407" y="2039"/>
                    <a:pt x="3407" y="2031"/>
                  </a:cubicBezTo>
                  <a:cubicBezTo>
                    <a:pt x="3400" y="2007"/>
                    <a:pt x="3400" y="1976"/>
                    <a:pt x="3407" y="1905"/>
                  </a:cubicBezTo>
                  <a:cubicBezTo>
                    <a:pt x="3415" y="1818"/>
                    <a:pt x="3368" y="1620"/>
                    <a:pt x="3281" y="1557"/>
                  </a:cubicBezTo>
                  <a:cubicBezTo>
                    <a:pt x="3241" y="1525"/>
                    <a:pt x="3218" y="1462"/>
                    <a:pt x="3186" y="1399"/>
                  </a:cubicBezTo>
                  <a:cubicBezTo>
                    <a:pt x="3154" y="1328"/>
                    <a:pt x="3115" y="1241"/>
                    <a:pt x="3036" y="1154"/>
                  </a:cubicBezTo>
                  <a:lnTo>
                    <a:pt x="3036" y="1154"/>
                  </a:lnTo>
                  <a:lnTo>
                    <a:pt x="3036" y="1154"/>
                  </a:lnTo>
                  <a:cubicBezTo>
                    <a:pt x="3028" y="1114"/>
                    <a:pt x="3020" y="1083"/>
                    <a:pt x="3020" y="1083"/>
                  </a:cubicBezTo>
                  <a:cubicBezTo>
                    <a:pt x="3012" y="1083"/>
                    <a:pt x="3012" y="1090"/>
                    <a:pt x="3004" y="1090"/>
                  </a:cubicBezTo>
                  <a:cubicBezTo>
                    <a:pt x="3004" y="1090"/>
                    <a:pt x="3004" y="1099"/>
                    <a:pt x="2996" y="1099"/>
                  </a:cubicBezTo>
                  <a:cubicBezTo>
                    <a:pt x="2996" y="1099"/>
                    <a:pt x="2996" y="1090"/>
                    <a:pt x="2988" y="1083"/>
                  </a:cubicBezTo>
                  <a:cubicBezTo>
                    <a:pt x="2988" y="1075"/>
                    <a:pt x="2988" y="1075"/>
                    <a:pt x="2981" y="1067"/>
                  </a:cubicBezTo>
                  <a:cubicBezTo>
                    <a:pt x="2973" y="1059"/>
                    <a:pt x="2973" y="1051"/>
                    <a:pt x="2965" y="1027"/>
                  </a:cubicBezTo>
                  <a:cubicBezTo>
                    <a:pt x="2957" y="1019"/>
                    <a:pt x="2949" y="1003"/>
                    <a:pt x="2941" y="988"/>
                  </a:cubicBezTo>
                  <a:cubicBezTo>
                    <a:pt x="2909" y="924"/>
                    <a:pt x="2894" y="901"/>
                    <a:pt x="2901" y="893"/>
                  </a:cubicBezTo>
                  <a:cubicBezTo>
                    <a:pt x="2901" y="893"/>
                    <a:pt x="2901" y="885"/>
                    <a:pt x="2909" y="885"/>
                  </a:cubicBezTo>
                  <a:cubicBezTo>
                    <a:pt x="2909" y="885"/>
                    <a:pt x="2909" y="893"/>
                    <a:pt x="2917" y="901"/>
                  </a:cubicBezTo>
                  <a:cubicBezTo>
                    <a:pt x="2917" y="901"/>
                    <a:pt x="2917" y="909"/>
                    <a:pt x="2925" y="917"/>
                  </a:cubicBezTo>
                  <a:cubicBezTo>
                    <a:pt x="2933" y="924"/>
                    <a:pt x="2941" y="932"/>
                    <a:pt x="2941" y="932"/>
                  </a:cubicBezTo>
                  <a:cubicBezTo>
                    <a:pt x="2949" y="940"/>
                    <a:pt x="2949" y="948"/>
                    <a:pt x="2949" y="948"/>
                  </a:cubicBezTo>
                  <a:cubicBezTo>
                    <a:pt x="2957" y="948"/>
                    <a:pt x="2957" y="948"/>
                    <a:pt x="2957" y="948"/>
                  </a:cubicBezTo>
                  <a:cubicBezTo>
                    <a:pt x="2957" y="948"/>
                    <a:pt x="2957" y="940"/>
                    <a:pt x="2965" y="940"/>
                  </a:cubicBezTo>
                  <a:cubicBezTo>
                    <a:pt x="2965" y="932"/>
                    <a:pt x="2965" y="932"/>
                    <a:pt x="2973" y="932"/>
                  </a:cubicBezTo>
                  <a:lnTo>
                    <a:pt x="2973" y="932"/>
                  </a:lnTo>
                  <a:cubicBezTo>
                    <a:pt x="2981" y="940"/>
                    <a:pt x="3004" y="964"/>
                    <a:pt x="3020" y="996"/>
                  </a:cubicBezTo>
                  <a:lnTo>
                    <a:pt x="3020" y="1003"/>
                  </a:lnTo>
                  <a:cubicBezTo>
                    <a:pt x="3020" y="1019"/>
                    <a:pt x="3028" y="1027"/>
                    <a:pt x="3028" y="1035"/>
                  </a:cubicBezTo>
                  <a:lnTo>
                    <a:pt x="3028" y="1035"/>
                  </a:lnTo>
                  <a:cubicBezTo>
                    <a:pt x="3036" y="1035"/>
                    <a:pt x="3036" y="1035"/>
                    <a:pt x="3036" y="1035"/>
                  </a:cubicBezTo>
                  <a:cubicBezTo>
                    <a:pt x="3036" y="1012"/>
                    <a:pt x="3044" y="996"/>
                    <a:pt x="2996" y="924"/>
                  </a:cubicBezTo>
                  <a:cubicBezTo>
                    <a:pt x="2957" y="861"/>
                    <a:pt x="2941" y="853"/>
                    <a:pt x="2925" y="846"/>
                  </a:cubicBezTo>
                  <a:lnTo>
                    <a:pt x="2925" y="846"/>
                  </a:lnTo>
                  <a:cubicBezTo>
                    <a:pt x="2901" y="837"/>
                    <a:pt x="2680" y="506"/>
                    <a:pt x="2664" y="458"/>
                  </a:cubicBezTo>
                  <a:cubicBezTo>
                    <a:pt x="2664" y="458"/>
                    <a:pt x="2577" y="268"/>
                    <a:pt x="2554" y="229"/>
                  </a:cubicBezTo>
                  <a:cubicBezTo>
                    <a:pt x="2546" y="205"/>
                    <a:pt x="2538" y="189"/>
                    <a:pt x="2538" y="173"/>
                  </a:cubicBezTo>
                  <a:cubicBezTo>
                    <a:pt x="2538" y="158"/>
                    <a:pt x="2530" y="142"/>
                    <a:pt x="2522" y="126"/>
                  </a:cubicBezTo>
                  <a:cubicBezTo>
                    <a:pt x="2514" y="118"/>
                    <a:pt x="2506" y="118"/>
                    <a:pt x="2506" y="110"/>
                  </a:cubicBezTo>
                  <a:cubicBezTo>
                    <a:pt x="2490" y="95"/>
                    <a:pt x="2490" y="95"/>
                    <a:pt x="2498" y="63"/>
                  </a:cubicBezTo>
                  <a:cubicBezTo>
                    <a:pt x="2498" y="55"/>
                    <a:pt x="2498" y="55"/>
                    <a:pt x="2498" y="47"/>
                  </a:cubicBezTo>
                  <a:cubicBezTo>
                    <a:pt x="2506" y="23"/>
                    <a:pt x="2506" y="23"/>
                    <a:pt x="2483" y="15"/>
                  </a:cubicBezTo>
                  <a:cubicBezTo>
                    <a:pt x="2483" y="7"/>
                    <a:pt x="2483" y="7"/>
                    <a:pt x="2483" y="7"/>
                  </a:cubicBezTo>
                  <a:cubicBezTo>
                    <a:pt x="2483" y="15"/>
                    <a:pt x="2483" y="15"/>
                    <a:pt x="2483" y="15"/>
                  </a:cubicBezTo>
                  <a:cubicBezTo>
                    <a:pt x="2475" y="23"/>
                    <a:pt x="2459" y="31"/>
                    <a:pt x="2427" y="31"/>
                  </a:cubicBezTo>
                  <a:cubicBezTo>
                    <a:pt x="2403" y="31"/>
                    <a:pt x="2364" y="23"/>
                    <a:pt x="2332" y="23"/>
                  </a:cubicBezTo>
                  <a:cubicBezTo>
                    <a:pt x="2308" y="15"/>
                    <a:pt x="2285" y="15"/>
                    <a:pt x="2277" y="15"/>
                  </a:cubicBezTo>
                  <a:cubicBezTo>
                    <a:pt x="2269" y="15"/>
                    <a:pt x="2261" y="15"/>
                    <a:pt x="2261" y="15"/>
                  </a:cubicBezTo>
                  <a:cubicBezTo>
                    <a:pt x="2253" y="23"/>
                    <a:pt x="2253" y="23"/>
                    <a:pt x="2253" y="31"/>
                  </a:cubicBezTo>
                  <a:cubicBezTo>
                    <a:pt x="2253" y="39"/>
                    <a:pt x="2253" y="55"/>
                    <a:pt x="2269" y="79"/>
                  </a:cubicBezTo>
                  <a:cubicBezTo>
                    <a:pt x="2285" y="102"/>
                    <a:pt x="2285" y="134"/>
                    <a:pt x="2277" y="166"/>
                  </a:cubicBezTo>
                  <a:cubicBezTo>
                    <a:pt x="2277" y="173"/>
                    <a:pt x="2277" y="189"/>
                    <a:pt x="2277" y="197"/>
                  </a:cubicBezTo>
                  <a:cubicBezTo>
                    <a:pt x="2277" y="221"/>
                    <a:pt x="2269" y="229"/>
                    <a:pt x="2253" y="229"/>
                  </a:cubicBezTo>
                  <a:cubicBezTo>
                    <a:pt x="2245" y="229"/>
                    <a:pt x="2237" y="229"/>
                    <a:pt x="2230" y="229"/>
                  </a:cubicBezTo>
                  <a:lnTo>
                    <a:pt x="2222" y="229"/>
                  </a:lnTo>
                  <a:cubicBezTo>
                    <a:pt x="2190" y="229"/>
                    <a:pt x="2190" y="205"/>
                    <a:pt x="2190" y="181"/>
                  </a:cubicBezTo>
                  <a:cubicBezTo>
                    <a:pt x="2190" y="173"/>
                    <a:pt x="2190" y="166"/>
                    <a:pt x="2190" y="158"/>
                  </a:cubicBezTo>
                  <a:cubicBezTo>
                    <a:pt x="2182" y="142"/>
                    <a:pt x="2174" y="134"/>
                    <a:pt x="2174" y="134"/>
                  </a:cubicBezTo>
                  <a:cubicBezTo>
                    <a:pt x="2119" y="142"/>
                    <a:pt x="1138" y="221"/>
                    <a:pt x="1123" y="221"/>
                  </a:cubicBezTo>
                  <a:cubicBezTo>
                    <a:pt x="1115" y="221"/>
                    <a:pt x="1060" y="126"/>
                    <a:pt x="1036" y="87"/>
                  </a:cubicBezTo>
                  <a:cubicBezTo>
                    <a:pt x="633" y="134"/>
                    <a:pt x="24" y="221"/>
                    <a:pt x="8" y="237"/>
                  </a:cubicBezTo>
                  <a:cubicBezTo>
                    <a:pt x="8" y="245"/>
                    <a:pt x="0" y="245"/>
                    <a:pt x="8" y="253"/>
                  </a:cubicBezTo>
                  <a:cubicBezTo>
                    <a:pt x="8" y="268"/>
                    <a:pt x="32" y="284"/>
                    <a:pt x="55" y="300"/>
                  </a:cubicBezTo>
                  <a:cubicBezTo>
                    <a:pt x="63" y="308"/>
                    <a:pt x="71" y="316"/>
                    <a:pt x="79" y="324"/>
                  </a:cubicBezTo>
                  <a:cubicBezTo>
                    <a:pt x="103" y="340"/>
                    <a:pt x="103" y="355"/>
                    <a:pt x="95" y="379"/>
                  </a:cubicBezTo>
                  <a:lnTo>
                    <a:pt x="87" y="387"/>
                  </a:lnTo>
                  <a:cubicBezTo>
                    <a:pt x="87" y="403"/>
                    <a:pt x="95" y="419"/>
                    <a:pt x="103" y="426"/>
                  </a:cubicBezTo>
                  <a:cubicBezTo>
                    <a:pt x="111" y="442"/>
                    <a:pt x="119" y="450"/>
                    <a:pt x="119" y="458"/>
                  </a:cubicBezTo>
                  <a:cubicBezTo>
                    <a:pt x="119" y="466"/>
                    <a:pt x="111" y="490"/>
                    <a:pt x="95" y="513"/>
                  </a:cubicBezTo>
                  <a:cubicBezTo>
                    <a:pt x="103" y="521"/>
                    <a:pt x="103" y="529"/>
                    <a:pt x="111" y="529"/>
                  </a:cubicBezTo>
                  <a:cubicBezTo>
                    <a:pt x="119" y="529"/>
                    <a:pt x="119" y="529"/>
                    <a:pt x="127" y="521"/>
                  </a:cubicBezTo>
                  <a:cubicBezTo>
                    <a:pt x="135" y="513"/>
                    <a:pt x="142" y="506"/>
                    <a:pt x="150" y="506"/>
                  </a:cubicBezTo>
                  <a:cubicBezTo>
                    <a:pt x="158" y="498"/>
                    <a:pt x="166" y="490"/>
                    <a:pt x="182" y="474"/>
                  </a:cubicBezTo>
                  <a:cubicBezTo>
                    <a:pt x="190" y="458"/>
                    <a:pt x="190" y="442"/>
                    <a:pt x="190" y="434"/>
                  </a:cubicBezTo>
                  <a:cubicBezTo>
                    <a:pt x="190" y="419"/>
                    <a:pt x="190" y="411"/>
                    <a:pt x="198" y="403"/>
                  </a:cubicBezTo>
                  <a:cubicBezTo>
                    <a:pt x="206" y="403"/>
                    <a:pt x="206" y="403"/>
                    <a:pt x="206" y="403"/>
                  </a:cubicBezTo>
                  <a:cubicBezTo>
                    <a:pt x="214" y="403"/>
                    <a:pt x="221" y="411"/>
                    <a:pt x="230" y="419"/>
                  </a:cubicBezTo>
                  <a:cubicBezTo>
                    <a:pt x="237" y="419"/>
                    <a:pt x="237" y="419"/>
                    <a:pt x="245" y="419"/>
                  </a:cubicBezTo>
                  <a:lnTo>
                    <a:pt x="245" y="411"/>
                  </a:lnTo>
                  <a:cubicBezTo>
                    <a:pt x="245" y="403"/>
                    <a:pt x="245" y="395"/>
                    <a:pt x="261" y="395"/>
                  </a:cubicBezTo>
                  <a:lnTo>
                    <a:pt x="269" y="395"/>
                  </a:lnTo>
                  <a:cubicBezTo>
                    <a:pt x="293" y="411"/>
                    <a:pt x="308" y="426"/>
                    <a:pt x="308" y="442"/>
                  </a:cubicBezTo>
                  <a:cubicBezTo>
                    <a:pt x="308" y="450"/>
                    <a:pt x="301" y="450"/>
                    <a:pt x="293" y="450"/>
                  </a:cubicBezTo>
                  <a:cubicBezTo>
                    <a:pt x="269" y="458"/>
                    <a:pt x="261" y="458"/>
                    <a:pt x="253" y="474"/>
                  </a:cubicBezTo>
                  <a:cubicBezTo>
                    <a:pt x="253" y="474"/>
                    <a:pt x="245" y="474"/>
                    <a:pt x="245" y="482"/>
                  </a:cubicBezTo>
                  <a:cubicBezTo>
                    <a:pt x="237" y="490"/>
                    <a:pt x="221" y="490"/>
                    <a:pt x="206" y="498"/>
                  </a:cubicBezTo>
                  <a:cubicBezTo>
                    <a:pt x="206" y="498"/>
                    <a:pt x="198" y="498"/>
                    <a:pt x="190" y="506"/>
                  </a:cubicBezTo>
                  <a:lnTo>
                    <a:pt x="198" y="506"/>
                  </a:lnTo>
                  <a:cubicBezTo>
                    <a:pt x="214" y="506"/>
                    <a:pt x="230" y="506"/>
                    <a:pt x="245" y="498"/>
                  </a:cubicBezTo>
                  <a:cubicBezTo>
                    <a:pt x="261" y="490"/>
                    <a:pt x="277" y="482"/>
                    <a:pt x="293" y="474"/>
                  </a:cubicBezTo>
                  <a:cubicBezTo>
                    <a:pt x="308" y="474"/>
                    <a:pt x="316" y="474"/>
                    <a:pt x="324" y="474"/>
                  </a:cubicBezTo>
                  <a:cubicBezTo>
                    <a:pt x="372" y="466"/>
                    <a:pt x="435" y="450"/>
                    <a:pt x="451" y="426"/>
                  </a:cubicBezTo>
                  <a:cubicBezTo>
                    <a:pt x="451" y="419"/>
                    <a:pt x="459" y="419"/>
                    <a:pt x="459" y="411"/>
                  </a:cubicBezTo>
                  <a:cubicBezTo>
                    <a:pt x="459" y="395"/>
                    <a:pt x="467" y="387"/>
                    <a:pt x="498" y="387"/>
                  </a:cubicBezTo>
                  <a:cubicBezTo>
                    <a:pt x="514" y="387"/>
                    <a:pt x="522" y="387"/>
                    <a:pt x="530" y="387"/>
                  </a:cubicBezTo>
                  <a:cubicBezTo>
                    <a:pt x="546" y="379"/>
                    <a:pt x="554" y="379"/>
                    <a:pt x="561" y="379"/>
                  </a:cubicBezTo>
                  <a:cubicBezTo>
                    <a:pt x="569" y="379"/>
                    <a:pt x="569" y="379"/>
                    <a:pt x="577" y="379"/>
                  </a:cubicBezTo>
                  <a:cubicBezTo>
                    <a:pt x="601" y="387"/>
                    <a:pt x="617" y="395"/>
                    <a:pt x="609" y="403"/>
                  </a:cubicBezTo>
                  <a:cubicBezTo>
                    <a:pt x="609" y="411"/>
                    <a:pt x="609" y="411"/>
                    <a:pt x="593" y="411"/>
                  </a:cubicBezTo>
                  <a:cubicBezTo>
                    <a:pt x="585" y="411"/>
                    <a:pt x="577" y="411"/>
                    <a:pt x="569" y="411"/>
                  </a:cubicBezTo>
                  <a:cubicBezTo>
                    <a:pt x="561" y="411"/>
                    <a:pt x="561" y="411"/>
                    <a:pt x="554" y="411"/>
                  </a:cubicBezTo>
                  <a:cubicBezTo>
                    <a:pt x="546" y="411"/>
                    <a:pt x="538" y="411"/>
                    <a:pt x="530" y="419"/>
                  </a:cubicBezTo>
                  <a:cubicBezTo>
                    <a:pt x="522" y="426"/>
                    <a:pt x="506" y="426"/>
                    <a:pt x="490" y="426"/>
                  </a:cubicBezTo>
                  <a:cubicBezTo>
                    <a:pt x="482" y="426"/>
                    <a:pt x="474" y="434"/>
                    <a:pt x="474" y="434"/>
                  </a:cubicBezTo>
                  <a:lnTo>
                    <a:pt x="474" y="434"/>
                  </a:lnTo>
                  <a:cubicBezTo>
                    <a:pt x="490" y="442"/>
                    <a:pt x="498" y="442"/>
                    <a:pt x="522" y="442"/>
                  </a:cubicBezTo>
                  <a:cubicBezTo>
                    <a:pt x="530" y="442"/>
                    <a:pt x="538" y="442"/>
                    <a:pt x="546" y="442"/>
                  </a:cubicBezTo>
                  <a:cubicBezTo>
                    <a:pt x="585" y="442"/>
                    <a:pt x="783" y="498"/>
                    <a:pt x="799" y="521"/>
                  </a:cubicBezTo>
                  <a:cubicBezTo>
                    <a:pt x="807" y="529"/>
                    <a:pt x="807" y="529"/>
                    <a:pt x="807" y="529"/>
                  </a:cubicBezTo>
                  <a:cubicBezTo>
                    <a:pt x="807" y="529"/>
                    <a:pt x="807" y="521"/>
                    <a:pt x="807" y="506"/>
                  </a:cubicBezTo>
                  <a:cubicBezTo>
                    <a:pt x="799" y="498"/>
                    <a:pt x="791" y="498"/>
                    <a:pt x="783" y="490"/>
                  </a:cubicBezTo>
                  <a:cubicBezTo>
                    <a:pt x="775" y="490"/>
                    <a:pt x="767" y="482"/>
                    <a:pt x="767" y="482"/>
                  </a:cubicBezTo>
                  <a:cubicBezTo>
                    <a:pt x="767" y="474"/>
                    <a:pt x="767" y="466"/>
                    <a:pt x="775" y="466"/>
                  </a:cubicBezTo>
                  <a:cubicBezTo>
                    <a:pt x="783" y="450"/>
                    <a:pt x="783" y="442"/>
                    <a:pt x="791" y="442"/>
                  </a:cubicBezTo>
                  <a:lnTo>
                    <a:pt x="799" y="442"/>
                  </a:lnTo>
                  <a:cubicBezTo>
                    <a:pt x="807" y="442"/>
                    <a:pt x="807" y="442"/>
                    <a:pt x="814" y="450"/>
                  </a:cubicBezTo>
                  <a:cubicBezTo>
                    <a:pt x="822" y="450"/>
                    <a:pt x="830" y="442"/>
                    <a:pt x="838" y="434"/>
                  </a:cubicBezTo>
                  <a:cubicBezTo>
                    <a:pt x="846" y="434"/>
                    <a:pt x="846" y="434"/>
                    <a:pt x="854" y="434"/>
                  </a:cubicBezTo>
                  <a:cubicBezTo>
                    <a:pt x="854" y="434"/>
                    <a:pt x="862" y="434"/>
                    <a:pt x="862" y="442"/>
                  </a:cubicBezTo>
                  <a:cubicBezTo>
                    <a:pt x="862" y="450"/>
                    <a:pt x="846" y="458"/>
                    <a:pt x="838" y="466"/>
                  </a:cubicBezTo>
                  <a:cubicBezTo>
                    <a:pt x="830" y="466"/>
                    <a:pt x="830" y="466"/>
                    <a:pt x="830" y="482"/>
                  </a:cubicBezTo>
                  <a:cubicBezTo>
                    <a:pt x="838" y="498"/>
                    <a:pt x="838" y="498"/>
                    <a:pt x="846" y="506"/>
                  </a:cubicBezTo>
                  <a:lnTo>
                    <a:pt x="846" y="513"/>
                  </a:lnTo>
                  <a:cubicBezTo>
                    <a:pt x="854" y="521"/>
                    <a:pt x="846" y="529"/>
                    <a:pt x="838" y="537"/>
                  </a:cubicBezTo>
                  <a:cubicBezTo>
                    <a:pt x="838" y="537"/>
                    <a:pt x="838" y="537"/>
                    <a:pt x="830" y="537"/>
                  </a:cubicBezTo>
                  <a:cubicBezTo>
                    <a:pt x="838" y="545"/>
                    <a:pt x="838" y="545"/>
                    <a:pt x="838" y="545"/>
                  </a:cubicBezTo>
                  <a:cubicBezTo>
                    <a:pt x="973" y="616"/>
                    <a:pt x="973" y="632"/>
                    <a:pt x="973" y="640"/>
                  </a:cubicBezTo>
                  <a:cubicBezTo>
                    <a:pt x="973" y="656"/>
                    <a:pt x="965" y="656"/>
                    <a:pt x="957" y="664"/>
                  </a:cubicBezTo>
                  <a:lnTo>
                    <a:pt x="949" y="664"/>
                  </a:lnTo>
                  <a:cubicBezTo>
                    <a:pt x="949" y="664"/>
                    <a:pt x="949" y="664"/>
                    <a:pt x="957" y="672"/>
                  </a:cubicBezTo>
                  <a:cubicBezTo>
                    <a:pt x="965" y="695"/>
                    <a:pt x="980" y="711"/>
                    <a:pt x="996" y="719"/>
                  </a:cubicBezTo>
                  <a:cubicBezTo>
                    <a:pt x="996" y="719"/>
                    <a:pt x="996" y="719"/>
                    <a:pt x="1004" y="719"/>
                  </a:cubicBezTo>
                  <a:cubicBezTo>
                    <a:pt x="1012" y="719"/>
                    <a:pt x="1036" y="711"/>
                    <a:pt x="1060" y="703"/>
                  </a:cubicBezTo>
                  <a:cubicBezTo>
                    <a:pt x="1075" y="695"/>
                    <a:pt x="1091" y="695"/>
                    <a:pt x="1107" y="687"/>
                  </a:cubicBezTo>
                  <a:cubicBezTo>
                    <a:pt x="1131" y="679"/>
                    <a:pt x="1162" y="664"/>
                    <a:pt x="1178" y="656"/>
                  </a:cubicBezTo>
                  <a:cubicBezTo>
                    <a:pt x="1202" y="648"/>
                    <a:pt x="1218" y="640"/>
                    <a:pt x="1225" y="640"/>
                  </a:cubicBezTo>
                  <a:cubicBezTo>
                    <a:pt x="1225" y="640"/>
                    <a:pt x="1233" y="648"/>
                    <a:pt x="1233" y="656"/>
                  </a:cubicBezTo>
                  <a:cubicBezTo>
                    <a:pt x="1233" y="664"/>
                    <a:pt x="1218" y="672"/>
                    <a:pt x="1202" y="687"/>
                  </a:cubicBezTo>
                  <a:cubicBezTo>
                    <a:pt x="1170" y="703"/>
                    <a:pt x="1147" y="711"/>
                    <a:pt x="1131" y="727"/>
                  </a:cubicBezTo>
                  <a:cubicBezTo>
                    <a:pt x="1123" y="727"/>
                    <a:pt x="1123" y="735"/>
                    <a:pt x="1123" y="735"/>
                  </a:cubicBezTo>
                  <a:lnTo>
                    <a:pt x="1131" y="735"/>
                  </a:lnTo>
                  <a:cubicBezTo>
                    <a:pt x="1138" y="735"/>
                    <a:pt x="1147" y="735"/>
                    <a:pt x="1154" y="735"/>
                  </a:cubicBezTo>
                  <a:cubicBezTo>
                    <a:pt x="1162" y="727"/>
                    <a:pt x="1241" y="679"/>
                    <a:pt x="1241" y="640"/>
                  </a:cubicBezTo>
                  <a:cubicBezTo>
                    <a:pt x="1241" y="608"/>
                    <a:pt x="1249" y="608"/>
                    <a:pt x="1265" y="600"/>
                  </a:cubicBezTo>
                  <a:cubicBezTo>
                    <a:pt x="1265" y="600"/>
                    <a:pt x="1265" y="593"/>
                    <a:pt x="1273" y="593"/>
                  </a:cubicBezTo>
                  <a:lnTo>
                    <a:pt x="1281" y="585"/>
                  </a:lnTo>
                  <a:cubicBezTo>
                    <a:pt x="1297" y="569"/>
                    <a:pt x="1313" y="561"/>
                    <a:pt x="1336" y="561"/>
                  </a:cubicBezTo>
                  <a:cubicBezTo>
                    <a:pt x="1344" y="561"/>
                    <a:pt x="1352" y="561"/>
                    <a:pt x="1360" y="561"/>
                  </a:cubicBezTo>
                  <a:lnTo>
                    <a:pt x="1368" y="561"/>
                  </a:lnTo>
                  <a:cubicBezTo>
                    <a:pt x="1368" y="561"/>
                    <a:pt x="1384" y="561"/>
                    <a:pt x="1384" y="553"/>
                  </a:cubicBezTo>
                  <a:lnTo>
                    <a:pt x="1384" y="553"/>
                  </a:lnTo>
                  <a:cubicBezTo>
                    <a:pt x="1384" y="545"/>
                    <a:pt x="1376" y="537"/>
                    <a:pt x="1368" y="537"/>
                  </a:cubicBezTo>
                  <a:cubicBezTo>
                    <a:pt x="1368" y="529"/>
                    <a:pt x="1360" y="521"/>
                    <a:pt x="1360" y="513"/>
                  </a:cubicBezTo>
                  <a:cubicBezTo>
                    <a:pt x="1360" y="513"/>
                    <a:pt x="1368" y="506"/>
                    <a:pt x="1376" y="498"/>
                  </a:cubicBezTo>
                  <a:cubicBezTo>
                    <a:pt x="1391" y="490"/>
                    <a:pt x="1391" y="482"/>
                    <a:pt x="1400" y="474"/>
                  </a:cubicBezTo>
                  <a:cubicBezTo>
                    <a:pt x="1407" y="458"/>
                    <a:pt x="1407" y="450"/>
                    <a:pt x="1455" y="458"/>
                  </a:cubicBezTo>
                  <a:cubicBezTo>
                    <a:pt x="1518" y="466"/>
                    <a:pt x="1550" y="482"/>
                    <a:pt x="1589" y="498"/>
                  </a:cubicBezTo>
                  <a:lnTo>
                    <a:pt x="1597" y="498"/>
                  </a:lnTo>
                  <a:cubicBezTo>
                    <a:pt x="1621" y="513"/>
                    <a:pt x="1653" y="537"/>
                    <a:pt x="1684" y="569"/>
                  </a:cubicBezTo>
                  <a:cubicBezTo>
                    <a:pt x="1716" y="593"/>
                    <a:pt x="1739" y="616"/>
                    <a:pt x="1755" y="616"/>
                  </a:cubicBezTo>
                  <a:cubicBezTo>
                    <a:pt x="1771" y="624"/>
                    <a:pt x="1779" y="624"/>
                    <a:pt x="1787" y="640"/>
                  </a:cubicBezTo>
                  <a:cubicBezTo>
                    <a:pt x="1787" y="648"/>
                    <a:pt x="1787" y="648"/>
                    <a:pt x="1795" y="664"/>
                  </a:cubicBezTo>
                  <a:cubicBezTo>
                    <a:pt x="1818" y="687"/>
                    <a:pt x="1834" y="711"/>
                    <a:pt x="1882" y="735"/>
                  </a:cubicBezTo>
                  <a:cubicBezTo>
                    <a:pt x="1897" y="743"/>
                    <a:pt x="1905" y="759"/>
                    <a:pt x="1921" y="774"/>
                  </a:cubicBezTo>
                  <a:cubicBezTo>
                    <a:pt x="1937" y="798"/>
                    <a:pt x="1953" y="814"/>
                    <a:pt x="1992" y="814"/>
                  </a:cubicBezTo>
                  <a:lnTo>
                    <a:pt x="1992" y="814"/>
                  </a:lnTo>
                  <a:cubicBezTo>
                    <a:pt x="2055" y="822"/>
                    <a:pt x="2064" y="822"/>
                    <a:pt x="2079" y="853"/>
                  </a:cubicBezTo>
                  <a:cubicBezTo>
                    <a:pt x="2087" y="893"/>
                    <a:pt x="2095" y="917"/>
                    <a:pt x="2119" y="924"/>
                  </a:cubicBezTo>
                  <a:cubicBezTo>
                    <a:pt x="2143" y="932"/>
                    <a:pt x="2150" y="948"/>
                    <a:pt x="2150" y="972"/>
                  </a:cubicBezTo>
                  <a:cubicBezTo>
                    <a:pt x="2158" y="980"/>
                    <a:pt x="2158" y="980"/>
                    <a:pt x="2158" y="988"/>
                  </a:cubicBezTo>
                  <a:cubicBezTo>
                    <a:pt x="2158" y="996"/>
                    <a:pt x="2158" y="996"/>
                    <a:pt x="2158" y="1003"/>
                  </a:cubicBezTo>
                  <a:cubicBezTo>
                    <a:pt x="2166" y="1035"/>
                    <a:pt x="2174" y="1067"/>
                    <a:pt x="2166" y="1106"/>
                  </a:cubicBezTo>
                  <a:cubicBezTo>
                    <a:pt x="2158" y="1138"/>
                    <a:pt x="2158" y="1170"/>
                    <a:pt x="2150" y="1201"/>
                  </a:cubicBezTo>
                  <a:cubicBezTo>
                    <a:pt x="2150" y="1217"/>
                    <a:pt x="2150" y="1225"/>
                    <a:pt x="2150" y="1241"/>
                  </a:cubicBezTo>
                  <a:cubicBezTo>
                    <a:pt x="2150" y="1256"/>
                    <a:pt x="2143" y="1272"/>
                    <a:pt x="2135" y="1280"/>
                  </a:cubicBezTo>
                  <a:cubicBezTo>
                    <a:pt x="2135" y="1304"/>
                    <a:pt x="2127" y="1312"/>
                    <a:pt x="2127" y="1336"/>
                  </a:cubicBezTo>
                  <a:cubicBezTo>
                    <a:pt x="2135" y="1343"/>
                    <a:pt x="2135" y="1359"/>
                    <a:pt x="2143" y="1367"/>
                  </a:cubicBezTo>
                  <a:cubicBezTo>
                    <a:pt x="2143" y="1375"/>
                    <a:pt x="2150" y="1391"/>
                    <a:pt x="2150" y="1415"/>
                  </a:cubicBezTo>
                  <a:cubicBezTo>
                    <a:pt x="2150" y="1438"/>
                    <a:pt x="2158" y="1462"/>
                    <a:pt x="2166" y="1478"/>
                  </a:cubicBezTo>
                  <a:cubicBezTo>
                    <a:pt x="2174" y="1478"/>
                    <a:pt x="2174" y="1486"/>
                    <a:pt x="2182" y="1486"/>
                  </a:cubicBezTo>
                  <a:cubicBezTo>
                    <a:pt x="2190" y="1478"/>
                    <a:pt x="2190" y="1478"/>
                    <a:pt x="2190" y="1478"/>
                  </a:cubicBezTo>
                  <a:cubicBezTo>
                    <a:pt x="2206" y="1478"/>
                    <a:pt x="2222" y="1478"/>
                    <a:pt x="2230" y="1470"/>
                  </a:cubicBezTo>
                  <a:cubicBezTo>
                    <a:pt x="2230" y="1470"/>
                    <a:pt x="2230" y="1462"/>
                    <a:pt x="2230" y="1454"/>
                  </a:cubicBezTo>
                  <a:cubicBezTo>
                    <a:pt x="2222" y="1446"/>
                    <a:pt x="2222" y="1430"/>
                    <a:pt x="2214" y="1423"/>
                  </a:cubicBezTo>
                  <a:cubicBezTo>
                    <a:pt x="2206" y="1407"/>
                    <a:pt x="2198" y="1391"/>
                    <a:pt x="2198" y="1367"/>
                  </a:cubicBezTo>
                  <a:cubicBezTo>
                    <a:pt x="2198" y="1336"/>
                    <a:pt x="2206" y="1336"/>
                    <a:pt x="2214" y="1336"/>
                  </a:cubicBezTo>
                  <a:cubicBezTo>
                    <a:pt x="2222" y="1336"/>
                    <a:pt x="2230" y="1343"/>
                    <a:pt x="2237" y="1359"/>
                  </a:cubicBezTo>
                  <a:cubicBezTo>
                    <a:pt x="2253" y="1383"/>
                    <a:pt x="2253" y="1383"/>
                    <a:pt x="2269" y="1383"/>
                  </a:cubicBezTo>
                  <a:cubicBezTo>
                    <a:pt x="2277" y="1383"/>
                    <a:pt x="2277" y="1383"/>
                    <a:pt x="2277" y="1383"/>
                  </a:cubicBezTo>
                  <a:cubicBezTo>
                    <a:pt x="2285" y="1383"/>
                    <a:pt x="2285" y="1383"/>
                    <a:pt x="2293" y="1383"/>
                  </a:cubicBezTo>
                  <a:cubicBezTo>
                    <a:pt x="2301" y="1383"/>
                    <a:pt x="2301" y="1383"/>
                    <a:pt x="2308" y="1391"/>
                  </a:cubicBezTo>
                  <a:cubicBezTo>
                    <a:pt x="2308" y="1399"/>
                    <a:pt x="2308" y="1407"/>
                    <a:pt x="2308" y="1423"/>
                  </a:cubicBezTo>
                  <a:cubicBezTo>
                    <a:pt x="2308" y="1438"/>
                    <a:pt x="2293" y="1462"/>
                    <a:pt x="2285" y="1486"/>
                  </a:cubicBezTo>
                  <a:cubicBezTo>
                    <a:pt x="2277" y="1502"/>
                    <a:pt x="2261" y="1517"/>
                    <a:pt x="2261" y="1533"/>
                  </a:cubicBezTo>
                  <a:cubicBezTo>
                    <a:pt x="2261" y="1549"/>
                    <a:pt x="2253" y="1565"/>
                    <a:pt x="2230" y="1573"/>
                  </a:cubicBezTo>
                  <a:cubicBezTo>
                    <a:pt x="2230" y="1573"/>
                    <a:pt x="2230" y="1573"/>
                    <a:pt x="2222" y="1573"/>
                  </a:cubicBezTo>
                  <a:cubicBezTo>
                    <a:pt x="2214" y="1573"/>
                    <a:pt x="2198" y="1573"/>
                    <a:pt x="2198" y="1581"/>
                  </a:cubicBezTo>
                  <a:cubicBezTo>
                    <a:pt x="2198" y="1581"/>
                    <a:pt x="2198" y="1581"/>
                    <a:pt x="2206" y="1589"/>
                  </a:cubicBezTo>
                  <a:cubicBezTo>
                    <a:pt x="2214" y="1589"/>
                    <a:pt x="2222" y="1589"/>
                    <a:pt x="2230" y="1589"/>
                  </a:cubicBezTo>
                  <a:cubicBezTo>
                    <a:pt x="2230" y="1581"/>
                    <a:pt x="2230" y="1581"/>
                    <a:pt x="2237" y="1581"/>
                  </a:cubicBezTo>
                  <a:cubicBezTo>
                    <a:pt x="2245" y="1581"/>
                    <a:pt x="2253" y="1589"/>
                    <a:pt x="2261" y="1612"/>
                  </a:cubicBezTo>
                  <a:cubicBezTo>
                    <a:pt x="2277" y="1636"/>
                    <a:pt x="2277" y="1652"/>
                    <a:pt x="2285" y="1668"/>
                  </a:cubicBezTo>
                  <a:cubicBezTo>
                    <a:pt x="2293" y="1691"/>
                    <a:pt x="2301" y="1707"/>
                    <a:pt x="2317" y="1739"/>
                  </a:cubicBezTo>
                  <a:cubicBezTo>
                    <a:pt x="2356" y="1802"/>
                    <a:pt x="2411" y="1857"/>
                    <a:pt x="2435" y="1865"/>
                  </a:cubicBezTo>
                  <a:cubicBezTo>
                    <a:pt x="2443" y="1865"/>
                    <a:pt x="2459" y="1873"/>
                    <a:pt x="2467" y="1873"/>
                  </a:cubicBezTo>
                  <a:cubicBezTo>
                    <a:pt x="2475" y="1873"/>
                    <a:pt x="2475" y="1873"/>
                    <a:pt x="2483" y="1865"/>
                  </a:cubicBezTo>
                  <a:cubicBezTo>
                    <a:pt x="2483" y="1865"/>
                    <a:pt x="2483" y="1857"/>
                    <a:pt x="2483" y="1849"/>
                  </a:cubicBezTo>
                  <a:cubicBezTo>
                    <a:pt x="2475" y="1841"/>
                    <a:pt x="2467" y="1826"/>
                    <a:pt x="2459" y="1818"/>
                  </a:cubicBezTo>
                  <a:cubicBezTo>
                    <a:pt x="2451" y="1810"/>
                    <a:pt x="2451" y="1802"/>
                    <a:pt x="2451" y="1802"/>
                  </a:cubicBezTo>
                  <a:cubicBezTo>
                    <a:pt x="2451" y="1794"/>
                    <a:pt x="2459" y="1794"/>
                    <a:pt x="2467" y="1802"/>
                  </a:cubicBezTo>
                  <a:cubicBezTo>
                    <a:pt x="2483" y="1802"/>
                    <a:pt x="2490" y="1810"/>
                    <a:pt x="2498" y="1810"/>
                  </a:cubicBezTo>
                  <a:cubicBezTo>
                    <a:pt x="2506" y="1818"/>
                    <a:pt x="2506" y="1826"/>
                    <a:pt x="2514" y="1818"/>
                  </a:cubicBezTo>
                  <a:cubicBezTo>
                    <a:pt x="2530" y="1810"/>
                    <a:pt x="2538" y="1810"/>
                    <a:pt x="2546" y="1818"/>
                  </a:cubicBezTo>
                  <a:cubicBezTo>
                    <a:pt x="2546" y="1826"/>
                    <a:pt x="2546" y="1834"/>
                    <a:pt x="2546" y="1849"/>
                  </a:cubicBezTo>
                  <a:cubicBezTo>
                    <a:pt x="2530" y="1881"/>
                    <a:pt x="2530" y="1913"/>
                    <a:pt x="2538" y="1936"/>
                  </a:cubicBezTo>
                  <a:cubicBezTo>
                    <a:pt x="2546" y="1960"/>
                    <a:pt x="2577" y="1992"/>
                    <a:pt x="2585" y="1992"/>
                  </a:cubicBezTo>
                  <a:lnTo>
                    <a:pt x="2585" y="1992"/>
                  </a:lnTo>
                  <a:cubicBezTo>
                    <a:pt x="2593" y="1992"/>
                    <a:pt x="2593" y="1984"/>
                    <a:pt x="2601" y="1984"/>
                  </a:cubicBezTo>
                  <a:cubicBezTo>
                    <a:pt x="2609" y="1984"/>
                    <a:pt x="2609" y="2000"/>
                    <a:pt x="2609" y="2007"/>
                  </a:cubicBezTo>
                  <a:cubicBezTo>
                    <a:pt x="2609" y="2023"/>
                    <a:pt x="2609" y="2023"/>
                    <a:pt x="2625" y="2031"/>
                  </a:cubicBezTo>
                  <a:lnTo>
                    <a:pt x="2633" y="2031"/>
                  </a:lnTo>
                  <a:cubicBezTo>
                    <a:pt x="2656" y="2039"/>
                    <a:pt x="2656" y="2047"/>
                    <a:pt x="2656" y="2071"/>
                  </a:cubicBezTo>
                  <a:lnTo>
                    <a:pt x="2656" y="2071"/>
                  </a:lnTo>
                  <a:cubicBezTo>
                    <a:pt x="2664" y="2102"/>
                    <a:pt x="2688" y="2150"/>
                    <a:pt x="2712" y="2189"/>
                  </a:cubicBezTo>
                  <a:cubicBezTo>
                    <a:pt x="2728" y="2205"/>
                    <a:pt x="2728" y="2221"/>
                    <a:pt x="2736" y="2229"/>
                  </a:cubicBezTo>
                  <a:cubicBezTo>
                    <a:pt x="2743" y="2260"/>
                    <a:pt x="2751" y="2269"/>
                    <a:pt x="2767" y="2269"/>
                  </a:cubicBezTo>
                  <a:cubicBezTo>
                    <a:pt x="2775" y="2269"/>
                    <a:pt x="2783" y="2269"/>
                    <a:pt x="2791" y="2260"/>
                  </a:cubicBezTo>
                  <a:cubicBezTo>
                    <a:pt x="2807" y="2260"/>
                    <a:pt x="2823" y="2253"/>
                    <a:pt x="2838" y="2253"/>
                  </a:cubicBezTo>
                  <a:cubicBezTo>
                    <a:pt x="2862" y="2253"/>
                    <a:pt x="2878" y="2260"/>
                    <a:pt x="2894" y="2276"/>
                  </a:cubicBezTo>
                  <a:cubicBezTo>
                    <a:pt x="2933" y="2316"/>
                    <a:pt x="2965" y="2355"/>
                    <a:pt x="2981" y="2387"/>
                  </a:cubicBezTo>
                  <a:cubicBezTo>
                    <a:pt x="2996" y="2419"/>
                    <a:pt x="3012" y="2434"/>
                    <a:pt x="3036" y="2442"/>
                  </a:cubicBezTo>
                  <a:cubicBezTo>
                    <a:pt x="3036" y="2442"/>
                    <a:pt x="3036" y="2450"/>
                    <a:pt x="3044" y="2450"/>
                  </a:cubicBezTo>
                  <a:cubicBezTo>
                    <a:pt x="3052" y="2458"/>
                    <a:pt x="3076" y="2474"/>
                    <a:pt x="3091" y="2474"/>
                  </a:cubicBezTo>
                  <a:cubicBezTo>
                    <a:pt x="3099" y="2474"/>
                    <a:pt x="3099" y="2474"/>
                    <a:pt x="3107" y="2466"/>
                  </a:cubicBezTo>
                  <a:cubicBezTo>
                    <a:pt x="3115" y="2466"/>
                    <a:pt x="3123" y="2466"/>
                    <a:pt x="3123" y="2474"/>
                  </a:cubicBezTo>
                  <a:cubicBezTo>
                    <a:pt x="3131" y="2482"/>
                    <a:pt x="3131" y="2490"/>
                    <a:pt x="3123" y="2498"/>
                  </a:cubicBezTo>
                  <a:cubicBezTo>
                    <a:pt x="3115" y="2498"/>
                    <a:pt x="3115" y="2506"/>
                    <a:pt x="3115" y="2506"/>
                  </a:cubicBezTo>
                  <a:cubicBezTo>
                    <a:pt x="3107" y="2513"/>
                    <a:pt x="3107" y="2513"/>
                    <a:pt x="3099" y="2513"/>
                  </a:cubicBezTo>
                  <a:cubicBezTo>
                    <a:pt x="3099" y="2513"/>
                    <a:pt x="3091" y="2513"/>
                    <a:pt x="3083" y="2506"/>
                  </a:cubicBezTo>
                  <a:cubicBezTo>
                    <a:pt x="3067" y="2498"/>
                    <a:pt x="3060" y="2490"/>
                    <a:pt x="3052" y="2490"/>
                  </a:cubicBezTo>
                  <a:cubicBezTo>
                    <a:pt x="3044" y="2490"/>
                    <a:pt x="3044" y="2490"/>
                    <a:pt x="3036" y="2498"/>
                  </a:cubicBezTo>
                  <a:lnTo>
                    <a:pt x="3028" y="2506"/>
                  </a:lnTo>
                  <a:cubicBezTo>
                    <a:pt x="3020" y="2513"/>
                    <a:pt x="3012" y="2529"/>
                    <a:pt x="3012" y="2529"/>
                  </a:cubicBezTo>
                  <a:cubicBezTo>
                    <a:pt x="3012" y="2537"/>
                    <a:pt x="3028" y="2545"/>
                    <a:pt x="3044" y="2553"/>
                  </a:cubicBezTo>
                  <a:cubicBezTo>
                    <a:pt x="3067" y="2561"/>
                    <a:pt x="3083" y="2569"/>
                    <a:pt x="3083" y="2569"/>
                  </a:cubicBezTo>
                  <a:cubicBezTo>
                    <a:pt x="3091" y="2569"/>
                    <a:pt x="3091" y="2569"/>
                    <a:pt x="3091" y="2561"/>
                  </a:cubicBezTo>
                  <a:cubicBezTo>
                    <a:pt x="3099" y="2561"/>
                    <a:pt x="3107" y="2553"/>
                    <a:pt x="3115" y="2553"/>
                  </a:cubicBezTo>
                  <a:cubicBezTo>
                    <a:pt x="3123" y="2553"/>
                    <a:pt x="3123" y="2545"/>
                    <a:pt x="3131" y="2545"/>
                  </a:cubicBezTo>
                  <a:cubicBezTo>
                    <a:pt x="3139" y="2537"/>
                    <a:pt x="3147" y="2529"/>
                    <a:pt x="3178" y="2537"/>
                  </a:cubicBezTo>
                  <a:cubicBezTo>
                    <a:pt x="3186" y="2537"/>
                    <a:pt x="3186" y="2537"/>
                    <a:pt x="3186" y="2537"/>
                  </a:cubicBezTo>
                  <a:cubicBezTo>
                    <a:pt x="3202" y="2537"/>
                    <a:pt x="3210" y="2545"/>
                    <a:pt x="3218" y="2545"/>
                  </a:cubicBezTo>
                  <a:cubicBezTo>
                    <a:pt x="3226" y="2545"/>
                    <a:pt x="3234" y="2537"/>
                    <a:pt x="3241" y="2529"/>
                  </a:cubicBezTo>
                  <a:cubicBezTo>
                    <a:pt x="3249" y="2506"/>
                    <a:pt x="3265" y="2474"/>
                    <a:pt x="3289" y="2474"/>
                  </a:cubicBezTo>
                  <a:close/>
                  <a:moveTo>
                    <a:pt x="3265" y="1944"/>
                  </a:moveTo>
                  <a:lnTo>
                    <a:pt x="3265" y="1944"/>
                  </a:lnTo>
                  <a:cubicBezTo>
                    <a:pt x="3265" y="1944"/>
                    <a:pt x="3257" y="1944"/>
                    <a:pt x="3257" y="1936"/>
                  </a:cubicBezTo>
                  <a:cubicBezTo>
                    <a:pt x="3249" y="1936"/>
                    <a:pt x="3241" y="1936"/>
                    <a:pt x="3226" y="1936"/>
                  </a:cubicBezTo>
                  <a:cubicBezTo>
                    <a:pt x="3194" y="1929"/>
                    <a:pt x="3194" y="1921"/>
                    <a:pt x="3186" y="1905"/>
                  </a:cubicBezTo>
                  <a:cubicBezTo>
                    <a:pt x="3186" y="1897"/>
                    <a:pt x="3178" y="1897"/>
                    <a:pt x="3178" y="1889"/>
                  </a:cubicBezTo>
                  <a:cubicBezTo>
                    <a:pt x="3162" y="1865"/>
                    <a:pt x="3154" y="1865"/>
                    <a:pt x="3131" y="1857"/>
                  </a:cubicBezTo>
                  <a:lnTo>
                    <a:pt x="3123" y="1857"/>
                  </a:lnTo>
                  <a:cubicBezTo>
                    <a:pt x="3115" y="1857"/>
                    <a:pt x="3107" y="1849"/>
                    <a:pt x="3107" y="1841"/>
                  </a:cubicBezTo>
                  <a:cubicBezTo>
                    <a:pt x="3099" y="1834"/>
                    <a:pt x="3107" y="1826"/>
                    <a:pt x="3107" y="1818"/>
                  </a:cubicBezTo>
                  <a:cubicBezTo>
                    <a:pt x="3115" y="1818"/>
                    <a:pt x="3115" y="1810"/>
                    <a:pt x="3115" y="1810"/>
                  </a:cubicBezTo>
                  <a:cubicBezTo>
                    <a:pt x="3123" y="1786"/>
                    <a:pt x="3162" y="1754"/>
                    <a:pt x="3170" y="1747"/>
                  </a:cubicBezTo>
                  <a:cubicBezTo>
                    <a:pt x="3186" y="1731"/>
                    <a:pt x="3194" y="1723"/>
                    <a:pt x="3194" y="1707"/>
                  </a:cubicBezTo>
                  <a:cubicBezTo>
                    <a:pt x="3194" y="1691"/>
                    <a:pt x="3218" y="1683"/>
                    <a:pt x="3218" y="1683"/>
                  </a:cubicBezTo>
                  <a:cubicBezTo>
                    <a:pt x="3218" y="1683"/>
                    <a:pt x="3218" y="1683"/>
                    <a:pt x="3226" y="1683"/>
                  </a:cubicBezTo>
                  <a:cubicBezTo>
                    <a:pt x="3241" y="1683"/>
                    <a:pt x="3289" y="1754"/>
                    <a:pt x="3297" y="1770"/>
                  </a:cubicBezTo>
                  <a:cubicBezTo>
                    <a:pt x="3313" y="1794"/>
                    <a:pt x="3320" y="1841"/>
                    <a:pt x="3305" y="1857"/>
                  </a:cubicBezTo>
                  <a:cubicBezTo>
                    <a:pt x="3305" y="1857"/>
                    <a:pt x="3305" y="1857"/>
                    <a:pt x="3297" y="1857"/>
                  </a:cubicBezTo>
                  <a:cubicBezTo>
                    <a:pt x="3289" y="1865"/>
                    <a:pt x="3281" y="1873"/>
                    <a:pt x="3281" y="1913"/>
                  </a:cubicBezTo>
                  <a:cubicBezTo>
                    <a:pt x="3281" y="1929"/>
                    <a:pt x="3281" y="1944"/>
                    <a:pt x="3265" y="1944"/>
                  </a:cubicBezTo>
                  <a:close/>
                  <a:moveTo>
                    <a:pt x="3226" y="1691"/>
                  </a:moveTo>
                  <a:lnTo>
                    <a:pt x="3226" y="1691"/>
                  </a:lnTo>
                  <a:lnTo>
                    <a:pt x="3226" y="1691"/>
                  </a:lnTo>
                  <a:cubicBezTo>
                    <a:pt x="3218" y="1691"/>
                    <a:pt x="3202" y="1699"/>
                    <a:pt x="3202" y="1707"/>
                  </a:cubicBezTo>
                  <a:cubicBezTo>
                    <a:pt x="3202" y="1723"/>
                    <a:pt x="3194" y="1739"/>
                    <a:pt x="3178" y="1747"/>
                  </a:cubicBezTo>
                  <a:cubicBezTo>
                    <a:pt x="3162" y="1763"/>
                    <a:pt x="3123" y="1794"/>
                    <a:pt x="3123" y="1810"/>
                  </a:cubicBezTo>
                  <a:cubicBezTo>
                    <a:pt x="3123" y="1818"/>
                    <a:pt x="3115" y="1818"/>
                    <a:pt x="3115" y="1826"/>
                  </a:cubicBezTo>
                  <a:cubicBezTo>
                    <a:pt x="3115" y="1834"/>
                    <a:pt x="3107" y="1834"/>
                    <a:pt x="3107" y="1841"/>
                  </a:cubicBezTo>
                  <a:cubicBezTo>
                    <a:pt x="3115" y="1841"/>
                    <a:pt x="3115" y="1849"/>
                    <a:pt x="3123" y="1849"/>
                  </a:cubicBezTo>
                  <a:cubicBezTo>
                    <a:pt x="3131" y="1849"/>
                    <a:pt x="3131" y="1849"/>
                    <a:pt x="3139" y="1849"/>
                  </a:cubicBezTo>
                  <a:cubicBezTo>
                    <a:pt x="3154" y="1857"/>
                    <a:pt x="3162" y="1857"/>
                    <a:pt x="3178" y="1881"/>
                  </a:cubicBezTo>
                  <a:cubicBezTo>
                    <a:pt x="3186" y="1889"/>
                    <a:pt x="3186" y="1897"/>
                    <a:pt x="3194" y="1905"/>
                  </a:cubicBezTo>
                  <a:cubicBezTo>
                    <a:pt x="3194" y="1913"/>
                    <a:pt x="3202" y="1921"/>
                    <a:pt x="3226" y="1929"/>
                  </a:cubicBezTo>
                  <a:cubicBezTo>
                    <a:pt x="3241" y="1929"/>
                    <a:pt x="3249" y="1929"/>
                    <a:pt x="3257" y="1929"/>
                  </a:cubicBezTo>
                  <a:cubicBezTo>
                    <a:pt x="3265" y="1936"/>
                    <a:pt x="3265" y="1936"/>
                    <a:pt x="3265" y="1936"/>
                  </a:cubicBezTo>
                  <a:cubicBezTo>
                    <a:pt x="3273" y="1936"/>
                    <a:pt x="3273" y="1936"/>
                    <a:pt x="3273" y="1913"/>
                  </a:cubicBezTo>
                  <a:cubicBezTo>
                    <a:pt x="3273" y="1873"/>
                    <a:pt x="3281" y="1865"/>
                    <a:pt x="3297" y="1857"/>
                  </a:cubicBezTo>
                  <a:cubicBezTo>
                    <a:pt x="3297" y="1849"/>
                    <a:pt x="3297" y="1849"/>
                    <a:pt x="3297" y="1849"/>
                  </a:cubicBezTo>
                  <a:cubicBezTo>
                    <a:pt x="3313" y="1841"/>
                    <a:pt x="3305" y="1802"/>
                    <a:pt x="3289" y="1778"/>
                  </a:cubicBezTo>
                  <a:cubicBezTo>
                    <a:pt x="3273" y="1747"/>
                    <a:pt x="3234" y="1691"/>
                    <a:pt x="3226" y="1691"/>
                  </a:cubicBezTo>
                  <a:close/>
                </a:path>
              </a:pathLst>
            </a:custGeom>
            <a:solidFill>
              <a:schemeClr val="tx2"/>
            </a:solidFill>
            <a:ln>
              <a:solidFill>
                <a:schemeClr val="bg1">
                  <a:lumMod val="95000"/>
                </a:schemeClr>
              </a:solidFill>
            </a:ln>
            <a:effectLst/>
          </p:spPr>
          <p:txBody>
            <a:bodyPr wrap="none" anchor="ctr"/>
            <a:lstStyle/>
            <a:p>
              <a:endParaRPr lang="en-US" sz="900"/>
            </a:p>
          </p:txBody>
        </p:sp>
        <p:sp>
          <p:nvSpPr>
            <p:cNvPr id="52" name="Freeform 405"/>
            <p:cNvSpPr>
              <a:spLocks noChangeArrowheads="1"/>
            </p:cNvSpPr>
            <p:nvPr/>
          </p:nvSpPr>
          <p:spPr bwMode="auto">
            <a:xfrm>
              <a:off x="13315377" y="7082159"/>
              <a:ext cx="707387" cy="1231552"/>
            </a:xfrm>
            <a:custGeom>
              <a:avLst/>
              <a:gdLst>
                <a:gd name="T0" fmla="*/ 1273 w 1345"/>
                <a:gd name="T1" fmla="*/ 87 h 2341"/>
                <a:gd name="T2" fmla="*/ 1273 w 1345"/>
                <a:gd name="T3" fmla="*/ 87 h 2341"/>
                <a:gd name="T4" fmla="*/ 1257 w 1345"/>
                <a:gd name="T5" fmla="*/ 39 h 2341"/>
                <a:gd name="T6" fmla="*/ 1233 w 1345"/>
                <a:gd name="T7" fmla="*/ 0 h 2341"/>
                <a:gd name="T8" fmla="*/ 450 w 1345"/>
                <a:gd name="T9" fmla="*/ 63 h 2341"/>
                <a:gd name="T10" fmla="*/ 427 w 1345"/>
                <a:gd name="T11" fmla="*/ 110 h 2341"/>
                <a:gd name="T12" fmla="*/ 411 w 1345"/>
                <a:gd name="T13" fmla="*/ 142 h 2341"/>
                <a:gd name="T14" fmla="*/ 363 w 1345"/>
                <a:gd name="T15" fmla="*/ 174 h 2341"/>
                <a:gd name="T16" fmla="*/ 340 w 1345"/>
                <a:gd name="T17" fmla="*/ 276 h 2341"/>
                <a:gd name="T18" fmla="*/ 324 w 1345"/>
                <a:gd name="T19" fmla="*/ 348 h 2341"/>
                <a:gd name="T20" fmla="*/ 284 w 1345"/>
                <a:gd name="T21" fmla="*/ 395 h 2341"/>
                <a:gd name="T22" fmla="*/ 213 w 1345"/>
                <a:gd name="T23" fmla="*/ 458 h 2341"/>
                <a:gd name="T24" fmla="*/ 213 w 1345"/>
                <a:gd name="T25" fmla="*/ 498 h 2341"/>
                <a:gd name="T26" fmla="*/ 213 w 1345"/>
                <a:gd name="T27" fmla="*/ 529 h 2341"/>
                <a:gd name="T28" fmla="*/ 190 w 1345"/>
                <a:gd name="T29" fmla="*/ 561 h 2341"/>
                <a:gd name="T30" fmla="*/ 150 w 1345"/>
                <a:gd name="T31" fmla="*/ 593 h 2341"/>
                <a:gd name="T32" fmla="*/ 150 w 1345"/>
                <a:gd name="T33" fmla="*/ 672 h 2341"/>
                <a:gd name="T34" fmla="*/ 126 w 1345"/>
                <a:gd name="T35" fmla="*/ 735 h 2341"/>
                <a:gd name="T36" fmla="*/ 126 w 1345"/>
                <a:gd name="T37" fmla="*/ 806 h 2341"/>
                <a:gd name="T38" fmla="*/ 142 w 1345"/>
                <a:gd name="T39" fmla="*/ 869 h 2341"/>
                <a:gd name="T40" fmla="*/ 166 w 1345"/>
                <a:gd name="T41" fmla="*/ 932 h 2341"/>
                <a:gd name="T42" fmla="*/ 158 w 1345"/>
                <a:gd name="T43" fmla="*/ 988 h 2341"/>
                <a:gd name="T44" fmla="*/ 158 w 1345"/>
                <a:gd name="T45" fmla="*/ 1043 h 2341"/>
                <a:gd name="T46" fmla="*/ 190 w 1345"/>
                <a:gd name="T47" fmla="*/ 1106 h 2341"/>
                <a:gd name="T48" fmla="*/ 166 w 1345"/>
                <a:gd name="T49" fmla="*/ 1178 h 2341"/>
                <a:gd name="T50" fmla="*/ 205 w 1345"/>
                <a:gd name="T51" fmla="*/ 1257 h 2341"/>
                <a:gd name="T52" fmla="*/ 213 w 1345"/>
                <a:gd name="T53" fmla="*/ 1296 h 2341"/>
                <a:gd name="T54" fmla="*/ 221 w 1345"/>
                <a:gd name="T55" fmla="*/ 1336 h 2341"/>
                <a:gd name="T56" fmla="*/ 253 w 1345"/>
                <a:gd name="T57" fmla="*/ 1383 h 2341"/>
                <a:gd name="T58" fmla="*/ 166 w 1345"/>
                <a:gd name="T59" fmla="*/ 1431 h 2341"/>
                <a:gd name="T60" fmla="*/ 221 w 1345"/>
                <a:gd name="T61" fmla="*/ 1470 h 2341"/>
                <a:gd name="T62" fmla="*/ 174 w 1345"/>
                <a:gd name="T63" fmla="*/ 1565 h 2341"/>
                <a:gd name="T64" fmla="*/ 142 w 1345"/>
                <a:gd name="T65" fmla="*/ 1596 h 2341"/>
                <a:gd name="T66" fmla="*/ 134 w 1345"/>
                <a:gd name="T67" fmla="*/ 1644 h 2341"/>
                <a:gd name="T68" fmla="*/ 103 w 1345"/>
                <a:gd name="T69" fmla="*/ 1660 h 2341"/>
                <a:gd name="T70" fmla="*/ 103 w 1345"/>
                <a:gd name="T71" fmla="*/ 1699 h 2341"/>
                <a:gd name="T72" fmla="*/ 63 w 1345"/>
                <a:gd name="T73" fmla="*/ 1723 h 2341"/>
                <a:gd name="T74" fmla="*/ 55 w 1345"/>
                <a:gd name="T75" fmla="*/ 1786 h 2341"/>
                <a:gd name="T76" fmla="*/ 39 w 1345"/>
                <a:gd name="T77" fmla="*/ 1826 h 2341"/>
                <a:gd name="T78" fmla="*/ 31 w 1345"/>
                <a:gd name="T79" fmla="*/ 1889 h 2341"/>
                <a:gd name="T80" fmla="*/ 15 w 1345"/>
                <a:gd name="T81" fmla="*/ 1929 h 2341"/>
                <a:gd name="T82" fmla="*/ 31 w 1345"/>
                <a:gd name="T83" fmla="*/ 1984 h 2341"/>
                <a:gd name="T84" fmla="*/ 39 w 1345"/>
                <a:gd name="T85" fmla="*/ 2000 h 2341"/>
                <a:gd name="T86" fmla="*/ 774 w 1345"/>
                <a:gd name="T87" fmla="*/ 1968 h 2341"/>
                <a:gd name="T88" fmla="*/ 790 w 1345"/>
                <a:gd name="T89" fmla="*/ 1992 h 2341"/>
                <a:gd name="T90" fmla="*/ 759 w 1345"/>
                <a:gd name="T91" fmla="*/ 2118 h 2341"/>
                <a:gd name="T92" fmla="*/ 830 w 1345"/>
                <a:gd name="T93" fmla="*/ 2205 h 2341"/>
                <a:gd name="T94" fmla="*/ 917 w 1345"/>
                <a:gd name="T95" fmla="*/ 2340 h 2341"/>
                <a:gd name="T96" fmla="*/ 933 w 1345"/>
                <a:gd name="T97" fmla="*/ 2324 h 2341"/>
                <a:gd name="T98" fmla="*/ 988 w 1345"/>
                <a:gd name="T99" fmla="*/ 2261 h 2341"/>
                <a:gd name="T100" fmla="*/ 1059 w 1345"/>
                <a:gd name="T101" fmla="*/ 2245 h 2341"/>
                <a:gd name="T102" fmla="*/ 1154 w 1345"/>
                <a:gd name="T103" fmla="*/ 2205 h 2341"/>
                <a:gd name="T104" fmla="*/ 1265 w 1345"/>
                <a:gd name="T105" fmla="*/ 2213 h 2341"/>
                <a:gd name="T106" fmla="*/ 1328 w 1345"/>
                <a:gd name="T107" fmla="*/ 2213 h 2341"/>
                <a:gd name="T108" fmla="*/ 1344 w 1345"/>
                <a:gd name="T109" fmla="*/ 2205 h 2341"/>
                <a:gd name="T110" fmla="*/ 1257 w 1345"/>
                <a:gd name="T111" fmla="*/ 1541 h 2341"/>
                <a:gd name="T112" fmla="*/ 1273 w 1345"/>
                <a:gd name="T113" fmla="*/ 87 h 2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5" h="2341">
                  <a:moveTo>
                    <a:pt x="1273" y="87"/>
                  </a:moveTo>
                  <a:lnTo>
                    <a:pt x="1273" y="87"/>
                  </a:lnTo>
                  <a:cubicBezTo>
                    <a:pt x="1273" y="71"/>
                    <a:pt x="1288" y="63"/>
                    <a:pt x="1257" y="39"/>
                  </a:cubicBezTo>
                  <a:cubicBezTo>
                    <a:pt x="1249" y="31"/>
                    <a:pt x="1241" y="15"/>
                    <a:pt x="1233" y="0"/>
                  </a:cubicBezTo>
                  <a:cubicBezTo>
                    <a:pt x="940" y="31"/>
                    <a:pt x="664" y="55"/>
                    <a:pt x="450" y="63"/>
                  </a:cubicBezTo>
                  <a:cubicBezTo>
                    <a:pt x="450" y="63"/>
                    <a:pt x="427" y="71"/>
                    <a:pt x="427" y="110"/>
                  </a:cubicBezTo>
                  <a:cubicBezTo>
                    <a:pt x="427" y="142"/>
                    <a:pt x="427" y="134"/>
                    <a:pt x="411" y="142"/>
                  </a:cubicBezTo>
                  <a:cubicBezTo>
                    <a:pt x="395" y="142"/>
                    <a:pt x="371" y="142"/>
                    <a:pt x="363" y="174"/>
                  </a:cubicBezTo>
                  <a:cubicBezTo>
                    <a:pt x="363" y="205"/>
                    <a:pt x="355" y="261"/>
                    <a:pt x="340" y="276"/>
                  </a:cubicBezTo>
                  <a:cubicBezTo>
                    <a:pt x="324" y="292"/>
                    <a:pt x="324" y="316"/>
                    <a:pt x="324" y="348"/>
                  </a:cubicBezTo>
                  <a:cubicBezTo>
                    <a:pt x="324" y="371"/>
                    <a:pt x="316" y="387"/>
                    <a:pt x="284" y="395"/>
                  </a:cubicBezTo>
                  <a:cubicBezTo>
                    <a:pt x="253" y="403"/>
                    <a:pt x="213" y="426"/>
                    <a:pt x="213" y="458"/>
                  </a:cubicBezTo>
                  <a:cubicBezTo>
                    <a:pt x="221" y="482"/>
                    <a:pt x="229" y="490"/>
                    <a:pt x="213" y="498"/>
                  </a:cubicBezTo>
                  <a:cubicBezTo>
                    <a:pt x="205" y="514"/>
                    <a:pt x="205" y="521"/>
                    <a:pt x="213" y="529"/>
                  </a:cubicBezTo>
                  <a:cubicBezTo>
                    <a:pt x="221" y="545"/>
                    <a:pt x="213" y="561"/>
                    <a:pt x="190" y="561"/>
                  </a:cubicBezTo>
                  <a:cubicBezTo>
                    <a:pt x="166" y="561"/>
                    <a:pt x="150" y="561"/>
                    <a:pt x="150" y="593"/>
                  </a:cubicBezTo>
                  <a:cubicBezTo>
                    <a:pt x="158" y="624"/>
                    <a:pt x="181" y="664"/>
                    <a:pt x="150" y="672"/>
                  </a:cubicBezTo>
                  <a:cubicBezTo>
                    <a:pt x="126" y="688"/>
                    <a:pt x="126" y="719"/>
                    <a:pt x="126" y="735"/>
                  </a:cubicBezTo>
                  <a:cubicBezTo>
                    <a:pt x="126" y="759"/>
                    <a:pt x="142" y="790"/>
                    <a:pt x="126" y="806"/>
                  </a:cubicBezTo>
                  <a:cubicBezTo>
                    <a:pt x="110" y="822"/>
                    <a:pt x="118" y="846"/>
                    <a:pt x="142" y="869"/>
                  </a:cubicBezTo>
                  <a:cubicBezTo>
                    <a:pt x="166" y="901"/>
                    <a:pt x="174" y="909"/>
                    <a:pt x="166" y="932"/>
                  </a:cubicBezTo>
                  <a:cubicBezTo>
                    <a:pt x="158" y="956"/>
                    <a:pt x="150" y="972"/>
                    <a:pt x="158" y="988"/>
                  </a:cubicBezTo>
                  <a:cubicBezTo>
                    <a:pt x="174" y="1012"/>
                    <a:pt x="142" y="996"/>
                    <a:pt x="158" y="1043"/>
                  </a:cubicBezTo>
                  <a:cubicBezTo>
                    <a:pt x="166" y="1091"/>
                    <a:pt x="181" y="1091"/>
                    <a:pt x="190" y="1106"/>
                  </a:cubicBezTo>
                  <a:cubicBezTo>
                    <a:pt x="190" y="1130"/>
                    <a:pt x="150" y="1162"/>
                    <a:pt x="166" y="1178"/>
                  </a:cubicBezTo>
                  <a:cubicBezTo>
                    <a:pt x="181" y="1193"/>
                    <a:pt x="158" y="1265"/>
                    <a:pt x="205" y="1257"/>
                  </a:cubicBezTo>
                  <a:cubicBezTo>
                    <a:pt x="205" y="1257"/>
                    <a:pt x="221" y="1280"/>
                    <a:pt x="213" y="1296"/>
                  </a:cubicBezTo>
                  <a:cubicBezTo>
                    <a:pt x="205" y="1320"/>
                    <a:pt x="190" y="1320"/>
                    <a:pt x="221" y="1336"/>
                  </a:cubicBezTo>
                  <a:cubicBezTo>
                    <a:pt x="261" y="1352"/>
                    <a:pt x="276" y="1375"/>
                    <a:pt x="253" y="1383"/>
                  </a:cubicBezTo>
                  <a:cubicBezTo>
                    <a:pt x="237" y="1383"/>
                    <a:pt x="126" y="1407"/>
                    <a:pt x="166" y="1431"/>
                  </a:cubicBezTo>
                  <a:cubicBezTo>
                    <a:pt x="213" y="1454"/>
                    <a:pt x="229" y="1446"/>
                    <a:pt x="221" y="1470"/>
                  </a:cubicBezTo>
                  <a:cubicBezTo>
                    <a:pt x="221" y="1494"/>
                    <a:pt x="181" y="1557"/>
                    <a:pt x="174" y="1565"/>
                  </a:cubicBezTo>
                  <a:cubicBezTo>
                    <a:pt x="158" y="1573"/>
                    <a:pt x="134" y="1565"/>
                    <a:pt x="142" y="1596"/>
                  </a:cubicBezTo>
                  <a:cubicBezTo>
                    <a:pt x="142" y="1628"/>
                    <a:pt x="142" y="1636"/>
                    <a:pt x="134" y="1644"/>
                  </a:cubicBezTo>
                  <a:cubicBezTo>
                    <a:pt x="126" y="1644"/>
                    <a:pt x="95" y="1636"/>
                    <a:pt x="103" y="1660"/>
                  </a:cubicBezTo>
                  <a:cubicBezTo>
                    <a:pt x="103" y="1676"/>
                    <a:pt x="118" y="1699"/>
                    <a:pt x="103" y="1699"/>
                  </a:cubicBezTo>
                  <a:cubicBezTo>
                    <a:pt x="87" y="1707"/>
                    <a:pt x="63" y="1699"/>
                    <a:pt x="63" y="1723"/>
                  </a:cubicBezTo>
                  <a:cubicBezTo>
                    <a:pt x="63" y="1747"/>
                    <a:pt x="63" y="1786"/>
                    <a:pt x="55" y="1786"/>
                  </a:cubicBezTo>
                  <a:cubicBezTo>
                    <a:pt x="47" y="1786"/>
                    <a:pt x="31" y="1810"/>
                    <a:pt x="39" y="1826"/>
                  </a:cubicBezTo>
                  <a:cubicBezTo>
                    <a:pt x="47" y="1842"/>
                    <a:pt x="47" y="1881"/>
                    <a:pt x="31" y="1889"/>
                  </a:cubicBezTo>
                  <a:cubicBezTo>
                    <a:pt x="23" y="1897"/>
                    <a:pt x="0" y="1913"/>
                    <a:pt x="15" y="1929"/>
                  </a:cubicBezTo>
                  <a:cubicBezTo>
                    <a:pt x="31" y="1952"/>
                    <a:pt x="39" y="1976"/>
                    <a:pt x="31" y="1984"/>
                  </a:cubicBezTo>
                  <a:cubicBezTo>
                    <a:pt x="23" y="1992"/>
                    <a:pt x="15" y="2000"/>
                    <a:pt x="39" y="2000"/>
                  </a:cubicBezTo>
                  <a:cubicBezTo>
                    <a:pt x="55" y="2008"/>
                    <a:pt x="774" y="1968"/>
                    <a:pt x="774" y="1968"/>
                  </a:cubicBezTo>
                  <a:cubicBezTo>
                    <a:pt x="774" y="1968"/>
                    <a:pt x="806" y="1976"/>
                    <a:pt x="790" y="1992"/>
                  </a:cubicBezTo>
                  <a:cubicBezTo>
                    <a:pt x="782" y="2008"/>
                    <a:pt x="719" y="2063"/>
                    <a:pt x="759" y="2118"/>
                  </a:cubicBezTo>
                  <a:cubicBezTo>
                    <a:pt x="798" y="2174"/>
                    <a:pt x="822" y="2174"/>
                    <a:pt x="830" y="2205"/>
                  </a:cubicBezTo>
                  <a:cubicBezTo>
                    <a:pt x="846" y="2245"/>
                    <a:pt x="909" y="2332"/>
                    <a:pt x="917" y="2340"/>
                  </a:cubicBezTo>
                  <a:cubicBezTo>
                    <a:pt x="917" y="2340"/>
                    <a:pt x="925" y="2332"/>
                    <a:pt x="933" y="2324"/>
                  </a:cubicBezTo>
                  <a:cubicBezTo>
                    <a:pt x="956" y="2292"/>
                    <a:pt x="964" y="2284"/>
                    <a:pt x="988" y="2261"/>
                  </a:cubicBezTo>
                  <a:cubicBezTo>
                    <a:pt x="1012" y="2237"/>
                    <a:pt x="1035" y="2261"/>
                    <a:pt x="1059" y="2245"/>
                  </a:cubicBezTo>
                  <a:cubicBezTo>
                    <a:pt x="1091" y="2229"/>
                    <a:pt x="1122" y="2189"/>
                    <a:pt x="1154" y="2205"/>
                  </a:cubicBezTo>
                  <a:cubicBezTo>
                    <a:pt x="1193" y="2213"/>
                    <a:pt x="1241" y="2229"/>
                    <a:pt x="1265" y="2213"/>
                  </a:cubicBezTo>
                  <a:cubicBezTo>
                    <a:pt x="1296" y="2197"/>
                    <a:pt x="1304" y="2237"/>
                    <a:pt x="1328" y="2213"/>
                  </a:cubicBezTo>
                  <a:cubicBezTo>
                    <a:pt x="1336" y="2213"/>
                    <a:pt x="1336" y="2213"/>
                    <a:pt x="1344" y="2205"/>
                  </a:cubicBezTo>
                  <a:cubicBezTo>
                    <a:pt x="1257" y="1541"/>
                    <a:pt x="1257" y="1541"/>
                    <a:pt x="1257" y="1541"/>
                  </a:cubicBezTo>
                  <a:cubicBezTo>
                    <a:pt x="1257" y="1541"/>
                    <a:pt x="1273" y="102"/>
                    <a:pt x="1273" y="87"/>
                  </a:cubicBezTo>
                </a:path>
              </a:pathLst>
            </a:custGeom>
            <a:grpFill/>
            <a:ln>
              <a:solidFill>
                <a:schemeClr val="bg1">
                  <a:lumMod val="95000"/>
                </a:schemeClr>
              </a:solidFill>
            </a:ln>
            <a:effectLst/>
          </p:spPr>
          <p:txBody>
            <a:bodyPr wrap="none" anchor="ctr"/>
            <a:lstStyle/>
            <a:p>
              <a:endParaRPr lang="en-US" sz="900"/>
            </a:p>
          </p:txBody>
        </p:sp>
        <p:sp>
          <p:nvSpPr>
            <p:cNvPr id="53" name="Freeform 406"/>
            <p:cNvSpPr>
              <a:spLocks noChangeArrowheads="1"/>
            </p:cNvSpPr>
            <p:nvPr/>
          </p:nvSpPr>
          <p:spPr bwMode="auto">
            <a:xfrm>
              <a:off x="13315377" y="7082159"/>
              <a:ext cx="707387" cy="1236191"/>
            </a:xfrm>
            <a:custGeom>
              <a:avLst/>
              <a:gdLst>
                <a:gd name="T0" fmla="*/ 893 w 1345"/>
                <a:gd name="T1" fmla="*/ 2324 h 2349"/>
                <a:gd name="T2" fmla="*/ 790 w 1345"/>
                <a:gd name="T3" fmla="*/ 1992 h 2349"/>
                <a:gd name="T4" fmla="*/ 47 w 1345"/>
                <a:gd name="T5" fmla="*/ 2008 h 2349"/>
                <a:gd name="T6" fmla="*/ 23 w 1345"/>
                <a:gd name="T7" fmla="*/ 1984 h 2349"/>
                <a:gd name="T8" fmla="*/ 39 w 1345"/>
                <a:gd name="T9" fmla="*/ 1881 h 2349"/>
                <a:gd name="T10" fmla="*/ 55 w 1345"/>
                <a:gd name="T11" fmla="*/ 1747 h 2349"/>
                <a:gd name="T12" fmla="*/ 103 w 1345"/>
                <a:gd name="T13" fmla="*/ 1683 h 2349"/>
                <a:gd name="T14" fmla="*/ 134 w 1345"/>
                <a:gd name="T15" fmla="*/ 1636 h 2349"/>
                <a:gd name="T16" fmla="*/ 221 w 1345"/>
                <a:gd name="T17" fmla="*/ 1470 h 2349"/>
                <a:gd name="T18" fmla="*/ 237 w 1345"/>
                <a:gd name="T19" fmla="*/ 1383 h 2349"/>
                <a:gd name="T20" fmla="*/ 197 w 1345"/>
                <a:gd name="T21" fmla="*/ 1328 h 2349"/>
                <a:gd name="T22" fmla="*/ 166 w 1345"/>
                <a:gd name="T23" fmla="*/ 1209 h 2349"/>
                <a:gd name="T24" fmla="*/ 174 w 1345"/>
                <a:gd name="T25" fmla="*/ 1099 h 2349"/>
                <a:gd name="T26" fmla="*/ 158 w 1345"/>
                <a:gd name="T27" fmla="*/ 948 h 2349"/>
                <a:gd name="T28" fmla="*/ 126 w 1345"/>
                <a:gd name="T29" fmla="*/ 806 h 2349"/>
                <a:gd name="T30" fmla="*/ 158 w 1345"/>
                <a:gd name="T31" fmla="*/ 624 h 2349"/>
                <a:gd name="T32" fmla="*/ 190 w 1345"/>
                <a:gd name="T33" fmla="*/ 561 h 2349"/>
                <a:gd name="T34" fmla="*/ 213 w 1345"/>
                <a:gd name="T35" fmla="*/ 498 h 2349"/>
                <a:gd name="T36" fmla="*/ 316 w 1345"/>
                <a:gd name="T37" fmla="*/ 348 h 2349"/>
                <a:gd name="T38" fmla="*/ 403 w 1345"/>
                <a:gd name="T39" fmla="*/ 134 h 2349"/>
                <a:gd name="T40" fmla="*/ 450 w 1345"/>
                <a:gd name="T41" fmla="*/ 63 h 2349"/>
                <a:gd name="T42" fmla="*/ 1233 w 1345"/>
                <a:gd name="T43" fmla="*/ 0 h 2349"/>
                <a:gd name="T44" fmla="*/ 1265 w 1345"/>
                <a:gd name="T45" fmla="*/ 1541 h 2349"/>
                <a:gd name="T46" fmla="*/ 1312 w 1345"/>
                <a:gd name="T47" fmla="*/ 2229 h 2349"/>
                <a:gd name="T48" fmla="*/ 1233 w 1345"/>
                <a:gd name="T49" fmla="*/ 2229 h 2349"/>
                <a:gd name="T50" fmla="*/ 1067 w 1345"/>
                <a:gd name="T51" fmla="*/ 2245 h 2349"/>
                <a:gd name="T52" fmla="*/ 964 w 1345"/>
                <a:gd name="T53" fmla="*/ 2292 h 2349"/>
                <a:gd name="T54" fmla="*/ 774 w 1345"/>
                <a:gd name="T55" fmla="*/ 1960 h 2349"/>
                <a:gd name="T56" fmla="*/ 798 w 1345"/>
                <a:gd name="T57" fmla="*/ 1992 h 2349"/>
                <a:gd name="T58" fmla="*/ 838 w 1345"/>
                <a:gd name="T59" fmla="*/ 2205 h 2349"/>
                <a:gd name="T60" fmla="*/ 956 w 1345"/>
                <a:gd name="T61" fmla="*/ 2292 h 2349"/>
                <a:gd name="T62" fmla="*/ 1035 w 1345"/>
                <a:gd name="T63" fmla="*/ 2245 h 2349"/>
                <a:gd name="T64" fmla="*/ 1162 w 1345"/>
                <a:gd name="T65" fmla="*/ 2197 h 2349"/>
                <a:gd name="T66" fmla="*/ 1296 w 1345"/>
                <a:gd name="T67" fmla="*/ 2213 h 2349"/>
                <a:gd name="T68" fmla="*/ 1257 w 1345"/>
                <a:gd name="T69" fmla="*/ 1541 h 2349"/>
                <a:gd name="T70" fmla="*/ 1233 w 1345"/>
                <a:gd name="T71" fmla="*/ 8 h 2349"/>
                <a:gd name="T72" fmla="*/ 411 w 1345"/>
                <a:gd name="T73" fmla="*/ 142 h 2349"/>
                <a:gd name="T74" fmla="*/ 340 w 1345"/>
                <a:gd name="T75" fmla="*/ 276 h 2349"/>
                <a:gd name="T76" fmla="*/ 221 w 1345"/>
                <a:gd name="T77" fmla="*/ 474 h 2349"/>
                <a:gd name="T78" fmla="*/ 221 w 1345"/>
                <a:gd name="T79" fmla="*/ 553 h 2349"/>
                <a:gd name="T80" fmla="*/ 158 w 1345"/>
                <a:gd name="T81" fmla="*/ 593 h 2349"/>
                <a:gd name="T82" fmla="*/ 134 w 1345"/>
                <a:gd name="T83" fmla="*/ 759 h 2349"/>
                <a:gd name="T84" fmla="*/ 174 w 1345"/>
                <a:gd name="T85" fmla="*/ 932 h 2349"/>
                <a:gd name="T86" fmla="*/ 158 w 1345"/>
                <a:gd name="T87" fmla="*/ 1043 h 2349"/>
                <a:gd name="T88" fmla="*/ 166 w 1345"/>
                <a:gd name="T89" fmla="*/ 1178 h 2349"/>
                <a:gd name="T90" fmla="*/ 205 w 1345"/>
                <a:gd name="T91" fmla="*/ 1257 h 2349"/>
                <a:gd name="T92" fmla="*/ 229 w 1345"/>
                <a:gd name="T93" fmla="*/ 1336 h 2349"/>
                <a:gd name="T94" fmla="*/ 158 w 1345"/>
                <a:gd name="T95" fmla="*/ 1415 h 2349"/>
                <a:gd name="T96" fmla="*/ 174 w 1345"/>
                <a:gd name="T97" fmla="*/ 1565 h 2349"/>
                <a:gd name="T98" fmla="*/ 126 w 1345"/>
                <a:gd name="T99" fmla="*/ 1644 h 2349"/>
                <a:gd name="T100" fmla="*/ 103 w 1345"/>
                <a:gd name="T101" fmla="*/ 1707 h 2349"/>
                <a:gd name="T102" fmla="*/ 55 w 1345"/>
                <a:gd name="T103" fmla="*/ 1794 h 2349"/>
                <a:gd name="T104" fmla="*/ 39 w 1345"/>
                <a:gd name="T105" fmla="*/ 1897 h 2349"/>
                <a:gd name="T106" fmla="*/ 31 w 1345"/>
                <a:gd name="T107" fmla="*/ 1984 h 2349"/>
                <a:gd name="T108" fmla="*/ 767 w 1345"/>
                <a:gd name="T109" fmla="*/ 1960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5" h="2349">
                  <a:moveTo>
                    <a:pt x="909" y="2348"/>
                  </a:moveTo>
                  <a:lnTo>
                    <a:pt x="909" y="2348"/>
                  </a:lnTo>
                  <a:cubicBezTo>
                    <a:pt x="909" y="2340"/>
                    <a:pt x="909" y="2340"/>
                    <a:pt x="909" y="2340"/>
                  </a:cubicBezTo>
                  <a:cubicBezTo>
                    <a:pt x="909" y="2340"/>
                    <a:pt x="901" y="2332"/>
                    <a:pt x="893" y="2324"/>
                  </a:cubicBezTo>
                  <a:cubicBezTo>
                    <a:pt x="877" y="2292"/>
                    <a:pt x="838" y="2237"/>
                    <a:pt x="830" y="2213"/>
                  </a:cubicBezTo>
                  <a:cubicBezTo>
                    <a:pt x="822" y="2189"/>
                    <a:pt x="814" y="2182"/>
                    <a:pt x="798" y="2174"/>
                  </a:cubicBezTo>
                  <a:cubicBezTo>
                    <a:pt x="790" y="2158"/>
                    <a:pt x="774" y="2150"/>
                    <a:pt x="759" y="2118"/>
                  </a:cubicBezTo>
                  <a:cubicBezTo>
                    <a:pt x="711" y="2063"/>
                    <a:pt x="767" y="2008"/>
                    <a:pt x="790" y="1992"/>
                  </a:cubicBezTo>
                  <a:lnTo>
                    <a:pt x="790" y="1992"/>
                  </a:lnTo>
                  <a:cubicBezTo>
                    <a:pt x="798" y="1984"/>
                    <a:pt x="790" y="1984"/>
                    <a:pt x="790" y="1984"/>
                  </a:cubicBezTo>
                  <a:cubicBezTo>
                    <a:pt x="790" y="1976"/>
                    <a:pt x="782" y="1968"/>
                    <a:pt x="767" y="1968"/>
                  </a:cubicBezTo>
                  <a:cubicBezTo>
                    <a:pt x="751" y="1968"/>
                    <a:pt x="118" y="2008"/>
                    <a:pt x="47" y="2008"/>
                  </a:cubicBezTo>
                  <a:cubicBezTo>
                    <a:pt x="39" y="2008"/>
                    <a:pt x="39" y="2008"/>
                    <a:pt x="39" y="2008"/>
                  </a:cubicBezTo>
                  <a:cubicBezTo>
                    <a:pt x="23" y="2008"/>
                    <a:pt x="23" y="2000"/>
                    <a:pt x="23" y="2000"/>
                  </a:cubicBezTo>
                  <a:cubicBezTo>
                    <a:pt x="15" y="1992"/>
                    <a:pt x="23" y="1992"/>
                    <a:pt x="23" y="1984"/>
                  </a:cubicBezTo>
                  <a:lnTo>
                    <a:pt x="23" y="1984"/>
                  </a:lnTo>
                  <a:cubicBezTo>
                    <a:pt x="31" y="1976"/>
                    <a:pt x="23" y="1952"/>
                    <a:pt x="8" y="1936"/>
                  </a:cubicBezTo>
                  <a:cubicBezTo>
                    <a:pt x="8" y="1929"/>
                    <a:pt x="0" y="1921"/>
                    <a:pt x="8" y="1913"/>
                  </a:cubicBezTo>
                  <a:cubicBezTo>
                    <a:pt x="8" y="1897"/>
                    <a:pt x="23" y="1889"/>
                    <a:pt x="31" y="1889"/>
                  </a:cubicBezTo>
                  <a:cubicBezTo>
                    <a:pt x="39" y="1889"/>
                    <a:pt x="39" y="1881"/>
                    <a:pt x="39" y="1881"/>
                  </a:cubicBezTo>
                  <a:cubicBezTo>
                    <a:pt x="47" y="1865"/>
                    <a:pt x="39" y="1834"/>
                    <a:pt x="39" y="1826"/>
                  </a:cubicBezTo>
                  <a:cubicBezTo>
                    <a:pt x="31" y="1818"/>
                    <a:pt x="31" y="1810"/>
                    <a:pt x="39" y="1802"/>
                  </a:cubicBezTo>
                  <a:cubicBezTo>
                    <a:pt x="39" y="1794"/>
                    <a:pt x="47" y="1786"/>
                    <a:pt x="55" y="1786"/>
                  </a:cubicBezTo>
                  <a:cubicBezTo>
                    <a:pt x="63" y="1786"/>
                    <a:pt x="55" y="1763"/>
                    <a:pt x="55" y="1747"/>
                  </a:cubicBezTo>
                  <a:cubicBezTo>
                    <a:pt x="55" y="1739"/>
                    <a:pt x="55" y="1731"/>
                    <a:pt x="55" y="1723"/>
                  </a:cubicBezTo>
                  <a:cubicBezTo>
                    <a:pt x="55" y="1707"/>
                    <a:pt x="79" y="1699"/>
                    <a:pt x="95" y="1699"/>
                  </a:cubicBezTo>
                  <a:lnTo>
                    <a:pt x="103" y="1699"/>
                  </a:lnTo>
                  <a:cubicBezTo>
                    <a:pt x="103" y="1699"/>
                    <a:pt x="103" y="1691"/>
                    <a:pt x="103" y="1683"/>
                  </a:cubicBezTo>
                  <a:cubicBezTo>
                    <a:pt x="103" y="1676"/>
                    <a:pt x="95" y="1668"/>
                    <a:pt x="95" y="1660"/>
                  </a:cubicBezTo>
                  <a:cubicBezTo>
                    <a:pt x="95" y="1652"/>
                    <a:pt x="95" y="1644"/>
                    <a:pt x="103" y="1644"/>
                  </a:cubicBezTo>
                  <a:cubicBezTo>
                    <a:pt x="103" y="1636"/>
                    <a:pt x="118" y="1636"/>
                    <a:pt x="126" y="1636"/>
                  </a:cubicBezTo>
                  <a:cubicBezTo>
                    <a:pt x="126" y="1636"/>
                    <a:pt x="126" y="1636"/>
                    <a:pt x="134" y="1636"/>
                  </a:cubicBezTo>
                  <a:cubicBezTo>
                    <a:pt x="142" y="1636"/>
                    <a:pt x="142" y="1620"/>
                    <a:pt x="134" y="1596"/>
                  </a:cubicBezTo>
                  <a:cubicBezTo>
                    <a:pt x="126" y="1573"/>
                    <a:pt x="142" y="1573"/>
                    <a:pt x="158" y="1565"/>
                  </a:cubicBezTo>
                  <a:lnTo>
                    <a:pt x="166" y="1565"/>
                  </a:lnTo>
                  <a:cubicBezTo>
                    <a:pt x="181" y="1557"/>
                    <a:pt x="213" y="1494"/>
                    <a:pt x="221" y="1470"/>
                  </a:cubicBezTo>
                  <a:cubicBezTo>
                    <a:pt x="221" y="1454"/>
                    <a:pt x="221" y="1454"/>
                    <a:pt x="205" y="1446"/>
                  </a:cubicBezTo>
                  <a:cubicBezTo>
                    <a:pt x="197" y="1446"/>
                    <a:pt x="181" y="1438"/>
                    <a:pt x="166" y="1431"/>
                  </a:cubicBezTo>
                  <a:cubicBezTo>
                    <a:pt x="166" y="1431"/>
                    <a:pt x="150" y="1423"/>
                    <a:pt x="158" y="1415"/>
                  </a:cubicBezTo>
                  <a:cubicBezTo>
                    <a:pt x="158" y="1399"/>
                    <a:pt x="190" y="1391"/>
                    <a:pt x="237" y="1383"/>
                  </a:cubicBezTo>
                  <a:cubicBezTo>
                    <a:pt x="245" y="1383"/>
                    <a:pt x="253" y="1375"/>
                    <a:pt x="253" y="1375"/>
                  </a:cubicBezTo>
                  <a:cubicBezTo>
                    <a:pt x="261" y="1375"/>
                    <a:pt x="261" y="1375"/>
                    <a:pt x="261" y="1375"/>
                  </a:cubicBezTo>
                  <a:cubicBezTo>
                    <a:pt x="261" y="1367"/>
                    <a:pt x="253" y="1352"/>
                    <a:pt x="221" y="1343"/>
                  </a:cubicBezTo>
                  <a:cubicBezTo>
                    <a:pt x="205" y="1336"/>
                    <a:pt x="197" y="1328"/>
                    <a:pt x="197" y="1328"/>
                  </a:cubicBezTo>
                  <a:cubicBezTo>
                    <a:pt x="197" y="1320"/>
                    <a:pt x="197" y="1312"/>
                    <a:pt x="205" y="1312"/>
                  </a:cubicBezTo>
                  <a:cubicBezTo>
                    <a:pt x="205" y="1304"/>
                    <a:pt x="205" y="1304"/>
                    <a:pt x="213" y="1296"/>
                  </a:cubicBezTo>
                  <a:cubicBezTo>
                    <a:pt x="213" y="1280"/>
                    <a:pt x="205" y="1265"/>
                    <a:pt x="197" y="1265"/>
                  </a:cubicBezTo>
                  <a:cubicBezTo>
                    <a:pt x="174" y="1265"/>
                    <a:pt x="166" y="1233"/>
                    <a:pt x="166" y="1209"/>
                  </a:cubicBezTo>
                  <a:cubicBezTo>
                    <a:pt x="166" y="1201"/>
                    <a:pt x="166" y="1185"/>
                    <a:pt x="166" y="1178"/>
                  </a:cubicBezTo>
                  <a:cubicBezTo>
                    <a:pt x="150" y="1170"/>
                    <a:pt x="166" y="1154"/>
                    <a:pt x="174" y="1138"/>
                  </a:cubicBezTo>
                  <a:cubicBezTo>
                    <a:pt x="181" y="1130"/>
                    <a:pt x="181" y="1114"/>
                    <a:pt x="181" y="1106"/>
                  </a:cubicBezTo>
                  <a:lnTo>
                    <a:pt x="174" y="1099"/>
                  </a:lnTo>
                  <a:cubicBezTo>
                    <a:pt x="166" y="1091"/>
                    <a:pt x="158" y="1075"/>
                    <a:pt x="150" y="1043"/>
                  </a:cubicBezTo>
                  <a:cubicBezTo>
                    <a:pt x="142" y="1019"/>
                    <a:pt x="150" y="1012"/>
                    <a:pt x="158" y="1004"/>
                  </a:cubicBezTo>
                  <a:lnTo>
                    <a:pt x="158" y="996"/>
                  </a:lnTo>
                  <a:cubicBezTo>
                    <a:pt x="150" y="972"/>
                    <a:pt x="150" y="964"/>
                    <a:pt x="158" y="948"/>
                  </a:cubicBezTo>
                  <a:cubicBezTo>
                    <a:pt x="158" y="941"/>
                    <a:pt x="166" y="941"/>
                    <a:pt x="166" y="932"/>
                  </a:cubicBezTo>
                  <a:cubicBezTo>
                    <a:pt x="174" y="917"/>
                    <a:pt x="166" y="909"/>
                    <a:pt x="150" y="893"/>
                  </a:cubicBezTo>
                  <a:cubicBezTo>
                    <a:pt x="150" y="885"/>
                    <a:pt x="142" y="877"/>
                    <a:pt x="134" y="877"/>
                  </a:cubicBezTo>
                  <a:cubicBezTo>
                    <a:pt x="103" y="830"/>
                    <a:pt x="110" y="814"/>
                    <a:pt x="126" y="806"/>
                  </a:cubicBezTo>
                  <a:cubicBezTo>
                    <a:pt x="134" y="798"/>
                    <a:pt x="126" y="774"/>
                    <a:pt x="126" y="759"/>
                  </a:cubicBezTo>
                  <a:cubicBezTo>
                    <a:pt x="118" y="751"/>
                    <a:pt x="118" y="743"/>
                    <a:pt x="118" y="735"/>
                  </a:cubicBezTo>
                  <a:cubicBezTo>
                    <a:pt x="118" y="727"/>
                    <a:pt x="118" y="688"/>
                    <a:pt x="150" y="672"/>
                  </a:cubicBezTo>
                  <a:cubicBezTo>
                    <a:pt x="166" y="664"/>
                    <a:pt x="166" y="648"/>
                    <a:pt x="158" y="624"/>
                  </a:cubicBezTo>
                  <a:cubicBezTo>
                    <a:pt x="150" y="616"/>
                    <a:pt x="150" y="601"/>
                    <a:pt x="150" y="593"/>
                  </a:cubicBezTo>
                  <a:cubicBezTo>
                    <a:pt x="150" y="585"/>
                    <a:pt x="150" y="569"/>
                    <a:pt x="150" y="569"/>
                  </a:cubicBezTo>
                  <a:cubicBezTo>
                    <a:pt x="158" y="561"/>
                    <a:pt x="174" y="561"/>
                    <a:pt x="181" y="561"/>
                  </a:cubicBezTo>
                  <a:cubicBezTo>
                    <a:pt x="190" y="561"/>
                    <a:pt x="190" y="561"/>
                    <a:pt x="190" y="561"/>
                  </a:cubicBezTo>
                  <a:cubicBezTo>
                    <a:pt x="205" y="561"/>
                    <a:pt x="205" y="553"/>
                    <a:pt x="213" y="545"/>
                  </a:cubicBezTo>
                  <a:lnTo>
                    <a:pt x="213" y="537"/>
                  </a:lnTo>
                  <a:cubicBezTo>
                    <a:pt x="205" y="529"/>
                    <a:pt x="205" y="521"/>
                    <a:pt x="205" y="521"/>
                  </a:cubicBezTo>
                  <a:cubicBezTo>
                    <a:pt x="205" y="514"/>
                    <a:pt x="205" y="506"/>
                    <a:pt x="213" y="498"/>
                  </a:cubicBezTo>
                  <a:cubicBezTo>
                    <a:pt x="221" y="490"/>
                    <a:pt x="221" y="490"/>
                    <a:pt x="213" y="474"/>
                  </a:cubicBezTo>
                  <a:cubicBezTo>
                    <a:pt x="213" y="466"/>
                    <a:pt x="213" y="466"/>
                    <a:pt x="213" y="458"/>
                  </a:cubicBezTo>
                  <a:cubicBezTo>
                    <a:pt x="205" y="419"/>
                    <a:pt x="276" y="395"/>
                    <a:pt x="284" y="395"/>
                  </a:cubicBezTo>
                  <a:cubicBezTo>
                    <a:pt x="316" y="387"/>
                    <a:pt x="316" y="371"/>
                    <a:pt x="316" y="348"/>
                  </a:cubicBezTo>
                  <a:cubicBezTo>
                    <a:pt x="316" y="316"/>
                    <a:pt x="316" y="284"/>
                    <a:pt x="340" y="276"/>
                  </a:cubicBezTo>
                  <a:cubicBezTo>
                    <a:pt x="355" y="261"/>
                    <a:pt x="355" y="221"/>
                    <a:pt x="363" y="189"/>
                  </a:cubicBezTo>
                  <a:cubicBezTo>
                    <a:pt x="363" y="182"/>
                    <a:pt x="363" y="174"/>
                    <a:pt x="363" y="174"/>
                  </a:cubicBezTo>
                  <a:cubicBezTo>
                    <a:pt x="363" y="142"/>
                    <a:pt x="387" y="134"/>
                    <a:pt x="403" y="134"/>
                  </a:cubicBezTo>
                  <a:cubicBezTo>
                    <a:pt x="403" y="134"/>
                    <a:pt x="403" y="134"/>
                    <a:pt x="411" y="134"/>
                  </a:cubicBezTo>
                  <a:cubicBezTo>
                    <a:pt x="411" y="134"/>
                    <a:pt x="411" y="134"/>
                    <a:pt x="419" y="134"/>
                  </a:cubicBezTo>
                  <a:cubicBezTo>
                    <a:pt x="427" y="134"/>
                    <a:pt x="427" y="134"/>
                    <a:pt x="427" y="110"/>
                  </a:cubicBezTo>
                  <a:cubicBezTo>
                    <a:pt x="427" y="71"/>
                    <a:pt x="450" y="63"/>
                    <a:pt x="450" y="63"/>
                  </a:cubicBezTo>
                  <a:cubicBezTo>
                    <a:pt x="450" y="55"/>
                    <a:pt x="450" y="55"/>
                    <a:pt x="450" y="55"/>
                  </a:cubicBezTo>
                  <a:cubicBezTo>
                    <a:pt x="640" y="47"/>
                    <a:pt x="909" y="31"/>
                    <a:pt x="1233" y="0"/>
                  </a:cubicBezTo>
                  <a:lnTo>
                    <a:pt x="1233" y="0"/>
                  </a:lnTo>
                  <a:lnTo>
                    <a:pt x="1233" y="0"/>
                  </a:lnTo>
                  <a:cubicBezTo>
                    <a:pt x="1241" y="15"/>
                    <a:pt x="1249" y="31"/>
                    <a:pt x="1257" y="31"/>
                  </a:cubicBezTo>
                  <a:cubicBezTo>
                    <a:pt x="1288" y="55"/>
                    <a:pt x="1280" y="71"/>
                    <a:pt x="1280" y="79"/>
                  </a:cubicBezTo>
                  <a:lnTo>
                    <a:pt x="1280" y="87"/>
                  </a:lnTo>
                  <a:cubicBezTo>
                    <a:pt x="1280" y="102"/>
                    <a:pt x="1265" y="1525"/>
                    <a:pt x="1265" y="1541"/>
                  </a:cubicBezTo>
                  <a:cubicBezTo>
                    <a:pt x="1344" y="2213"/>
                    <a:pt x="1344" y="2213"/>
                    <a:pt x="1344" y="2213"/>
                  </a:cubicBezTo>
                  <a:lnTo>
                    <a:pt x="1344" y="2213"/>
                  </a:lnTo>
                  <a:cubicBezTo>
                    <a:pt x="1344" y="2213"/>
                    <a:pt x="1336" y="2213"/>
                    <a:pt x="1336" y="2221"/>
                  </a:cubicBezTo>
                  <a:cubicBezTo>
                    <a:pt x="1328" y="2221"/>
                    <a:pt x="1320" y="2229"/>
                    <a:pt x="1312" y="2229"/>
                  </a:cubicBezTo>
                  <a:cubicBezTo>
                    <a:pt x="1312" y="2229"/>
                    <a:pt x="1304" y="2221"/>
                    <a:pt x="1296" y="2221"/>
                  </a:cubicBezTo>
                  <a:cubicBezTo>
                    <a:pt x="1288" y="2213"/>
                    <a:pt x="1288" y="2213"/>
                    <a:pt x="1280" y="2213"/>
                  </a:cubicBezTo>
                  <a:cubicBezTo>
                    <a:pt x="1273" y="2213"/>
                    <a:pt x="1273" y="2213"/>
                    <a:pt x="1265" y="2213"/>
                  </a:cubicBezTo>
                  <a:cubicBezTo>
                    <a:pt x="1257" y="2221"/>
                    <a:pt x="1249" y="2229"/>
                    <a:pt x="1233" y="2229"/>
                  </a:cubicBezTo>
                  <a:cubicBezTo>
                    <a:pt x="1209" y="2229"/>
                    <a:pt x="1178" y="2213"/>
                    <a:pt x="1154" y="2205"/>
                  </a:cubicBezTo>
                  <a:lnTo>
                    <a:pt x="1146" y="2205"/>
                  </a:lnTo>
                  <a:cubicBezTo>
                    <a:pt x="1122" y="2205"/>
                    <a:pt x="1107" y="2221"/>
                    <a:pt x="1091" y="2229"/>
                  </a:cubicBezTo>
                  <a:cubicBezTo>
                    <a:pt x="1083" y="2237"/>
                    <a:pt x="1075" y="2245"/>
                    <a:pt x="1067" y="2245"/>
                  </a:cubicBezTo>
                  <a:cubicBezTo>
                    <a:pt x="1051" y="2253"/>
                    <a:pt x="1043" y="2253"/>
                    <a:pt x="1035" y="2253"/>
                  </a:cubicBezTo>
                  <a:lnTo>
                    <a:pt x="1027" y="2253"/>
                  </a:lnTo>
                  <a:cubicBezTo>
                    <a:pt x="1012" y="2253"/>
                    <a:pt x="1004" y="2253"/>
                    <a:pt x="988" y="2261"/>
                  </a:cubicBezTo>
                  <a:cubicBezTo>
                    <a:pt x="980" y="2276"/>
                    <a:pt x="972" y="2284"/>
                    <a:pt x="964" y="2292"/>
                  </a:cubicBezTo>
                  <a:cubicBezTo>
                    <a:pt x="956" y="2300"/>
                    <a:pt x="948" y="2316"/>
                    <a:pt x="933" y="2324"/>
                  </a:cubicBezTo>
                  <a:cubicBezTo>
                    <a:pt x="925" y="2332"/>
                    <a:pt x="917" y="2340"/>
                    <a:pt x="917" y="2340"/>
                  </a:cubicBezTo>
                  <a:lnTo>
                    <a:pt x="909" y="2348"/>
                  </a:lnTo>
                  <a:close/>
                  <a:moveTo>
                    <a:pt x="774" y="1960"/>
                  </a:moveTo>
                  <a:lnTo>
                    <a:pt x="774" y="1960"/>
                  </a:lnTo>
                  <a:lnTo>
                    <a:pt x="774" y="1960"/>
                  </a:lnTo>
                  <a:cubicBezTo>
                    <a:pt x="774" y="1960"/>
                    <a:pt x="798" y="1968"/>
                    <a:pt x="798" y="1984"/>
                  </a:cubicBezTo>
                  <a:lnTo>
                    <a:pt x="798" y="1992"/>
                  </a:lnTo>
                  <a:cubicBezTo>
                    <a:pt x="790" y="2000"/>
                    <a:pt x="790" y="2000"/>
                    <a:pt x="790" y="2000"/>
                  </a:cubicBezTo>
                  <a:cubicBezTo>
                    <a:pt x="774" y="2016"/>
                    <a:pt x="719" y="2063"/>
                    <a:pt x="759" y="2118"/>
                  </a:cubicBezTo>
                  <a:cubicBezTo>
                    <a:pt x="782" y="2142"/>
                    <a:pt x="790" y="2158"/>
                    <a:pt x="806" y="2166"/>
                  </a:cubicBezTo>
                  <a:cubicBezTo>
                    <a:pt x="822" y="2174"/>
                    <a:pt x="830" y="2189"/>
                    <a:pt x="838" y="2205"/>
                  </a:cubicBezTo>
                  <a:cubicBezTo>
                    <a:pt x="846" y="2237"/>
                    <a:pt x="885" y="2292"/>
                    <a:pt x="901" y="2316"/>
                  </a:cubicBezTo>
                  <a:cubicBezTo>
                    <a:pt x="909" y="2324"/>
                    <a:pt x="909" y="2332"/>
                    <a:pt x="917" y="2332"/>
                  </a:cubicBezTo>
                  <a:cubicBezTo>
                    <a:pt x="917" y="2332"/>
                    <a:pt x="925" y="2332"/>
                    <a:pt x="933" y="2324"/>
                  </a:cubicBezTo>
                  <a:cubicBezTo>
                    <a:pt x="940" y="2308"/>
                    <a:pt x="948" y="2300"/>
                    <a:pt x="956" y="2292"/>
                  </a:cubicBezTo>
                  <a:cubicBezTo>
                    <a:pt x="964" y="2276"/>
                    <a:pt x="972" y="2269"/>
                    <a:pt x="988" y="2261"/>
                  </a:cubicBezTo>
                  <a:cubicBezTo>
                    <a:pt x="996" y="2245"/>
                    <a:pt x="1012" y="2245"/>
                    <a:pt x="1020" y="2245"/>
                  </a:cubicBezTo>
                  <a:lnTo>
                    <a:pt x="1027" y="2245"/>
                  </a:lnTo>
                  <a:lnTo>
                    <a:pt x="1035" y="2245"/>
                  </a:lnTo>
                  <a:cubicBezTo>
                    <a:pt x="1043" y="2245"/>
                    <a:pt x="1051" y="2245"/>
                    <a:pt x="1059" y="2245"/>
                  </a:cubicBezTo>
                  <a:cubicBezTo>
                    <a:pt x="1067" y="2237"/>
                    <a:pt x="1075" y="2229"/>
                    <a:pt x="1083" y="2229"/>
                  </a:cubicBezTo>
                  <a:cubicBezTo>
                    <a:pt x="1098" y="2213"/>
                    <a:pt x="1122" y="2197"/>
                    <a:pt x="1146" y="2197"/>
                  </a:cubicBezTo>
                  <a:cubicBezTo>
                    <a:pt x="1146" y="2197"/>
                    <a:pt x="1154" y="2197"/>
                    <a:pt x="1162" y="2197"/>
                  </a:cubicBezTo>
                  <a:cubicBezTo>
                    <a:pt x="1186" y="2205"/>
                    <a:pt x="1209" y="2221"/>
                    <a:pt x="1233" y="2221"/>
                  </a:cubicBezTo>
                  <a:cubicBezTo>
                    <a:pt x="1249" y="2221"/>
                    <a:pt x="1257" y="2213"/>
                    <a:pt x="1265" y="2213"/>
                  </a:cubicBezTo>
                  <a:cubicBezTo>
                    <a:pt x="1273" y="2205"/>
                    <a:pt x="1273" y="2205"/>
                    <a:pt x="1280" y="2205"/>
                  </a:cubicBezTo>
                  <a:cubicBezTo>
                    <a:pt x="1288" y="2205"/>
                    <a:pt x="1296" y="2213"/>
                    <a:pt x="1296" y="2213"/>
                  </a:cubicBezTo>
                  <a:cubicBezTo>
                    <a:pt x="1304" y="2213"/>
                    <a:pt x="1312" y="2221"/>
                    <a:pt x="1312" y="2221"/>
                  </a:cubicBezTo>
                  <a:cubicBezTo>
                    <a:pt x="1320" y="2221"/>
                    <a:pt x="1320" y="2221"/>
                    <a:pt x="1328" y="2213"/>
                  </a:cubicBezTo>
                  <a:lnTo>
                    <a:pt x="1336" y="2205"/>
                  </a:lnTo>
                  <a:cubicBezTo>
                    <a:pt x="1257" y="1541"/>
                    <a:pt x="1257" y="1541"/>
                    <a:pt x="1257" y="1541"/>
                  </a:cubicBezTo>
                  <a:cubicBezTo>
                    <a:pt x="1257" y="1525"/>
                    <a:pt x="1273" y="102"/>
                    <a:pt x="1273" y="87"/>
                  </a:cubicBezTo>
                  <a:lnTo>
                    <a:pt x="1273" y="79"/>
                  </a:lnTo>
                  <a:cubicBezTo>
                    <a:pt x="1273" y="63"/>
                    <a:pt x="1280" y="55"/>
                    <a:pt x="1257" y="39"/>
                  </a:cubicBezTo>
                  <a:cubicBezTo>
                    <a:pt x="1249" y="31"/>
                    <a:pt x="1241" y="24"/>
                    <a:pt x="1233" y="8"/>
                  </a:cubicBezTo>
                  <a:cubicBezTo>
                    <a:pt x="909" y="39"/>
                    <a:pt x="648" y="55"/>
                    <a:pt x="450" y="63"/>
                  </a:cubicBezTo>
                  <a:cubicBezTo>
                    <a:pt x="450" y="71"/>
                    <a:pt x="434" y="79"/>
                    <a:pt x="434" y="110"/>
                  </a:cubicBezTo>
                  <a:cubicBezTo>
                    <a:pt x="434" y="134"/>
                    <a:pt x="434" y="142"/>
                    <a:pt x="419" y="142"/>
                  </a:cubicBezTo>
                  <a:cubicBezTo>
                    <a:pt x="411" y="142"/>
                    <a:pt x="411" y="142"/>
                    <a:pt x="411" y="142"/>
                  </a:cubicBezTo>
                  <a:lnTo>
                    <a:pt x="403" y="142"/>
                  </a:lnTo>
                  <a:cubicBezTo>
                    <a:pt x="387" y="142"/>
                    <a:pt x="371" y="142"/>
                    <a:pt x="371" y="174"/>
                  </a:cubicBezTo>
                  <a:cubicBezTo>
                    <a:pt x="371" y="174"/>
                    <a:pt x="371" y="182"/>
                    <a:pt x="371" y="189"/>
                  </a:cubicBezTo>
                  <a:cubicBezTo>
                    <a:pt x="363" y="221"/>
                    <a:pt x="355" y="268"/>
                    <a:pt x="340" y="276"/>
                  </a:cubicBezTo>
                  <a:cubicBezTo>
                    <a:pt x="324" y="292"/>
                    <a:pt x="324" y="316"/>
                    <a:pt x="324" y="348"/>
                  </a:cubicBezTo>
                  <a:cubicBezTo>
                    <a:pt x="324" y="371"/>
                    <a:pt x="316" y="395"/>
                    <a:pt x="284" y="403"/>
                  </a:cubicBezTo>
                  <a:cubicBezTo>
                    <a:pt x="261" y="411"/>
                    <a:pt x="213" y="426"/>
                    <a:pt x="221" y="450"/>
                  </a:cubicBezTo>
                  <a:cubicBezTo>
                    <a:pt x="221" y="458"/>
                    <a:pt x="221" y="466"/>
                    <a:pt x="221" y="474"/>
                  </a:cubicBezTo>
                  <a:cubicBezTo>
                    <a:pt x="229" y="482"/>
                    <a:pt x="229" y="490"/>
                    <a:pt x="221" y="506"/>
                  </a:cubicBezTo>
                  <a:cubicBezTo>
                    <a:pt x="213" y="506"/>
                    <a:pt x="213" y="514"/>
                    <a:pt x="213" y="521"/>
                  </a:cubicBezTo>
                  <a:lnTo>
                    <a:pt x="213" y="529"/>
                  </a:lnTo>
                  <a:cubicBezTo>
                    <a:pt x="221" y="537"/>
                    <a:pt x="221" y="545"/>
                    <a:pt x="221" y="553"/>
                  </a:cubicBezTo>
                  <a:cubicBezTo>
                    <a:pt x="213" y="561"/>
                    <a:pt x="205" y="569"/>
                    <a:pt x="190" y="569"/>
                  </a:cubicBezTo>
                  <a:cubicBezTo>
                    <a:pt x="181" y="569"/>
                    <a:pt x="181" y="569"/>
                    <a:pt x="181" y="569"/>
                  </a:cubicBezTo>
                  <a:cubicBezTo>
                    <a:pt x="174" y="569"/>
                    <a:pt x="166" y="569"/>
                    <a:pt x="158" y="569"/>
                  </a:cubicBezTo>
                  <a:cubicBezTo>
                    <a:pt x="158" y="577"/>
                    <a:pt x="150" y="585"/>
                    <a:pt x="158" y="593"/>
                  </a:cubicBezTo>
                  <a:cubicBezTo>
                    <a:pt x="158" y="601"/>
                    <a:pt x="158" y="608"/>
                    <a:pt x="166" y="616"/>
                  </a:cubicBezTo>
                  <a:cubicBezTo>
                    <a:pt x="174" y="640"/>
                    <a:pt x="174" y="664"/>
                    <a:pt x="158" y="679"/>
                  </a:cubicBezTo>
                  <a:cubicBezTo>
                    <a:pt x="134" y="688"/>
                    <a:pt x="126" y="711"/>
                    <a:pt x="126" y="735"/>
                  </a:cubicBezTo>
                  <a:cubicBezTo>
                    <a:pt x="126" y="743"/>
                    <a:pt x="126" y="751"/>
                    <a:pt x="134" y="759"/>
                  </a:cubicBezTo>
                  <a:cubicBezTo>
                    <a:pt x="134" y="774"/>
                    <a:pt x="142" y="798"/>
                    <a:pt x="126" y="806"/>
                  </a:cubicBezTo>
                  <a:cubicBezTo>
                    <a:pt x="110" y="822"/>
                    <a:pt x="126" y="853"/>
                    <a:pt x="142" y="869"/>
                  </a:cubicBezTo>
                  <a:cubicBezTo>
                    <a:pt x="150" y="877"/>
                    <a:pt x="150" y="885"/>
                    <a:pt x="158" y="885"/>
                  </a:cubicBezTo>
                  <a:cubicBezTo>
                    <a:pt x="174" y="901"/>
                    <a:pt x="181" y="917"/>
                    <a:pt x="174" y="932"/>
                  </a:cubicBezTo>
                  <a:cubicBezTo>
                    <a:pt x="174" y="941"/>
                    <a:pt x="166" y="948"/>
                    <a:pt x="166" y="948"/>
                  </a:cubicBezTo>
                  <a:cubicBezTo>
                    <a:pt x="158" y="964"/>
                    <a:pt x="158" y="972"/>
                    <a:pt x="166" y="988"/>
                  </a:cubicBezTo>
                  <a:cubicBezTo>
                    <a:pt x="166" y="996"/>
                    <a:pt x="166" y="1004"/>
                    <a:pt x="166" y="1012"/>
                  </a:cubicBezTo>
                  <a:cubicBezTo>
                    <a:pt x="158" y="1012"/>
                    <a:pt x="150" y="1019"/>
                    <a:pt x="158" y="1043"/>
                  </a:cubicBezTo>
                  <a:cubicBezTo>
                    <a:pt x="166" y="1075"/>
                    <a:pt x="174" y="1083"/>
                    <a:pt x="181" y="1091"/>
                  </a:cubicBezTo>
                  <a:cubicBezTo>
                    <a:pt x="181" y="1099"/>
                    <a:pt x="190" y="1099"/>
                    <a:pt x="190" y="1106"/>
                  </a:cubicBezTo>
                  <a:cubicBezTo>
                    <a:pt x="190" y="1114"/>
                    <a:pt x="181" y="1130"/>
                    <a:pt x="174" y="1146"/>
                  </a:cubicBezTo>
                  <a:cubicBezTo>
                    <a:pt x="166" y="1154"/>
                    <a:pt x="166" y="1170"/>
                    <a:pt x="166" y="1178"/>
                  </a:cubicBezTo>
                  <a:cubicBezTo>
                    <a:pt x="174" y="1185"/>
                    <a:pt x="174" y="1193"/>
                    <a:pt x="174" y="1209"/>
                  </a:cubicBezTo>
                  <a:cubicBezTo>
                    <a:pt x="174" y="1241"/>
                    <a:pt x="181" y="1257"/>
                    <a:pt x="205" y="1257"/>
                  </a:cubicBezTo>
                  <a:lnTo>
                    <a:pt x="205" y="1257"/>
                  </a:lnTo>
                  <a:lnTo>
                    <a:pt x="205" y="1257"/>
                  </a:lnTo>
                  <a:cubicBezTo>
                    <a:pt x="205" y="1257"/>
                    <a:pt x="221" y="1272"/>
                    <a:pt x="213" y="1296"/>
                  </a:cubicBezTo>
                  <a:cubicBezTo>
                    <a:pt x="213" y="1304"/>
                    <a:pt x="213" y="1312"/>
                    <a:pt x="213" y="1312"/>
                  </a:cubicBezTo>
                  <a:cubicBezTo>
                    <a:pt x="205" y="1320"/>
                    <a:pt x="205" y="1320"/>
                    <a:pt x="205" y="1320"/>
                  </a:cubicBezTo>
                  <a:cubicBezTo>
                    <a:pt x="205" y="1328"/>
                    <a:pt x="221" y="1336"/>
                    <a:pt x="229" y="1336"/>
                  </a:cubicBezTo>
                  <a:cubicBezTo>
                    <a:pt x="237" y="1343"/>
                    <a:pt x="268" y="1359"/>
                    <a:pt x="268" y="1375"/>
                  </a:cubicBezTo>
                  <a:cubicBezTo>
                    <a:pt x="268" y="1375"/>
                    <a:pt x="268" y="1383"/>
                    <a:pt x="261" y="1383"/>
                  </a:cubicBezTo>
                  <a:cubicBezTo>
                    <a:pt x="253" y="1383"/>
                    <a:pt x="245" y="1383"/>
                    <a:pt x="237" y="1391"/>
                  </a:cubicBezTo>
                  <a:cubicBezTo>
                    <a:pt x="213" y="1391"/>
                    <a:pt x="166" y="1407"/>
                    <a:pt x="158" y="1415"/>
                  </a:cubicBezTo>
                  <a:cubicBezTo>
                    <a:pt x="158" y="1415"/>
                    <a:pt x="166" y="1423"/>
                    <a:pt x="174" y="1423"/>
                  </a:cubicBezTo>
                  <a:cubicBezTo>
                    <a:pt x="181" y="1431"/>
                    <a:pt x="197" y="1438"/>
                    <a:pt x="205" y="1438"/>
                  </a:cubicBezTo>
                  <a:cubicBezTo>
                    <a:pt x="221" y="1446"/>
                    <a:pt x="229" y="1446"/>
                    <a:pt x="229" y="1470"/>
                  </a:cubicBezTo>
                  <a:cubicBezTo>
                    <a:pt x="221" y="1494"/>
                    <a:pt x="190" y="1557"/>
                    <a:pt x="174" y="1565"/>
                  </a:cubicBezTo>
                  <a:cubicBezTo>
                    <a:pt x="166" y="1573"/>
                    <a:pt x="166" y="1573"/>
                    <a:pt x="158" y="1573"/>
                  </a:cubicBezTo>
                  <a:cubicBezTo>
                    <a:pt x="150" y="1573"/>
                    <a:pt x="142" y="1581"/>
                    <a:pt x="142" y="1596"/>
                  </a:cubicBezTo>
                  <a:cubicBezTo>
                    <a:pt x="150" y="1636"/>
                    <a:pt x="142" y="1644"/>
                    <a:pt x="134" y="1644"/>
                  </a:cubicBezTo>
                  <a:lnTo>
                    <a:pt x="126" y="1644"/>
                  </a:lnTo>
                  <a:cubicBezTo>
                    <a:pt x="118" y="1644"/>
                    <a:pt x="110" y="1644"/>
                    <a:pt x="103" y="1652"/>
                  </a:cubicBezTo>
                  <a:cubicBezTo>
                    <a:pt x="103" y="1652"/>
                    <a:pt x="103" y="1652"/>
                    <a:pt x="103" y="1660"/>
                  </a:cubicBezTo>
                  <a:cubicBezTo>
                    <a:pt x="103" y="1668"/>
                    <a:pt x="110" y="1676"/>
                    <a:pt x="110" y="1676"/>
                  </a:cubicBezTo>
                  <a:cubicBezTo>
                    <a:pt x="110" y="1691"/>
                    <a:pt x="118" y="1699"/>
                    <a:pt x="103" y="1707"/>
                  </a:cubicBezTo>
                  <a:lnTo>
                    <a:pt x="95" y="1707"/>
                  </a:lnTo>
                  <a:cubicBezTo>
                    <a:pt x="79" y="1707"/>
                    <a:pt x="63" y="1715"/>
                    <a:pt x="63" y="1723"/>
                  </a:cubicBezTo>
                  <a:cubicBezTo>
                    <a:pt x="63" y="1731"/>
                    <a:pt x="63" y="1739"/>
                    <a:pt x="63" y="1747"/>
                  </a:cubicBezTo>
                  <a:cubicBezTo>
                    <a:pt x="63" y="1771"/>
                    <a:pt x="71" y="1786"/>
                    <a:pt x="55" y="1794"/>
                  </a:cubicBezTo>
                  <a:cubicBezTo>
                    <a:pt x="55" y="1794"/>
                    <a:pt x="47" y="1794"/>
                    <a:pt x="47" y="1802"/>
                  </a:cubicBezTo>
                  <a:cubicBezTo>
                    <a:pt x="39" y="1802"/>
                    <a:pt x="39" y="1810"/>
                    <a:pt x="47" y="1818"/>
                  </a:cubicBezTo>
                  <a:cubicBezTo>
                    <a:pt x="55" y="1834"/>
                    <a:pt x="55" y="1865"/>
                    <a:pt x="47" y="1881"/>
                  </a:cubicBezTo>
                  <a:cubicBezTo>
                    <a:pt x="47" y="1889"/>
                    <a:pt x="39" y="1889"/>
                    <a:pt x="39" y="1897"/>
                  </a:cubicBezTo>
                  <a:cubicBezTo>
                    <a:pt x="31" y="1897"/>
                    <a:pt x="15" y="1905"/>
                    <a:pt x="15" y="1913"/>
                  </a:cubicBezTo>
                  <a:cubicBezTo>
                    <a:pt x="8" y="1921"/>
                    <a:pt x="15" y="1921"/>
                    <a:pt x="15" y="1929"/>
                  </a:cubicBezTo>
                  <a:cubicBezTo>
                    <a:pt x="31" y="1952"/>
                    <a:pt x="47" y="1976"/>
                    <a:pt x="31" y="1984"/>
                  </a:cubicBezTo>
                  <a:lnTo>
                    <a:pt x="31" y="1984"/>
                  </a:lnTo>
                  <a:cubicBezTo>
                    <a:pt x="31" y="1992"/>
                    <a:pt x="23" y="1992"/>
                    <a:pt x="23" y="2000"/>
                  </a:cubicBezTo>
                  <a:cubicBezTo>
                    <a:pt x="23" y="2000"/>
                    <a:pt x="31" y="2000"/>
                    <a:pt x="39" y="2000"/>
                  </a:cubicBezTo>
                  <a:cubicBezTo>
                    <a:pt x="39" y="2000"/>
                    <a:pt x="39" y="2000"/>
                    <a:pt x="47" y="2000"/>
                  </a:cubicBezTo>
                  <a:cubicBezTo>
                    <a:pt x="118" y="2000"/>
                    <a:pt x="767" y="1960"/>
                    <a:pt x="767" y="1960"/>
                  </a:cubicBezTo>
                  <a:lnTo>
                    <a:pt x="774" y="1960"/>
                  </a:lnTo>
                  <a:close/>
                </a:path>
              </a:pathLst>
            </a:custGeom>
            <a:grpFill/>
            <a:ln>
              <a:solidFill>
                <a:schemeClr val="bg1">
                  <a:lumMod val="95000"/>
                </a:schemeClr>
              </a:solidFill>
            </a:ln>
            <a:effectLst/>
          </p:spPr>
          <p:txBody>
            <a:bodyPr wrap="none" anchor="ctr"/>
            <a:lstStyle/>
            <a:p>
              <a:endParaRPr lang="en-US" sz="900"/>
            </a:p>
          </p:txBody>
        </p:sp>
        <p:sp>
          <p:nvSpPr>
            <p:cNvPr id="54" name="Freeform 407"/>
            <p:cNvSpPr>
              <a:spLocks noChangeArrowheads="1"/>
            </p:cNvSpPr>
            <p:nvPr/>
          </p:nvSpPr>
          <p:spPr bwMode="auto">
            <a:xfrm>
              <a:off x="14945848" y="6857187"/>
              <a:ext cx="997301" cy="770010"/>
            </a:xfrm>
            <a:custGeom>
              <a:avLst/>
              <a:gdLst>
                <a:gd name="T0" fmla="*/ 1407 w 1898"/>
                <a:gd name="T1" fmla="*/ 79 h 1463"/>
                <a:gd name="T2" fmla="*/ 1407 w 1898"/>
                <a:gd name="T3" fmla="*/ 79 h 1463"/>
                <a:gd name="T4" fmla="*/ 964 w 1898"/>
                <a:gd name="T5" fmla="*/ 158 h 1463"/>
                <a:gd name="T6" fmla="*/ 925 w 1898"/>
                <a:gd name="T7" fmla="*/ 63 h 1463"/>
                <a:gd name="T8" fmla="*/ 854 w 1898"/>
                <a:gd name="T9" fmla="*/ 47 h 1463"/>
                <a:gd name="T10" fmla="*/ 830 w 1898"/>
                <a:gd name="T11" fmla="*/ 16 h 1463"/>
                <a:gd name="T12" fmla="*/ 411 w 1898"/>
                <a:gd name="T13" fmla="*/ 55 h 1463"/>
                <a:gd name="T14" fmla="*/ 181 w 1898"/>
                <a:gd name="T15" fmla="*/ 166 h 1463"/>
                <a:gd name="T16" fmla="*/ 79 w 1898"/>
                <a:gd name="T17" fmla="*/ 221 h 1463"/>
                <a:gd name="T18" fmla="*/ 79 w 1898"/>
                <a:gd name="T19" fmla="*/ 237 h 1463"/>
                <a:gd name="T20" fmla="*/ 15 w 1898"/>
                <a:gd name="T21" fmla="*/ 308 h 1463"/>
                <a:gd name="T22" fmla="*/ 23 w 1898"/>
                <a:gd name="T23" fmla="*/ 387 h 1463"/>
                <a:gd name="T24" fmla="*/ 110 w 1898"/>
                <a:gd name="T25" fmla="*/ 458 h 1463"/>
                <a:gd name="T26" fmla="*/ 174 w 1898"/>
                <a:gd name="T27" fmla="*/ 458 h 1463"/>
                <a:gd name="T28" fmla="*/ 237 w 1898"/>
                <a:gd name="T29" fmla="*/ 537 h 1463"/>
                <a:gd name="T30" fmla="*/ 371 w 1898"/>
                <a:gd name="T31" fmla="*/ 688 h 1463"/>
                <a:gd name="T32" fmla="*/ 466 w 1898"/>
                <a:gd name="T33" fmla="*/ 759 h 1463"/>
                <a:gd name="T34" fmla="*/ 553 w 1898"/>
                <a:gd name="T35" fmla="*/ 822 h 1463"/>
                <a:gd name="T36" fmla="*/ 632 w 1898"/>
                <a:gd name="T37" fmla="*/ 869 h 1463"/>
                <a:gd name="T38" fmla="*/ 703 w 1898"/>
                <a:gd name="T39" fmla="*/ 964 h 1463"/>
                <a:gd name="T40" fmla="*/ 806 w 1898"/>
                <a:gd name="T41" fmla="*/ 1043 h 1463"/>
                <a:gd name="T42" fmla="*/ 885 w 1898"/>
                <a:gd name="T43" fmla="*/ 1146 h 1463"/>
                <a:gd name="T44" fmla="*/ 901 w 1898"/>
                <a:gd name="T45" fmla="*/ 1225 h 1463"/>
                <a:gd name="T46" fmla="*/ 964 w 1898"/>
                <a:gd name="T47" fmla="*/ 1273 h 1463"/>
                <a:gd name="T48" fmla="*/ 1027 w 1898"/>
                <a:gd name="T49" fmla="*/ 1352 h 1463"/>
                <a:gd name="T50" fmla="*/ 1035 w 1898"/>
                <a:gd name="T51" fmla="*/ 1439 h 1463"/>
                <a:gd name="T52" fmla="*/ 1162 w 1898"/>
                <a:gd name="T53" fmla="*/ 1462 h 1463"/>
                <a:gd name="T54" fmla="*/ 1162 w 1898"/>
                <a:gd name="T55" fmla="*/ 1454 h 1463"/>
                <a:gd name="T56" fmla="*/ 1185 w 1898"/>
                <a:gd name="T57" fmla="*/ 1415 h 1463"/>
                <a:gd name="T58" fmla="*/ 1225 w 1898"/>
                <a:gd name="T59" fmla="*/ 1383 h 1463"/>
                <a:gd name="T60" fmla="*/ 1201 w 1898"/>
                <a:gd name="T61" fmla="*/ 1352 h 1463"/>
                <a:gd name="T62" fmla="*/ 1185 w 1898"/>
                <a:gd name="T63" fmla="*/ 1312 h 1463"/>
                <a:gd name="T64" fmla="*/ 1233 w 1898"/>
                <a:gd name="T65" fmla="*/ 1320 h 1463"/>
                <a:gd name="T66" fmla="*/ 1265 w 1898"/>
                <a:gd name="T67" fmla="*/ 1336 h 1463"/>
                <a:gd name="T68" fmla="*/ 1304 w 1898"/>
                <a:gd name="T69" fmla="*/ 1280 h 1463"/>
                <a:gd name="T70" fmla="*/ 1280 w 1898"/>
                <a:gd name="T71" fmla="*/ 1249 h 1463"/>
                <a:gd name="T72" fmla="*/ 1241 w 1898"/>
                <a:gd name="T73" fmla="*/ 1233 h 1463"/>
                <a:gd name="T74" fmla="*/ 1288 w 1898"/>
                <a:gd name="T75" fmla="*/ 1209 h 1463"/>
                <a:gd name="T76" fmla="*/ 1328 w 1898"/>
                <a:gd name="T77" fmla="*/ 1209 h 1463"/>
                <a:gd name="T78" fmla="*/ 1423 w 1898"/>
                <a:gd name="T79" fmla="*/ 1154 h 1463"/>
                <a:gd name="T80" fmla="*/ 1486 w 1898"/>
                <a:gd name="T81" fmla="*/ 1122 h 1463"/>
                <a:gd name="T82" fmla="*/ 1494 w 1898"/>
                <a:gd name="T83" fmla="*/ 1067 h 1463"/>
                <a:gd name="T84" fmla="*/ 1518 w 1898"/>
                <a:gd name="T85" fmla="*/ 1051 h 1463"/>
                <a:gd name="T86" fmla="*/ 1549 w 1898"/>
                <a:gd name="T87" fmla="*/ 1035 h 1463"/>
                <a:gd name="T88" fmla="*/ 1597 w 1898"/>
                <a:gd name="T89" fmla="*/ 972 h 1463"/>
                <a:gd name="T90" fmla="*/ 1604 w 1898"/>
                <a:gd name="T91" fmla="*/ 917 h 1463"/>
                <a:gd name="T92" fmla="*/ 1660 w 1898"/>
                <a:gd name="T93" fmla="*/ 909 h 1463"/>
                <a:gd name="T94" fmla="*/ 1691 w 1898"/>
                <a:gd name="T95" fmla="*/ 853 h 1463"/>
                <a:gd name="T96" fmla="*/ 1699 w 1898"/>
                <a:gd name="T97" fmla="*/ 790 h 1463"/>
                <a:gd name="T98" fmla="*/ 1691 w 1898"/>
                <a:gd name="T99" fmla="*/ 767 h 1463"/>
                <a:gd name="T100" fmla="*/ 1715 w 1898"/>
                <a:gd name="T101" fmla="*/ 751 h 1463"/>
                <a:gd name="T102" fmla="*/ 1850 w 1898"/>
                <a:gd name="T103" fmla="*/ 490 h 1463"/>
                <a:gd name="T104" fmla="*/ 1897 w 1898"/>
                <a:gd name="T105" fmla="*/ 451 h 1463"/>
                <a:gd name="T106" fmla="*/ 1407 w 1898"/>
                <a:gd name="T107" fmla="*/ 79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8" h="1463">
                  <a:moveTo>
                    <a:pt x="1407" y="79"/>
                  </a:moveTo>
                  <a:lnTo>
                    <a:pt x="1407" y="79"/>
                  </a:lnTo>
                  <a:cubicBezTo>
                    <a:pt x="964" y="158"/>
                    <a:pt x="964" y="158"/>
                    <a:pt x="964" y="158"/>
                  </a:cubicBezTo>
                  <a:cubicBezTo>
                    <a:pt x="964" y="158"/>
                    <a:pt x="940" y="79"/>
                    <a:pt x="925" y="63"/>
                  </a:cubicBezTo>
                  <a:cubicBezTo>
                    <a:pt x="909" y="39"/>
                    <a:pt x="901" y="55"/>
                    <a:pt x="854" y="47"/>
                  </a:cubicBezTo>
                  <a:cubicBezTo>
                    <a:pt x="806" y="39"/>
                    <a:pt x="830" y="31"/>
                    <a:pt x="830" y="16"/>
                  </a:cubicBezTo>
                  <a:cubicBezTo>
                    <a:pt x="830" y="0"/>
                    <a:pt x="442" y="55"/>
                    <a:pt x="411" y="55"/>
                  </a:cubicBezTo>
                  <a:cubicBezTo>
                    <a:pt x="371" y="63"/>
                    <a:pt x="229" y="134"/>
                    <a:pt x="181" y="166"/>
                  </a:cubicBezTo>
                  <a:cubicBezTo>
                    <a:pt x="142" y="182"/>
                    <a:pt x="126" y="213"/>
                    <a:pt x="79" y="221"/>
                  </a:cubicBezTo>
                  <a:cubicBezTo>
                    <a:pt x="79" y="229"/>
                    <a:pt x="79" y="237"/>
                    <a:pt x="79" y="237"/>
                  </a:cubicBezTo>
                  <a:cubicBezTo>
                    <a:pt x="71" y="245"/>
                    <a:pt x="15" y="276"/>
                    <a:pt x="15" y="308"/>
                  </a:cubicBezTo>
                  <a:cubicBezTo>
                    <a:pt x="8" y="340"/>
                    <a:pt x="0" y="379"/>
                    <a:pt x="23" y="387"/>
                  </a:cubicBezTo>
                  <a:cubicBezTo>
                    <a:pt x="39" y="403"/>
                    <a:pt x="95" y="435"/>
                    <a:pt x="110" y="458"/>
                  </a:cubicBezTo>
                  <a:cubicBezTo>
                    <a:pt x="126" y="482"/>
                    <a:pt x="150" y="458"/>
                    <a:pt x="174" y="458"/>
                  </a:cubicBezTo>
                  <a:cubicBezTo>
                    <a:pt x="190" y="458"/>
                    <a:pt x="205" y="490"/>
                    <a:pt x="237" y="537"/>
                  </a:cubicBezTo>
                  <a:cubicBezTo>
                    <a:pt x="261" y="585"/>
                    <a:pt x="316" y="672"/>
                    <a:pt x="371" y="688"/>
                  </a:cubicBezTo>
                  <a:cubicBezTo>
                    <a:pt x="419" y="711"/>
                    <a:pt x="434" y="719"/>
                    <a:pt x="466" y="759"/>
                  </a:cubicBezTo>
                  <a:cubicBezTo>
                    <a:pt x="498" y="798"/>
                    <a:pt x="521" y="814"/>
                    <a:pt x="553" y="822"/>
                  </a:cubicBezTo>
                  <a:cubicBezTo>
                    <a:pt x="585" y="838"/>
                    <a:pt x="616" y="846"/>
                    <a:pt x="632" y="869"/>
                  </a:cubicBezTo>
                  <a:cubicBezTo>
                    <a:pt x="656" y="901"/>
                    <a:pt x="656" y="925"/>
                    <a:pt x="703" y="964"/>
                  </a:cubicBezTo>
                  <a:cubicBezTo>
                    <a:pt x="759" y="1012"/>
                    <a:pt x="774" y="1020"/>
                    <a:pt x="806" y="1043"/>
                  </a:cubicBezTo>
                  <a:cubicBezTo>
                    <a:pt x="838" y="1059"/>
                    <a:pt x="885" y="1122"/>
                    <a:pt x="885" y="1146"/>
                  </a:cubicBezTo>
                  <a:cubicBezTo>
                    <a:pt x="885" y="1170"/>
                    <a:pt x="877" y="1209"/>
                    <a:pt x="901" y="1225"/>
                  </a:cubicBezTo>
                  <a:cubicBezTo>
                    <a:pt x="925" y="1241"/>
                    <a:pt x="948" y="1241"/>
                    <a:pt x="964" y="1273"/>
                  </a:cubicBezTo>
                  <a:cubicBezTo>
                    <a:pt x="988" y="1296"/>
                    <a:pt x="1004" y="1344"/>
                    <a:pt x="1027" y="1352"/>
                  </a:cubicBezTo>
                  <a:cubicBezTo>
                    <a:pt x="1043" y="1359"/>
                    <a:pt x="996" y="1423"/>
                    <a:pt x="1035" y="1439"/>
                  </a:cubicBezTo>
                  <a:cubicBezTo>
                    <a:pt x="1059" y="1454"/>
                    <a:pt x="1138" y="1462"/>
                    <a:pt x="1162" y="1462"/>
                  </a:cubicBezTo>
                  <a:cubicBezTo>
                    <a:pt x="1162" y="1454"/>
                    <a:pt x="1162" y="1454"/>
                    <a:pt x="1162" y="1454"/>
                  </a:cubicBezTo>
                  <a:cubicBezTo>
                    <a:pt x="1162" y="1446"/>
                    <a:pt x="1162" y="1415"/>
                    <a:pt x="1185" y="1415"/>
                  </a:cubicBezTo>
                  <a:cubicBezTo>
                    <a:pt x="1201" y="1407"/>
                    <a:pt x="1233" y="1407"/>
                    <a:pt x="1225" y="1383"/>
                  </a:cubicBezTo>
                  <a:cubicBezTo>
                    <a:pt x="1217" y="1359"/>
                    <a:pt x="1217" y="1368"/>
                    <a:pt x="1201" y="1352"/>
                  </a:cubicBezTo>
                  <a:cubicBezTo>
                    <a:pt x="1185" y="1328"/>
                    <a:pt x="1154" y="1320"/>
                    <a:pt x="1185" y="1312"/>
                  </a:cubicBezTo>
                  <a:cubicBezTo>
                    <a:pt x="1217" y="1304"/>
                    <a:pt x="1217" y="1304"/>
                    <a:pt x="1233" y="1320"/>
                  </a:cubicBezTo>
                  <a:cubicBezTo>
                    <a:pt x="1249" y="1336"/>
                    <a:pt x="1233" y="1344"/>
                    <a:pt x="1265" y="1336"/>
                  </a:cubicBezTo>
                  <a:cubicBezTo>
                    <a:pt x="1288" y="1320"/>
                    <a:pt x="1304" y="1304"/>
                    <a:pt x="1304" y="1280"/>
                  </a:cubicBezTo>
                  <a:cubicBezTo>
                    <a:pt x="1304" y="1257"/>
                    <a:pt x="1312" y="1257"/>
                    <a:pt x="1280" y="1249"/>
                  </a:cubicBezTo>
                  <a:cubicBezTo>
                    <a:pt x="1257" y="1249"/>
                    <a:pt x="1241" y="1249"/>
                    <a:pt x="1241" y="1233"/>
                  </a:cubicBezTo>
                  <a:cubicBezTo>
                    <a:pt x="1241" y="1225"/>
                    <a:pt x="1265" y="1201"/>
                    <a:pt x="1288" y="1209"/>
                  </a:cubicBezTo>
                  <a:cubicBezTo>
                    <a:pt x="1312" y="1217"/>
                    <a:pt x="1312" y="1217"/>
                    <a:pt x="1328" y="1209"/>
                  </a:cubicBezTo>
                  <a:cubicBezTo>
                    <a:pt x="1351" y="1201"/>
                    <a:pt x="1391" y="1170"/>
                    <a:pt x="1423" y="1154"/>
                  </a:cubicBezTo>
                  <a:cubicBezTo>
                    <a:pt x="1454" y="1138"/>
                    <a:pt x="1478" y="1146"/>
                    <a:pt x="1486" y="1122"/>
                  </a:cubicBezTo>
                  <a:cubicBezTo>
                    <a:pt x="1494" y="1099"/>
                    <a:pt x="1478" y="1083"/>
                    <a:pt x="1494" y="1067"/>
                  </a:cubicBezTo>
                  <a:cubicBezTo>
                    <a:pt x="1502" y="1051"/>
                    <a:pt x="1494" y="1051"/>
                    <a:pt x="1518" y="1051"/>
                  </a:cubicBezTo>
                  <a:cubicBezTo>
                    <a:pt x="1541" y="1051"/>
                    <a:pt x="1541" y="1059"/>
                    <a:pt x="1549" y="1035"/>
                  </a:cubicBezTo>
                  <a:cubicBezTo>
                    <a:pt x="1549" y="1012"/>
                    <a:pt x="1597" y="996"/>
                    <a:pt x="1597" y="972"/>
                  </a:cubicBezTo>
                  <a:cubicBezTo>
                    <a:pt x="1597" y="948"/>
                    <a:pt x="1573" y="917"/>
                    <a:pt x="1604" y="917"/>
                  </a:cubicBezTo>
                  <a:cubicBezTo>
                    <a:pt x="1628" y="917"/>
                    <a:pt x="1644" y="941"/>
                    <a:pt x="1660" y="909"/>
                  </a:cubicBezTo>
                  <a:cubicBezTo>
                    <a:pt x="1676" y="877"/>
                    <a:pt x="1668" y="869"/>
                    <a:pt x="1691" y="853"/>
                  </a:cubicBezTo>
                  <a:cubicBezTo>
                    <a:pt x="1707" y="838"/>
                    <a:pt x="1715" y="806"/>
                    <a:pt x="1699" y="790"/>
                  </a:cubicBezTo>
                  <a:cubicBezTo>
                    <a:pt x="1691" y="775"/>
                    <a:pt x="1676" y="767"/>
                    <a:pt x="1691" y="767"/>
                  </a:cubicBezTo>
                  <a:cubicBezTo>
                    <a:pt x="1707" y="767"/>
                    <a:pt x="1723" y="782"/>
                    <a:pt x="1715" y="751"/>
                  </a:cubicBezTo>
                  <a:cubicBezTo>
                    <a:pt x="1715" y="719"/>
                    <a:pt x="1826" y="490"/>
                    <a:pt x="1850" y="490"/>
                  </a:cubicBezTo>
                  <a:cubicBezTo>
                    <a:pt x="1873" y="482"/>
                    <a:pt x="1873" y="466"/>
                    <a:pt x="1897" y="451"/>
                  </a:cubicBezTo>
                  <a:lnTo>
                    <a:pt x="1407" y="79"/>
                  </a:lnTo>
                </a:path>
              </a:pathLst>
            </a:custGeom>
            <a:grpFill/>
            <a:ln>
              <a:solidFill>
                <a:schemeClr val="bg1">
                  <a:lumMod val="95000"/>
                </a:schemeClr>
              </a:solidFill>
            </a:ln>
            <a:effectLst/>
          </p:spPr>
          <p:txBody>
            <a:bodyPr wrap="none" anchor="ctr"/>
            <a:lstStyle/>
            <a:p>
              <a:endParaRPr lang="en-US" sz="900"/>
            </a:p>
          </p:txBody>
        </p:sp>
        <p:sp>
          <p:nvSpPr>
            <p:cNvPr id="55" name="Freeform 408"/>
            <p:cNvSpPr>
              <a:spLocks noChangeArrowheads="1"/>
            </p:cNvSpPr>
            <p:nvPr/>
          </p:nvSpPr>
          <p:spPr bwMode="auto">
            <a:xfrm>
              <a:off x="14945848" y="6861826"/>
              <a:ext cx="1001940" cy="765371"/>
            </a:xfrm>
            <a:custGeom>
              <a:avLst/>
              <a:gdLst>
                <a:gd name="T0" fmla="*/ 1020 w 1906"/>
                <a:gd name="T1" fmla="*/ 1375 h 1455"/>
                <a:gd name="T2" fmla="*/ 925 w 1906"/>
                <a:gd name="T3" fmla="*/ 1233 h 1455"/>
                <a:gd name="T4" fmla="*/ 806 w 1906"/>
                <a:gd name="T5" fmla="*/ 1035 h 1455"/>
                <a:gd name="T6" fmla="*/ 632 w 1906"/>
                <a:gd name="T7" fmla="*/ 861 h 1455"/>
                <a:gd name="T8" fmla="*/ 229 w 1906"/>
                <a:gd name="T9" fmla="*/ 529 h 1455"/>
                <a:gd name="T10" fmla="*/ 126 w 1906"/>
                <a:gd name="T11" fmla="*/ 458 h 1455"/>
                <a:gd name="T12" fmla="*/ 8 w 1906"/>
                <a:gd name="T13" fmla="*/ 308 h 1455"/>
                <a:gd name="T14" fmla="*/ 79 w 1906"/>
                <a:gd name="T15" fmla="*/ 213 h 1455"/>
                <a:gd name="T16" fmla="*/ 181 w 1906"/>
                <a:gd name="T17" fmla="*/ 150 h 1455"/>
                <a:gd name="T18" fmla="*/ 830 w 1906"/>
                <a:gd name="T19" fmla="*/ 23 h 1455"/>
                <a:gd name="T20" fmla="*/ 893 w 1906"/>
                <a:gd name="T21" fmla="*/ 39 h 1455"/>
                <a:gd name="T22" fmla="*/ 1407 w 1906"/>
                <a:gd name="T23" fmla="*/ 71 h 1455"/>
                <a:gd name="T24" fmla="*/ 1850 w 1906"/>
                <a:gd name="T25" fmla="*/ 482 h 1455"/>
                <a:gd name="T26" fmla="*/ 1699 w 1906"/>
                <a:gd name="T27" fmla="*/ 767 h 1455"/>
                <a:gd name="T28" fmla="*/ 1707 w 1906"/>
                <a:gd name="T29" fmla="*/ 782 h 1455"/>
                <a:gd name="T30" fmla="*/ 1660 w 1906"/>
                <a:gd name="T31" fmla="*/ 909 h 1455"/>
                <a:gd name="T32" fmla="*/ 1597 w 1906"/>
                <a:gd name="T33" fmla="*/ 917 h 1455"/>
                <a:gd name="T34" fmla="*/ 1549 w 1906"/>
                <a:gd name="T35" fmla="*/ 1027 h 1455"/>
                <a:gd name="T36" fmla="*/ 1510 w 1906"/>
                <a:gd name="T37" fmla="*/ 1051 h 1455"/>
                <a:gd name="T38" fmla="*/ 1486 w 1906"/>
                <a:gd name="T39" fmla="*/ 1114 h 1455"/>
                <a:gd name="T40" fmla="*/ 1336 w 1906"/>
                <a:gd name="T41" fmla="*/ 1209 h 1455"/>
                <a:gd name="T42" fmla="*/ 1241 w 1906"/>
                <a:gd name="T43" fmla="*/ 1225 h 1455"/>
                <a:gd name="T44" fmla="*/ 1304 w 1906"/>
                <a:gd name="T45" fmla="*/ 1257 h 1455"/>
                <a:gd name="T46" fmla="*/ 1233 w 1906"/>
                <a:gd name="T47" fmla="*/ 1328 h 1455"/>
                <a:gd name="T48" fmla="*/ 1185 w 1906"/>
                <a:gd name="T49" fmla="*/ 1304 h 1455"/>
                <a:gd name="T50" fmla="*/ 1217 w 1906"/>
                <a:gd name="T51" fmla="*/ 1351 h 1455"/>
                <a:gd name="T52" fmla="*/ 1185 w 1906"/>
                <a:gd name="T53" fmla="*/ 1407 h 1455"/>
                <a:gd name="T54" fmla="*/ 1162 w 1906"/>
                <a:gd name="T55" fmla="*/ 1454 h 1455"/>
                <a:gd name="T56" fmla="*/ 237 w 1906"/>
                <a:gd name="T57" fmla="*/ 521 h 1455"/>
                <a:gd name="T58" fmla="*/ 640 w 1906"/>
                <a:gd name="T59" fmla="*/ 861 h 1455"/>
                <a:gd name="T60" fmla="*/ 806 w 1906"/>
                <a:gd name="T61" fmla="*/ 1035 h 1455"/>
                <a:gd name="T62" fmla="*/ 925 w 1906"/>
                <a:gd name="T63" fmla="*/ 1233 h 1455"/>
                <a:gd name="T64" fmla="*/ 1027 w 1906"/>
                <a:gd name="T65" fmla="*/ 1375 h 1455"/>
                <a:gd name="T66" fmla="*/ 1178 w 1906"/>
                <a:gd name="T67" fmla="*/ 1399 h 1455"/>
                <a:gd name="T68" fmla="*/ 1209 w 1906"/>
                <a:gd name="T69" fmla="*/ 1351 h 1455"/>
                <a:gd name="T70" fmla="*/ 1185 w 1906"/>
                <a:gd name="T71" fmla="*/ 1296 h 1455"/>
                <a:gd name="T72" fmla="*/ 1241 w 1906"/>
                <a:gd name="T73" fmla="*/ 1328 h 1455"/>
                <a:gd name="T74" fmla="*/ 1296 w 1906"/>
                <a:gd name="T75" fmla="*/ 1257 h 1455"/>
                <a:gd name="T76" fmla="*/ 1233 w 1906"/>
                <a:gd name="T77" fmla="*/ 1225 h 1455"/>
                <a:gd name="T78" fmla="*/ 1328 w 1906"/>
                <a:gd name="T79" fmla="*/ 1201 h 1455"/>
                <a:gd name="T80" fmla="*/ 1478 w 1906"/>
                <a:gd name="T81" fmla="*/ 1107 h 1455"/>
                <a:gd name="T82" fmla="*/ 1510 w 1906"/>
                <a:gd name="T83" fmla="*/ 1043 h 1455"/>
                <a:gd name="T84" fmla="*/ 1541 w 1906"/>
                <a:gd name="T85" fmla="*/ 1027 h 1455"/>
                <a:gd name="T86" fmla="*/ 1589 w 1906"/>
                <a:gd name="T87" fmla="*/ 909 h 1455"/>
                <a:gd name="T88" fmla="*/ 1660 w 1906"/>
                <a:gd name="T89" fmla="*/ 901 h 1455"/>
                <a:gd name="T90" fmla="*/ 1699 w 1906"/>
                <a:gd name="T91" fmla="*/ 782 h 1455"/>
                <a:gd name="T92" fmla="*/ 1707 w 1906"/>
                <a:gd name="T93" fmla="*/ 759 h 1455"/>
                <a:gd name="T94" fmla="*/ 1850 w 1906"/>
                <a:gd name="T95" fmla="*/ 474 h 1455"/>
                <a:gd name="T96" fmla="*/ 964 w 1906"/>
                <a:gd name="T97" fmla="*/ 150 h 1455"/>
                <a:gd name="T98" fmla="*/ 877 w 1906"/>
                <a:gd name="T99" fmla="*/ 47 h 1455"/>
                <a:gd name="T100" fmla="*/ 822 w 1906"/>
                <a:gd name="T101" fmla="*/ 8 h 1455"/>
                <a:gd name="T102" fmla="*/ 150 w 1906"/>
                <a:gd name="T103" fmla="*/ 181 h 1455"/>
                <a:gd name="T104" fmla="*/ 15 w 1906"/>
                <a:gd name="T105" fmla="*/ 300 h 1455"/>
                <a:gd name="T106" fmla="*/ 110 w 1906"/>
                <a:gd name="T107" fmla="*/ 443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6" h="1455">
                  <a:moveTo>
                    <a:pt x="1162" y="1454"/>
                  </a:moveTo>
                  <a:lnTo>
                    <a:pt x="1162" y="1454"/>
                  </a:lnTo>
                  <a:cubicBezTo>
                    <a:pt x="1130" y="1454"/>
                    <a:pt x="1059" y="1454"/>
                    <a:pt x="1035" y="1438"/>
                  </a:cubicBezTo>
                  <a:cubicBezTo>
                    <a:pt x="1012" y="1423"/>
                    <a:pt x="1012" y="1399"/>
                    <a:pt x="1020" y="1375"/>
                  </a:cubicBezTo>
                  <a:cubicBezTo>
                    <a:pt x="1027" y="1360"/>
                    <a:pt x="1027" y="1351"/>
                    <a:pt x="1020" y="1344"/>
                  </a:cubicBezTo>
                  <a:cubicBezTo>
                    <a:pt x="1012" y="1336"/>
                    <a:pt x="996" y="1312"/>
                    <a:pt x="980" y="1296"/>
                  </a:cubicBezTo>
                  <a:cubicBezTo>
                    <a:pt x="972" y="1280"/>
                    <a:pt x="972" y="1272"/>
                    <a:pt x="964" y="1265"/>
                  </a:cubicBezTo>
                  <a:cubicBezTo>
                    <a:pt x="948" y="1249"/>
                    <a:pt x="940" y="1241"/>
                    <a:pt x="925" y="1233"/>
                  </a:cubicBezTo>
                  <a:cubicBezTo>
                    <a:pt x="917" y="1233"/>
                    <a:pt x="909" y="1225"/>
                    <a:pt x="901" y="1225"/>
                  </a:cubicBezTo>
                  <a:cubicBezTo>
                    <a:pt x="877" y="1209"/>
                    <a:pt x="885" y="1185"/>
                    <a:pt x="885" y="1162"/>
                  </a:cubicBezTo>
                  <a:cubicBezTo>
                    <a:pt x="885" y="1154"/>
                    <a:pt x="885" y="1146"/>
                    <a:pt x="885" y="1138"/>
                  </a:cubicBezTo>
                  <a:cubicBezTo>
                    <a:pt x="877" y="1122"/>
                    <a:pt x="830" y="1059"/>
                    <a:pt x="806" y="1035"/>
                  </a:cubicBezTo>
                  <a:cubicBezTo>
                    <a:pt x="798" y="1035"/>
                    <a:pt x="798" y="1035"/>
                    <a:pt x="790" y="1027"/>
                  </a:cubicBezTo>
                  <a:cubicBezTo>
                    <a:pt x="767" y="1012"/>
                    <a:pt x="743" y="996"/>
                    <a:pt x="703" y="964"/>
                  </a:cubicBezTo>
                  <a:cubicBezTo>
                    <a:pt x="664" y="933"/>
                    <a:pt x="656" y="909"/>
                    <a:pt x="648" y="893"/>
                  </a:cubicBezTo>
                  <a:cubicBezTo>
                    <a:pt x="640" y="885"/>
                    <a:pt x="640" y="877"/>
                    <a:pt x="632" y="861"/>
                  </a:cubicBezTo>
                  <a:cubicBezTo>
                    <a:pt x="608" y="838"/>
                    <a:pt x="585" y="830"/>
                    <a:pt x="553" y="822"/>
                  </a:cubicBezTo>
                  <a:cubicBezTo>
                    <a:pt x="521" y="806"/>
                    <a:pt x="498" y="798"/>
                    <a:pt x="466" y="751"/>
                  </a:cubicBezTo>
                  <a:cubicBezTo>
                    <a:pt x="434" y="711"/>
                    <a:pt x="419" y="703"/>
                    <a:pt x="371" y="687"/>
                  </a:cubicBezTo>
                  <a:cubicBezTo>
                    <a:pt x="316" y="664"/>
                    <a:pt x="268" y="593"/>
                    <a:pt x="229" y="529"/>
                  </a:cubicBezTo>
                  <a:cubicBezTo>
                    <a:pt x="221" y="521"/>
                    <a:pt x="221" y="506"/>
                    <a:pt x="213" y="498"/>
                  </a:cubicBezTo>
                  <a:cubicBezTo>
                    <a:pt x="197" y="466"/>
                    <a:pt x="190" y="450"/>
                    <a:pt x="174" y="450"/>
                  </a:cubicBezTo>
                  <a:cubicBezTo>
                    <a:pt x="166" y="450"/>
                    <a:pt x="158" y="450"/>
                    <a:pt x="150" y="458"/>
                  </a:cubicBezTo>
                  <a:cubicBezTo>
                    <a:pt x="142" y="458"/>
                    <a:pt x="134" y="458"/>
                    <a:pt x="126" y="458"/>
                  </a:cubicBezTo>
                  <a:cubicBezTo>
                    <a:pt x="118" y="458"/>
                    <a:pt x="110" y="458"/>
                    <a:pt x="110" y="450"/>
                  </a:cubicBezTo>
                  <a:cubicBezTo>
                    <a:pt x="95" y="434"/>
                    <a:pt x="55" y="403"/>
                    <a:pt x="31" y="387"/>
                  </a:cubicBezTo>
                  <a:cubicBezTo>
                    <a:pt x="23" y="387"/>
                    <a:pt x="23" y="387"/>
                    <a:pt x="15" y="379"/>
                  </a:cubicBezTo>
                  <a:cubicBezTo>
                    <a:pt x="0" y="371"/>
                    <a:pt x="8" y="340"/>
                    <a:pt x="8" y="308"/>
                  </a:cubicBezTo>
                  <a:cubicBezTo>
                    <a:pt x="8" y="300"/>
                    <a:pt x="8" y="300"/>
                    <a:pt x="8" y="300"/>
                  </a:cubicBezTo>
                  <a:cubicBezTo>
                    <a:pt x="8" y="268"/>
                    <a:pt x="47" y="253"/>
                    <a:pt x="63" y="237"/>
                  </a:cubicBezTo>
                  <a:cubicBezTo>
                    <a:pt x="71" y="229"/>
                    <a:pt x="71" y="229"/>
                    <a:pt x="71" y="229"/>
                  </a:cubicBezTo>
                  <a:cubicBezTo>
                    <a:pt x="79" y="229"/>
                    <a:pt x="79" y="221"/>
                    <a:pt x="79" y="213"/>
                  </a:cubicBezTo>
                  <a:lnTo>
                    <a:pt x="79" y="213"/>
                  </a:lnTo>
                  <a:cubicBezTo>
                    <a:pt x="79" y="205"/>
                    <a:pt x="79" y="205"/>
                    <a:pt x="79" y="205"/>
                  </a:cubicBezTo>
                  <a:cubicBezTo>
                    <a:pt x="110" y="205"/>
                    <a:pt x="126" y="190"/>
                    <a:pt x="150" y="174"/>
                  </a:cubicBezTo>
                  <a:cubicBezTo>
                    <a:pt x="158" y="166"/>
                    <a:pt x="166" y="158"/>
                    <a:pt x="181" y="150"/>
                  </a:cubicBezTo>
                  <a:cubicBezTo>
                    <a:pt x="229" y="126"/>
                    <a:pt x="371" y="55"/>
                    <a:pt x="411" y="47"/>
                  </a:cubicBezTo>
                  <a:cubicBezTo>
                    <a:pt x="434" y="39"/>
                    <a:pt x="727" y="0"/>
                    <a:pt x="806" y="0"/>
                  </a:cubicBezTo>
                  <a:cubicBezTo>
                    <a:pt x="822" y="0"/>
                    <a:pt x="830" y="0"/>
                    <a:pt x="830" y="8"/>
                  </a:cubicBezTo>
                  <a:cubicBezTo>
                    <a:pt x="830" y="15"/>
                    <a:pt x="830" y="15"/>
                    <a:pt x="830" y="23"/>
                  </a:cubicBezTo>
                  <a:lnTo>
                    <a:pt x="830" y="31"/>
                  </a:lnTo>
                  <a:cubicBezTo>
                    <a:pt x="830" y="31"/>
                    <a:pt x="838" y="31"/>
                    <a:pt x="854" y="39"/>
                  </a:cubicBezTo>
                  <a:cubicBezTo>
                    <a:pt x="861" y="39"/>
                    <a:pt x="869" y="39"/>
                    <a:pt x="877" y="39"/>
                  </a:cubicBezTo>
                  <a:cubicBezTo>
                    <a:pt x="885" y="39"/>
                    <a:pt x="885" y="39"/>
                    <a:pt x="893" y="39"/>
                  </a:cubicBezTo>
                  <a:cubicBezTo>
                    <a:pt x="909" y="39"/>
                    <a:pt x="917" y="39"/>
                    <a:pt x="925" y="47"/>
                  </a:cubicBezTo>
                  <a:cubicBezTo>
                    <a:pt x="940" y="63"/>
                    <a:pt x="964" y="126"/>
                    <a:pt x="964" y="142"/>
                  </a:cubicBezTo>
                  <a:cubicBezTo>
                    <a:pt x="1407" y="71"/>
                    <a:pt x="1407" y="71"/>
                    <a:pt x="1407" y="71"/>
                  </a:cubicBezTo>
                  <a:lnTo>
                    <a:pt x="1407" y="71"/>
                  </a:lnTo>
                  <a:cubicBezTo>
                    <a:pt x="1905" y="443"/>
                    <a:pt x="1905" y="443"/>
                    <a:pt x="1905" y="443"/>
                  </a:cubicBezTo>
                  <a:cubicBezTo>
                    <a:pt x="1897" y="443"/>
                    <a:pt x="1897" y="443"/>
                    <a:pt x="1897" y="443"/>
                  </a:cubicBezTo>
                  <a:cubicBezTo>
                    <a:pt x="1889" y="450"/>
                    <a:pt x="1881" y="458"/>
                    <a:pt x="1881" y="466"/>
                  </a:cubicBezTo>
                  <a:cubicBezTo>
                    <a:pt x="1873" y="474"/>
                    <a:pt x="1865" y="482"/>
                    <a:pt x="1850" y="482"/>
                  </a:cubicBezTo>
                  <a:cubicBezTo>
                    <a:pt x="1834" y="490"/>
                    <a:pt x="1715" y="711"/>
                    <a:pt x="1723" y="743"/>
                  </a:cubicBezTo>
                  <a:cubicBezTo>
                    <a:pt x="1723" y="751"/>
                    <a:pt x="1723" y="759"/>
                    <a:pt x="1715" y="767"/>
                  </a:cubicBezTo>
                  <a:cubicBezTo>
                    <a:pt x="1715" y="767"/>
                    <a:pt x="1715" y="767"/>
                    <a:pt x="1707" y="767"/>
                  </a:cubicBezTo>
                  <a:cubicBezTo>
                    <a:pt x="1707" y="767"/>
                    <a:pt x="1707" y="767"/>
                    <a:pt x="1699" y="767"/>
                  </a:cubicBezTo>
                  <a:lnTo>
                    <a:pt x="1691" y="767"/>
                  </a:lnTo>
                  <a:lnTo>
                    <a:pt x="1691" y="767"/>
                  </a:lnTo>
                  <a:lnTo>
                    <a:pt x="1691" y="767"/>
                  </a:lnTo>
                  <a:cubicBezTo>
                    <a:pt x="1699" y="767"/>
                    <a:pt x="1699" y="774"/>
                    <a:pt x="1707" y="782"/>
                  </a:cubicBezTo>
                  <a:cubicBezTo>
                    <a:pt x="1707" y="790"/>
                    <a:pt x="1715" y="798"/>
                    <a:pt x="1715" y="814"/>
                  </a:cubicBezTo>
                  <a:cubicBezTo>
                    <a:pt x="1707" y="830"/>
                    <a:pt x="1699" y="838"/>
                    <a:pt x="1691" y="845"/>
                  </a:cubicBezTo>
                  <a:cubicBezTo>
                    <a:pt x="1676" y="861"/>
                    <a:pt x="1676" y="861"/>
                    <a:pt x="1676" y="877"/>
                  </a:cubicBezTo>
                  <a:cubicBezTo>
                    <a:pt x="1668" y="885"/>
                    <a:pt x="1668" y="893"/>
                    <a:pt x="1660" y="909"/>
                  </a:cubicBezTo>
                  <a:cubicBezTo>
                    <a:pt x="1660" y="917"/>
                    <a:pt x="1652" y="925"/>
                    <a:pt x="1644" y="925"/>
                  </a:cubicBezTo>
                  <a:cubicBezTo>
                    <a:pt x="1636" y="925"/>
                    <a:pt x="1628" y="917"/>
                    <a:pt x="1620" y="917"/>
                  </a:cubicBezTo>
                  <a:cubicBezTo>
                    <a:pt x="1613" y="917"/>
                    <a:pt x="1613" y="909"/>
                    <a:pt x="1604" y="917"/>
                  </a:cubicBezTo>
                  <a:cubicBezTo>
                    <a:pt x="1597" y="917"/>
                    <a:pt x="1597" y="917"/>
                    <a:pt x="1597" y="917"/>
                  </a:cubicBezTo>
                  <a:cubicBezTo>
                    <a:pt x="1589" y="917"/>
                    <a:pt x="1589" y="933"/>
                    <a:pt x="1597" y="940"/>
                  </a:cubicBezTo>
                  <a:cubicBezTo>
                    <a:pt x="1597" y="948"/>
                    <a:pt x="1597" y="956"/>
                    <a:pt x="1597" y="964"/>
                  </a:cubicBezTo>
                  <a:cubicBezTo>
                    <a:pt x="1597" y="972"/>
                    <a:pt x="1581" y="988"/>
                    <a:pt x="1573" y="996"/>
                  </a:cubicBezTo>
                  <a:cubicBezTo>
                    <a:pt x="1565" y="1012"/>
                    <a:pt x="1549" y="1020"/>
                    <a:pt x="1549" y="1027"/>
                  </a:cubicBezTo>
                  <a:cubicBezTo>
                    <a:pt x="1549" y="1043"/>
                    <a:pt x="1549" y="1051"/>
                    <a:pt x="1533" y="1051"/>
                  </a:cubicBezTo>
                  <a:lnTo>
                    <a:pt x="1533" y="1051"/>
                  </a:lnTo>
                  <a:cubicBezTo>
                    <a:pt x="1533" y="1043"/>
                    <a:pt x="1525" y="1043"/>
                    <a:pt x="1518" y="1051"/>
                  </a:cubicBezTo>
                  <a:lnTo>
                    <a:pt x="1510" y="1051"/>
                  </a:lnTo>
                  <a:cubicBezTo>
                    <a:pt x="1502" y="1051"/>
                    <a:pt x="1502" y="1051"/>
                    <a:pt x="1494" y="1059"/>
                  </a:cubicBezTo>
                  <a:lnTo>
                    <a:pt x="1494" y="1059"/>
                  </a:lnTo>
                  <a:cubicBezTo>
                    <a:pt x="1486" y="1067"/>
                    <a:pt x="1486" y="1075"/>
                    <a:pt x="1486" y="1083"/>
                  </a:cubicBezTo>
                  <a:cubicBezTo>
                    <a:pt x="1494" y="1091"/>
                    <a:pt x="1494" y="1098"/>
                    <a:pt x="1486" y="1114"/>
                  </a:cubicBezTo>
                  <a:cubicBezTo>
                    <a:pt x="1478" y="1130"/>
                    <a:pt x="1470" y="1138"/>
                    <a:pt x="1454" y="1138"/>
                  </a:cubicBezTo>
                  <a:cubicBezTo>
                    <a:pt x="1446" y="1138"/>
                    <a:pt x="1438" y="1146"/>
                    <a:pt x="1423" y="1146"/>
                  </a:cubicBezTo>
                  <a:cubicBezTo>
                    <a:pt x="1407" y="1154"/>
                    <a:pt x="1391" y="1170"/>
                    <a:pt x="1375" y="1185"/>
                  </a:cubicBezTo>
                  <a:cubicBezTo>
                    <a:pt x="1360" y="1193"/>
                    <a:pt x="1344" y="1201"/>
                    <a:pt x="1336" y="1209"/>
                  </a:cubicBezTo>
                  <a:cubicBezTo>
                    <a:pt x="1320" y="1209"/>
                    <a:pt x="1312" y="1209"/>
                    <a:pt x="1304" y="1209"/>
                  </a:cubicBezTo>
                  <a:cubicBezTo>
                    <a:pt x="1296" y="1209"/>
                    <a:pt x="1288" y="1201"/>
                    <a:pt x="1280" y="1201"/>
                  </a:cubicBezTo>
                  <a:lnTo>
                    <a:pt x="1280" y="1201"/>
                  </a:lnTo>
                  <a:cubicBezTo>
                    <a:pt x="1257" y="1201"/>
                    <a:pt x="1241" y="1217"/>
                    <a:pt x="1241" y="1225"/>
                  </a:cubicBezTo>
                  <a:cubicBezTo>
                    <a:pt x="1241" y="1233"/>
                    <a:pt x="1241" y="1233"/>
                    <a:pt x="1257" y="1233"/>
                  </a:cubicBezTo>
                  <a:cubicBezTo>
                    <a:pt x="1265" y="1233"/>
                    <a:pt x="1273" y="1233"/>
                    <a:pt x="1280" y="1241"/>
                  </a:cubicBezTo>
                  <a:cubicBezTo>
                    <a:pt x="1296" y="1241"/>
                    <a:pt x="1304" y="1241"/>
                    <a:pt x="1304" y="1249"/>
                  </a:cubicBezTo>
                  <a:lnTo>
                    <a:pt x="1304" y="1257"/>
                  </a:lnTo>
                  <a:cubicBezTo>
                    <a:pt x="1304" y="1265"/>
                    <a:pt x="1304" y="1265"/>
                    <a:pt x="1304" y="1272"/>
                  </a:cubicBezTo>
                  <a:cubicBezTo>
                    <a:pt x="1304" y="1296"/>
                    <a:pt x="1288" y="1320"/>
                    <a:pt x="1265" y="1328"/>
                  </a:cubicBezTo>
                  <a:cubicBezTo>
                    <a:pt x="1257" y="1336"/>
                    <a:pt x="1249" y="1336"/>
                    <a:pt x="1249" y="1336"/>
                  </a:cubicBezTo>
                  <a:cubicBezTo>
                    <a:pt x="1241" y="1336"/>
                    <a:pt x="1241" y="1336"/>
                    <a:pt x="1233" y="1328"/>
                  </a:cubicBezTo>
                  <a:cubicBezTo>
                    <a:pt x="1233" y="1328"/>
                    <a:pt x="1233" y="1320"/>
                    <a:pt x="1233" y="1312"/>
                  </a:cubicBezTo>
                  <a:cubicBezTo>
                    <a:pt x="1225" y="1312"/>
                    <a:pt x="1225" y="1312"/>
                    <a:pt x="1225" y="1312"/>
                  </a:cubicBezTo>
                  <a:cubicBezTo>
                    <a:pt x="1217" y="1304"/>
                    <a:pt x="1217" y="1304"/>
                    <a:pt x="1209" y="1304"/>
                  </a:cubicBezTo>
                  <a:cubicBezTo>
                    <a:pt x="1201" y="1304"/>
                    <a:pt x="1201" y="1304"/>
                    <a:pt x="1185" y="1304"/>
                  </a:cubicBezTo>
                  <a:cubicBezTo>
                    <a:pt x="1178" y="1312"/>
                    <a:pt x="1178" y="1312"/>
                    <a:pt x="1178" y="1312"/>
                  </a:cubicBezTo>
                  <a:cubicBezTo>
                    <a:pt x="1178" y="1312"/>
                    <a:pt x="1185" y="1320"/>
                    <a:pt x="1185" y="1328"/>
                  </a:cubicBezTo>
                  <a:cubicBezTo>
                    <a:pt x="1193" y="1328"/>
                    <a:pt x="1201" y="1336"/>
                    <a:pt x="1201" y="1336"/>
                  </a:cubicBezTo>
                  <a:cubicBezTo>
                    <a:pt x="1209" y="1344"/>
                    <a:pt x="1209" y="1344"/>
                    <a:pt x="1217" y="1351"/>
                  </a:cubicBezTo>
                  <a:cubicBezTo>
                    <a:pt x="1217" y="1351"/>
                    <a:pt x="1225" y="1360"/>
                    <a:pt x="1233" y="1375"/>
                  </a:cubicBezTo>
                  <a:cubicBezTo>
                    <a:pt x="1233" y="1383"/>
                    <a:pt x="1233" y="1383"/>
                    <a:pt x="1225" y="1391"/>
                  </a:cubicBezTo>
                  <a:cubicBezTo>
                    <a:pt x="1225" y="1399"/>
                    <a:pt x="1209" y="1407"/>
                    <a:pt x="1193" y="1407"/>
                  </a:cubicBezTo>
                  <a:cubicBezTo>
                    <a:pt x="1185" y="1407"/>
                    <a:pt x="1185" y="1407"/>
                    <a:pt x="1185" y="1407"/>
                  </a:cubicBezTo>
                  <a:cubicBezTo>
                    <a:pt x="1162" y="1415"/>
                    <a:pt x="1162" y="1438"/>
                    <a:pt x="1170" y="1446"/>
                  </a:cubicBezTo>
                  <a:lnTo>
                    <a:pt x="1170" y="1446"/>
                  </a:lnTo>
                  <a:cubicBezTo>
                    <a:pt x="1178" y="1454"/>
                    <a:pt x="1178" y="1454"/>
                    <a:pt x="1178" y="1454"/>
                  </a:cubicBezTo>
                  <a:lnTo>
                    <a:pt x="1162" y="1454"/>
                  </a:lnTo>
                  <a:close/>
                  <a:moveTo>
                    <a:pt x="174" y="443"/>
                  </a:moveTo>
                  <a:lnTo>
                    <a:pt x="174" y="443"/>
                  </a:lnTo>
                  <a:cubicBezTo>
                    <a:pt x="190" y="443"/>
                    <a:pt x="205" y="466"/>
                    <a:pt x="221" y="498"/>
                  </a:cubicBezTo>
                  <a:cubicBezTo>
                    <a:pt x="229" y="506"/>
                    <a:pt x="229" y="514"/>
                    <a:pt x="237" y="521"/>
                  </a:cubicBezTo>
                  <a:cubicBezTo>
                    <a:pt x="268" y="577"/>
                    <a:pt x="324" y="656"/>
                    <a:pt x="371" y="680"/>
                  </a:cubicBezTo>
                  <a:cubicBezTo>
                    <a:pt x="419" y="695"/>
                    <a:pt x="434" y="703"/>
                    <a:pt x="466" y="751"/>
                  </a:cubicBezTo>
                  <a:cubicBezTo>
                    <a:pt x="498" y="790"/>
                    <a:pt x="521" y="798"/>
                    <a:pt x="553" y="814"/>
                  </a:cubicBezTo>
                  <a:cubicBezTo>
                    <a:pt x="592" y="822"/>
                    <a:pt x="616" y="830"/>
                    <a:pt x="640" y="861"/>
                  </a:cubicBezTo>
                  <a:cubicBezTo>
                    <a:pt x="640" y="869"/>
                    <a:pt x="648" y="877"/>
                    <a:pt x="648" y="885"/>
                  </a:cubicBezTo>
                  <a:cubicBezTo>
                    <a:pt x="664" y="909"/>
                    <a:pt x="672" y="925"/>
                    <a:pt x="703" y="956"/>
                  </a:cubicBezTo>
                  <a:cubicBezTo>
                    <a:pt x="751" y="988"/>
                    <a:pt x="774" y="1004"/>
                    <a:pt x="798" y="1020"/>
                  </a:cubicBezTo>
                  <a:cubicBezTo>
                    <a:pt x="798" y="1027"/>
                    <a:pt x="806" y="1027"/>
                    <a:pt x="806" y="1035"/>
                  </a:cubicBezTo>
                  <a:cubicBezTo>
                    <a:pt x="838" y="1051"/>
                    <a:pt x="885" y="1114"/>
                    <a:pt x="893" y="1138"/>
                  </a:cubicBezTo>
                  <a:cubicBezTo>
                    <a:pt x="893" y="1146"/>
                    <a:pt x="893" y="1154"/>
                    <a:pt x="893" y="1162"/>
                  </a:cubicBezTo>
                  <a:cubicBezTo>
                    <a:pt x="885" y="1185"/>
                    <a:pt x="885" y="1201"/>
                    <a:pt x="901" y="1217"/>
                  </a:cubicBezTo>
                  <a:cubicBezTo>
                    <a:pt x="909" y="1225"/>
                    <a:pt x="917" y="1225"/>
                    <a:pt x="925" y="1233"/>
                  </a:cubicBezTo>
                  <a:cubicBezTo>
                    <a:pt x="940" y="1233"/>
                    <a:pt x="956" y="1241"/>
                    <a:pt x="964" y="1257"/>
                  </a:cubicBezTo>
                  <a:cubicBezTo>
                    <a:pt x="972" y="1265"/>
                    <a:pt x="980" y="1280"/>
                    <a:pt x="988" y="1288"/>
                  </a:cubicBezTo>
                  <a:cubicBezTo>
                    <a:pt x="1004" y="1312"/>
                    <a:pt x="1012" y="1336"/>
                    <a:pt x="1027" y="1344"/>
                  </a:cubicBezTo>
                  <a:cubicBezTo>
                    <a:pt x="1035" y="1344"/>
                    <a:pt x="1035" y="1360"/>
                    <a:pt x="1027" y="1375"/>
                  </a:cubicBezTo>
                  <a:cubicBezTo>
                    <a:pt x="1020" y="1399"/>
                    <a:pt x="1020" y="1423"/>
                    <a:pt x="1035" y="1431"/>
                  </a:cubicBezTo>
                  <a:cubicBezTo>
                    <a:pt x="1059" y="1446"/>
                    <a:pt x="1130" y="1446"/>
                    <a:pt x="1162" y="1446"/>
                  </a:cubicBezTo>
                  <a:lnTo>
                    <a:pt x="1162" y="1446"/>
                  </a:lnTo>
                  <a:cubicBezTo>
                    <a:pt x="1154" y="1438"/>
                    <a:pt x="1154" y="1407"/>
                    <a:pt x="1178" y="1399"/>
                  </a:cubicBezTo>
                  <a:cubicBezTo>
                    <a:pt x="1185" y="1399"/>
                    <a:pt x="1185" y="1399"/>
                    <a:pt x="1193" y="1399"/>
                  </a:cubicBezTo>
                  <a:cubicBezTo>
                    <a:pt x="1201" y="1399"/>
                    <a:pt x="1217" y="1391"/>
                    <a:pt x="1225" y="1391"/>
                  </a:cubicBezTo>
                  <a:cubicBezTo>
                    <a:pt x="1225" y="1383"/>
                    <a:pt x="1225" y="1383"/>
                    <a:pt x="1225" y="1375"/>
                  </a:cubicBezTo>
                  <a:cubicBezTo>
                    <a:pt x="1217" y="1360"/>
                    <a:pt x="1217" y="1360"/>
                    <a:pt x="1209" y="1351"/>
                  </a:cubicBezTo>
                  <a:cubicBezTo>
                    <a:pt x="1209" y="1351"/>
                    <a:pt x="1201" y="1351"/>
                    <a:pt x="1193" y="1344"/>
                  </a:cubicBezTo>
                  <a:cubicBezTo>
                    <a:pt x="1193" y="1336"/>
                    <a:pt x="1185" y="1336"/>
                    <a:pt x="1185" y="1328"/>
                  </a:cubicBezTo>
                  <a:cubicBezTo>
                    <a:pt x="1178" y="1320"/>
                    <a:pt x="1170" y="1320"/>
                    <a:pt x="1170" y="1312"/>
                  </a:cubicBezTo>
                  <a:cubicBezTo>
                    <a:pt x="1170" y="1304"/>
                    <a:pt x="1178" y="1304"/>
                    <a:pt x="1185" y="1296"/>
                  </a:cubicBezTo>
                  <a:cubicBezTo>
                    <a:pt x="1193" y="1296"/>
                    <a:pt x="1201" y="1296"/>
                    <a:pt x="1209" y="1296"/>
                  </a:cubicBezTo>
                  <a:cubicBezTo>
                    <a:pt x="1217" y="1296"/>
                    <a:pt x="1225" y="1296"/>
                    <a:pt x="1233" y="1312"/>
                  </a:cubicBezTo>
                  <a:lnTo>
                    <a:pt x="1233" y="1312"/>
                  </a:lnTo>
                  <a:cubicBezTo>
                    <a:pt x="1241" y="1320"/>
                    <a:pt x="1241" y="1320"/>
                    <a:pt x="1241" y="1328"/>
                  </a:cubicBezTo>
                  <a:lnTo>
                    <a:pt x="1249" y="1328"/>
                  </a:lnTo>
                  <a:lnTo>
                    <a:pt x="1257" y="1328"/>
                  </a:lnTo>
                  <a:cubicBezTo>
                    <a:pt x="1280" y="1312"/>
                    <a:pt x="1296" y="1296"/>
                    <a:pt x="1296" y="1272"/>
                  </a:cubicBezTo>
                  <a:cubicBezTo>
                    <a:pt x="1296" y="1265"/>
                    <a:pt x="1296" y="1265"/>
                    <a:pt x="1296" y="1257"/>
                  </a:cubicBezTo>
                  <a:lnTo>
                    <a:pt x="1296" y="1249"/>
                  </a:lnTo>
                  <a:cubicBezTo>
                    <a:pt x="1296" y="1249"/>
                    <a:pt x="1288" y="1249"/>
                    <a:pt x="1280" y="1249"/>
                  </a:cubicBezTo>
                  <a:cubicBezTo>
                    <a:pt x="1273" y="1241"/>
                    <a:pt x="1265" y="1241"/>
                    <a:pt x="1257" y="1241"/>
                  </a:cubicBezTo>
                  <a:cubicBezTo>
                    <a:pt x="1241" y="1241"/>
                    <a:pt x="1233" y="1241"/>
                    <a:pt x="1233" y="1225"/>
                  </a:cubicBezTo>
                  <a:cubicBezTo>
                    <a:pt x="1233" y="1217"/>
                    <a:pt x="1257" y="1193"/>
                    <a:pt x="1280" y="1193"/>
                  </a:cubicBezTo>
                  <a:cubicBezTo>
                    <a:pt x="1280" y="1193"/>
                    <a:pt x="1280" y="1193"/>
                    <a:pt x="1288" y="1193"/>
                  </a:cubicBezTo>
                  <a:cubicBezTo>
                    <a:pt x="1296" y="1201"/>
                    <a:pt x="1296" y="1201"/>
                    <a:pt x="1304" y="1201"/>
                  </a:cubicBezTo>
                  <a:cubicBezTo>
                    <a:pt x="1312" y="1201"/>
                    <a:pt x="1320" y="1209"/>
                    <a:pt x="1328" y="1201"/>
                  </a:cubicBezTo>
                  <a:cubicBezTo>
                    <a:pt x="1336" y="1193"/>
                    <a:pt x="1351" y="1185"/>
                    <a:pt x="1367" y="1178"/>
                  </a:cubicBezTo>
                  <a:cubicBezTo>
                    <a:pt x="1383" y="1162"/>
                    <a:pt x="1407" y="1146"/>
                    <a:pt x="1423" y="1146"/>
                  </a:cubicBezTo>
                  <a:cubicBezTo>
                    <a:pt x="1431" y="1138"/>
                    <a:pt x="1438" y="1138"/>
                    <a:pt x="1454" y="1130"/>
                  </a:cubicBezTo>
                  <a:cubicBezTo>
                    <a:pt x="1462" y="1130"/>
                    <a:pt x="1478" y="1122"/>
                    <a:pt x="1478" y="1107"/>
                  </a:cubicBezTo>
                  <a:cubicBezTo>
                    <a:pt x="1486" y="1098"/>
                    <a:pt x="1486" y="1091"/>
                    <a:pt x="1486" y="1083"/>
                  </a:cubicBezTo>
                  <a:cubicBezTo>
                    <a:pt x="1478" y="1075"/>
                    <a:pt x="1478" y="1067"/>
                    <a:pt x="1486" y="1059"/>
                  </a:cubicBezTo>
                  <a:cubicBezTo>
                    <a:pt x="1494" y="1051"/>
                    <a:pt x="1494" y="1051"/>
                    <a:pt x="1494" y="1051"/>
                  </a:cubicBezTo>
                  <a:cubicBezTo>
                    <a:pt x="1494" y="1043"/>
                    <a:pt x="1502" y="1043"/>
                    <a:pt x="1510" y="1043"/>
                  </a:cubicBezTo>
                  <a:lnTo>
                    <a:pt x="1518" y="1043"/>
                  </a:lnTo>
                  <a:cubicBezTo>
                    <a:pt x="1525" y="1043"/>
                    <a:pt x="1533" y="1043"/>
                    <a:pt x="1533" y="1043"/>
                  </a:cubicBezTo>
                  <a:lnTo>
                    <a:pt x="1533" y="1043"/>
                  </a:lnTo>
                  <a:cubicBezTo>
                    <a:pt x="1541" y="1043"/>
                    <a:pt x="1541" y="1043"/>
                    <a:pt x="1541" y="1027"/>
                  </a:cubicBezTo>
                  <a:cubicBezTo>
                    <a:pt x="1541" y="1012"/>
                    <a:pt x="1557" y="1004"/>
                    <a:pt x="1565" y="996"/>
                  </a:cubicBezTo>
                  <a:cubicBezTo>
                    <a:pt x="1581" y="980"/>
                    <a:pt x="1589" y="972"/>
                    <a:pt x="1589" y="964"/>
                  </a:cubicBezTo>
                  <a:cubicBezTo>
                    <a:pt x="1589" y="956"/>
                    <a:pt x="1589" y="948"/>
                    <a:pt x="1589" y="940"/>
                  </a:cubicBezTo>
                  <a:cubicBezTo>
                    <a:pt x="1581" y="925"/>
                    <a:pt x="1581" y="917"/>
                    <a:pt x="1589" y="909"/>
                  </a:cubicBezTo>
                  <a:lnTo>
                    <a:pt x="1597" y="909"/>
                  </a:lnTo>
                  <a:cubicBezTo>
                    <a:pt x="1613" y="909"/>
                    <a:pt x="1620" y="909"/>
                    <a:pt x="1628" y="909"/>
                  </a:cubicBezTo>
                  <a:cubicBezTo>
                    <a:pt x="1628" y="917"/>
                    <a:pt x="1636" y="917"/>
                    <a:pt x="1644" y="917"/>
                  </a:cubicBezTo>
                  <a:cubicBezTo>
                    <a:pt x="1644" y="917"/>
                    <a:pt x="1652" y="917"/>
                    <a:pt x="1660" y="901"/>
                  </a:cubicBezTo>
                  <a:cubicBezTo>
                    <a:pt x="1660" y="893"/>
                    <a:pt x="1668" y="885"/>
                    <a:pt x="1668" y="877"/>
                  </a:cubicBezTo>
                  <a:cubicBezTo>
                    <a:pt x="1668" y="861"/>
                    <a:pt x="1676" y="854"/>
                    <a:pt x="1684" y="845"/>
                  </a:cubicBezTo>
                  <a:cubicBezTo>
                    <a:pt x="1699" y="838"/>
                    <a:pt x="1699" y="822"/>
                    <a:pt x="1707" y="814"/>
                  </a:cubicBezTo>
                  <a:cubicBezTo>
                    <a:pt x="1707" y="798"/>
                    <a:pt x="1707" y="790"/>
                    <a:pt x="1699" y="782"/>
                  </a:cubicBezTo>
                  <a:cubicBezTo>
                    <a:pt x="1691" y="782"/>
                    <a:pt x="1691" y="774"/>
                    <a:pt x="1684" y="774"/>
                  </a:cubicBezTo>
                  <a:cubicBezTo>
                    <a:pt x="1684" y="767"/>
                    <a:pt x="1676" y="767"/>
                    <a:pt x="1684" y="759"/>
                  </a:cubicBezTo>
                  <a:cubicBezTo>
                    <a:pt x="1684" y="759"/>
                    <a:pt x="1684" y="759"/>
                    <a:pt x="1691" y="759"/>
                  </a:cubicBezTo>
                  <a:cubicBezTo>
                    <a:pt x="1699" y="759"/>
                    <a:pt x="1699" y="759"/>
                    <a:pt x="1707" y="759"/>
                  </a:cubicBezTo>
                  <a:lnTo>
                    <a:pt x="1707" y="759"/>
                  </a:lnTo>
                  <a:cubicBezTo>
                    <a:pt x="1715" y="759"/>
                    <a:pt x="1715" y="759"/>
                    <a:pt x="1715" y="759"/>
                  </a:cubicBezTo>
                  <a:cubicBezTo>
                    <a:pt x="1715" y="759"/>
                    <a:pt x="1715" y="751"/>
                    <a:pt x="1715" y="743"/>
                  </a:cubicBezTo>
                  <a:cubicBezTo>
                    <a:pt x="1707" y="711"/>
                    <a:pt x="1826" y="482"/>
                    <a:pt x="1850" y="474"/>
                  </a:cubicBezTo>
                  <a:cubicBezTo>
                    <a:pt x="1857" y="474"/>
                    <a:pt x="1865" y="466"/>
                    <a:pt x="1873" y="458"/>
                  </a:cubicBezTo>
                  <a:cubicBezTo>
                    <a:pt x="1873" y="458"/>
                    <a:pt x="1881" y="450"/>
                    <a:pt x="1889" y="443"/>
                  </a:cubicBezTo>
                  <a:cubicBezTo>
                    <a:pt x="1407" y="79"/>
                    <a:pt x="1407" y="79"/>
                    <a:pt x="1407" y="79"/>
                  </a:cubicBezTo>
                  <a:cubicBezTo>
                    <a:pt x="964" y="150"/>
                    <a:pt x="964" y="150"/>
                    <a:pt x="964" y="150"/>
                  </a:cubicBezTo>
                  <a:lnTo>
                    <a:pt x="964" y="150"/>
                  </a:lnTo>
                  <a:cubicBezTo>
                    <a:pt x="964" y="150"/>
                    <a:pt x="940" y="71"/>
                    <a:pt x="925" y="55"/>
                  </a:cubicBezTo>
                  <a:cubicBezTo>
                    <a:pt x="917" y="47"/>
                    <a:pt x="909" y="47"/>
                    <a:pt x="893" y="47"/>
                  </a:cubicBezTo>
                  <a:cubicBezTo>
                    <a:pt x="885" y="47"/>
                    <a:pt x="885" y="47"/>
                    <a:pt x="877" y="47"/>
                  </a:cubicBezTo>
                  <a:cubicBezTo>
                    <a:pt x="869" y="47"/>
                    <a:pt x="861" y="47"/>
                    <a:pt x="854" y="47"/>
                  </a:cubicBezTo>
                  <a:cubicBezTo>
                    <a:pt x="830" y="39"/>
                    <a:pt x="822" y="39"/>
                    <a:pt x="822" y="31"/>
                  </a:cubicBezTo>
                  <a:cubicBezTo>
                    <a:pt x="822" y="31"/>
                    <a:pt x="822" y="23"/>
                    <a:pt x="822" y="15"/>
                  </a:cubicBezTo>
                  <a:cubicBezTo>
                    <a:pt x="822" y="15"/>
                    <a:pt x="822" y="15"/>
                    <a:pt x="822" y="8"/>
                  </a:cubicBezTo>
                  <a:cubicBezTo>
                    <a:pt x="822" y="8"/>
                    <a:pt x="822" y="8"/>
                    <a:pt x="806" y="8"/>
                  </a:cubicBezTo>
                  <a:cubicBezTo>
                    <a:pt x="727" y="8"/>
                    <a:pt x="434" y="47"/>
                    <a:pt x="411" y="55"/>
                  </a:cubicBezTo>
                  <a:cubicBezTo>
                    <a:pt x="379" y="55"/>
                    <a:pt x="237" y="126"/>
                    <a:pt x="181" y="158"/>
                  </a:cubicBezTo>
                  <a:cubicBezTo>
                    <a:pt x="174" y="166"/>
                    <a:pt x="166" y="174"/>
                    <a:pt x="150" y="181"/>
                  </a:cubicBezTo>
                  <a:cubicBezTo>
                    <a:pt x="134" y="197"/>
                    <a:pt x="118" y="205"/>
                    <a:pt x="87" y="213"/>
                  </a:cubicBezTo>
                  <a:cubicBezTo>
                    <a:pt x="87" y="221"/>
                    <a:pt x="79" y="229"/>
                    <a:pt x="79" y="229"/>
                  </a:cubicBezTo>
                  <a:cubicBezTo>
                    <a:pt x="79" y="237"/>
                    <a:pt x="71" y="237"/>
                    <a:pt x="71" y="245"/>
                  </a:cubicBezTo>
                  <a:cubicBezTo>
                    <a:pt x="47" y="253"/>
                    <a:pt x="15" y="276"/>
                    <a:pt x="15" y="300"/>
                  </a:cubicBezTo>
                  <a:cubicBezTo>
                    <a:pt x="15" y="308"/>
                    <a:pt x="15" y="308"/>
                    <a:pt x="15" y="308"/>
                  </a:cubicBezTo>
                  <a:cubicBezTo>
                    <a:pt x="15" y="332"/>
                    <a:pt x="8" y="371"/>
                    <a:pt x="23" y="379"/>
                  </a:cubicBezTo>
                  <a:cubicBezTo>
                    <a:pt x="23" y="379"/>
                    <a:pt x="31" y="379"/>
                    <a:pt x="31" y="387"/>
                  </a:cubicBezTo>
                  <a:cubicBezTo>
                    <a:pt x="55" y="403"/>
                    <a:pt x="102" y="427"/>
                    <a:pt x="110" y="443"/>
                  </a:cubicBezTo>
                  <a:cubicBezTo>
                    <a:pt x="118" y="450"/>
                    <a:pt x="126" y="450"/>
                    <a:pt x="126" y="450"/>
                  </a:cubicBezTo>
                  <a:cubicBezTo>
                    <a:pt x="134" y="450"/>
                    <a:pt x="142" y="450"/>
                    <a:pt x="150" y="450"/>
                  </a:cubicBezTo>
                  <a:cubicBezTo>
                    <a:pt x="158" y="450"/>
                    <a:pt x="166" y="443"/>
                    <a:pt x="174" y="443"/>
                  </a:cubicBezTo>
                  <a:close/>
                </a:path>
              </a:pathLst>
            </a:custGeom>
            <a:grpFill/>
            <a:ln>
              <a:solidFill>
                <a:schemeClr val="bg1">
                  <a:lumMod val="95000"/>
                </a:schemeClr>
              </a:solidFill>
            </a:ln>
            <a:effectLst/>
          </p:spPr>
          <p:txBody>
            <a:bodyPr wrap="none" anchor="ctr"/>
            <a:lstStyle/>
            <a:p>
              <a:endParaRPr lang="en-US" sz="900"/>
            </a:p>
          </p:txBody>
        </p:sp>
        <p:sp>
          <p:nvSpPr>
            <p:cNvPr id="56" name="Freeform 409"/>
            <p:cNvSpPr>
              <a:spLocks noChangeArrowheads="1"/>
            </p:cNvSpPr>
            <p:nvPr/>
          </p:nvSpPr>
          <p:spPr bwMode="auto">
            <a:xfrm>
              <a:off x="14479668" y="6975471"/>
              <a:ext cx="1101669" cy="1115587"/>
            </a:xfrm>
            <a:custGeom>
              <a:avLst/>
              <a:gdLst>
                <a:gd name="T0" fmla="*/ 1921 w 2096"/>
                <a:gd name="T1" fmla="*/ 1218 h 2120"/>
                <a:gd name="T2" fmla="*/ 1850 w 2096"/>
                <a:gd name="T3" fmla="*/ 1052 h 2120"/>
                <a:gd name="T4" fmla="*/ 1771 w 2096"/>
                <a:gd name="T5" fmla="*/ 925 h 2120"/>
                <a:gd name="T6" fmla="*/ 1589 w 2096"/>
                <a:gd name="T7" fmla="*/ 743 h 2120"/>
                <a:gd name="T8" fmla="*/ 1439 w 2096"/>
                <a:gd name="T9" fmla="*/ 601 h 2120"/>
                <a:gd name="T10" fmla="*/ 1257 w 2096"/>
                <a:gd name="T11" fmla="*/ 467 h 2120"/>
                <a:gd name="T12" fmla="*/ 1060 w 2096"/>
                <a:gd name="T13" fmla="*/ 237 h 2120"/>
                <a:gd name="T14" fmla="*/ 909 w 2096"/>
                <a:gd name="T15" fmla="*/ 166 h 2120"/>
                <a:gd name="T16" fmla="*/ 965 w 2096"/>
                <a:gd name="T17" fmla="*/ 16 h 2120"/>
                <a:gd name="T18" fmla="*/ 933 w 2096"/>
                <a:gd name="T19" fmla="*/ 0 h 2120"/>
                <a:gd name="T20" fmla="*/ 356 w 2096"/>
                <a:gd name="T21" fmla="*/ 1241 h 2120"/>
                <a:gd name="T22" fmla="*/ 403 w 2096"/>
                <a:gd name="T23" fmla="*/ 1320 h 2120"/>
                <a:gd name="T24" fmla="*/ 403 w 2096"/>
                <a:gd name="T25" fmla="*/ 1407 h 2120"/>
                <a:gd name="T26" fmla="*/ 380 w 2096"/>
                <a:gd name="T27" fmla="*/ 1518 h 2120"/>
                <a:gd name="T28" fmla="*/ 419 w 2096"/>
                <a:gd name="T29" fmla="*/ 1692 h 2120"/>
                <a:gd name="T30" fmla="*/ 459 w 2096"/>
                <a:gd name="T31" fmla="*/ 1969 h 2120"/>
                <a:gd name="T32" fmla="*/ 1597 w 2096"/>
                <a:gd name="T33" fmla="*/ 2016 h 2120"/>
                <a:gd name="T34" fmla="*/ 1645 w 2096"/>
                <a:gd name="T35" fmla="*/ 2103 h 2120"/>
                <a:gd name="T36" fmla="*/ 1692 w 2096"/>
                <a:gd name="T37" fmla="*/ 1961 h 2120"/>
                <a:gd name="T38" fmla="*/ 1898 w 2096"/>
                <a:gd name="T39" fmla="*/ 1897 h 2120"/>
                <a:gd name="T40" fmla="*/ 1890 w 2096"/>
                <a:gd name="T41" fmla="*/ 1834 h 2120"/>
                <a:gd name="T42" fmla="*/ 1898 w 2096"/>
                <a:gd name="T43" fmla="*/ 1716 h 2120"/>
                <a:gd name="T44" fmla="*/ 1953 w 2096"/>
                <a:gd name="T45" fmla="*/ 1621 h 2120"/>
                <a:gd name="T46" fmla="*/ 1937 w 2096"/>
                <a:gd name="T47" fmla="*/ 1565 h 2120"/>
                <a:gd name="T48" fmla="*/ 1929 w 2096"/>
                <a:gd name="T49" fmla="*/ 1510 h 2120"/>
                <a:gd name="T50" fmla="*/ 1969 w 2096"/>
                <a:gd name="T51" fmla="*/ 1455 h 2120"/>
                <a:gd name="T52" fmla="*/ 1937 w 2096"/>
                <a:gd name="T53" fmla="*/ 1415 h 2120"/>
                <a:gd name="T54" fmla="*/ 1993 w 2096"/>
                <a:gd name="T55" fmla="*/ 1352 h 2120"/>
                <a:gd name="T56" fmla="*/ 2008 w 2096"/>
                <a:gd name="T57" fmla="*/ 1320 h 2120"/>
                <a:gd name="T58" fmla="*/ 2024 w 2096"/>
                <a:gd name="T59" fmla="*/ 1289 h 2120"/>
                <a:gd name="T60" fmla="*/ 2079 w 2096"/>
                <a:gd name="T61" fmla="*/ 1257 h 2120"/>
                <a:gd name="T62" fmla="*/ 1921 w 2096"/>
                <a:gd name="T63" fmla="*/ 1218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96" h="2120">
                  <a:moveTo>
                    <a:pt x="1921" y="1218"/>
                  </a:moveTo>
                  <a:lnTo>
                    <a:pt x="1921" y="1218"/>
                  </a:lnTo>
                  <a:cubicBezTo>
                    <a:pt x="1882" y="1202"/>
                    <a:pt x="1929" y="1138"/>
                    <a:pt x="1913" y="1131"/>
                  </a:cubicBezTo>
                  <a:cubicBezTo>
                    <a:pt x="1890" y="1123"/>
                    <a:pt x="1874" y="1075"/>
                    <a:pt x="1850" y="1052"/>
                  </a:cubicBezTo>
                  <a:cubicBezTo>
                    <a:pt x="1834" y="1020"/>
                    <a:pt x="1811" y="1020"/>
                    <a:pt x="1787" y="1004"/>
                  </a:cubicBezTo>
                  <a:cubicBezTo>
                    <a:pt x="1763" y="988"/>
                    <a:pt x="1771" y="949"/>
                    <a:pt x="1771" y="925"/>
                  </a:cubicBezTo>
                  <a:cubicBezTo>
                    <a:pt x="1771" y="901"/>
                    <a:pt x="1724" y="838"/>
                    <a:pt x="1692" y="822"/>
                  </a:cubicBezTo>
                  <a:cubicBezTo>
                    <a:pt x="1660" y="799"/>
                    <a:pt x="1645" y="791"/>
                    <a:pt x="1589" y="743"/>
                  </a:cubicBezTo>
                  <a:cubicBezTo>
                    <a:pt x="1542" y="704"/>
                    <a:pt x="1542" y="680"/>
                    <a:pt x="1518" y="648"/>
                  </a:cubicBezTo>
                  <a:cubicBezTo>
                    <a:pt x="1502" y="625"/>
                    <a:pt x="1471" y="617"/>
                    <a:pt x="1439" y="601"/>
                  </a:cubicBezTo>
                  <a:cubicBezTo>
                    <a:pt x="1407" y="593"/>
                    <a:pt x="1384" y="577"/>
                    <a:pt x="1352" y="538"/>
                  </a:cubicBezTo>
                  <a:cubicBezTo>
                    <a:pt x="1320" y="498"/>
                    <a:pt x="1305" y="490"/>
                    <a:pt x="1257" y="467"/>
                  </a:cubicBezTo>
                  <a:cubicBezTo>
                    <a:pt x="1202" y="451"/>
                    <a:pt x="1147" y="364"/>
                    <a:pt x="1123" y="316"/>
                  </a:cubicBezTo>
                  <a:cubicBezTo>
                    <a:pt x="1091" y="269"/>
                    <a:pt x="1076" y="237"/>
                    <a:pt x="1060" y="237"/>
                  </a:cubicBezTo>
                  <a:cubicBezTo>
                    <a:pt x="1036" y="237"/>
                    <a:pt x="1012" y="261"/>
                    <a:pt x="996" y="237"/>
                  </a:cubicBezTo>
                  <a:cubicBezTo>
                    <a:pt x="981" y="214"/>
                    <a:pt x="925" y="182"/>
                    <a:pt x="909" y="166"/>
                  </a:cubicBezTo>
                  <a:cubicBezTo>
                    <a:pt x="886" y="158"/>
                    <a:pt x="894" y="119"/>
                    <a:pt x="901" y="87"/>
                  </a:cubicBezTo>
                  <a:cubicBezTo>
                    <a:pt x="901" y="55"/>
                    <a:pt x="957" y="24"/>
                    <a:pt x="965" y="16"/>
                  </a:cubicBezTo>
                  <a:cubicBezTo>
                    <a:pt x="965" y="16"/>
                    <a:pt x="965" y="8"/>
                    <a:pt x="965" y="0"/>
                  </a:cubicBezTo>
                  <a:cubicBezTo>
                    <a:pt x="957" y="0"/>
                    <a:pt x="949" y="0"/>
                    <a:pt x="933" y="0"/>
                  </a:cubicBezTo>
                  <a:cubicBezTo>
                    <a:pt x="894" y="8"/>
                    <a:pt x="498" y="55"/>
                    <a:pt x="0" y="111"/>
                  </a:cubicBezTo>
                  <a:cubicBezTo>
                    <a:pt x="356" y="1241"/>
                    <a:pt x="356" y="1241"/>
                    <a:pt x="356" y="1241"/>
                  </a:cubicBezTo>
                  <a:cubicBezTo>
                    <a:pt x="356" y="1241"/>
                    <a:pt x="388" y="1249"/>
                    <a:pt x="396" y="1257"/>
                  </a:cubicBezTo>
                  <a:cubicBezTo>
                    <a:pt x="411" y="1265"/>
                    <a:pt x="396" y="1289"/>
                    <a:pt x="403" y="1320"/>
                  </a:cubicBezTo>
                  <a:cubicBezTo>
                    <a:pt x="419" y="1344"/>
                    <a:pt x="435" y="1336"/>
                    <a:pt x="435" y="1360"/>
                  </a:cubicBezTo>
                  <a:cubicBezTo>
                    <a:pt x="435" y="1384"/>
                    <a:pt x="427" y="1399"/>
                    <a:pt x="403" y="1407"/>
                  </a:cubicBezTo>
                  <a:cubicBezTo>
                    <a:pt x="388" y="1415"/>
                    <a:pt x="372" y="1431"/>
                    <a:pt x="380" y="1447"/>
                  </a:cubicBezTo>
                  <a:cubicBezTo>
                    <a:pt x="396" y="1463"/>
                    <a:pt x="396" y="1502"/>
                    <a:pt x="380" y="1518"/>
                  </a:cubicBezTo>
                  <a:cubicBezTo>
                    <a:pt x="364" y="1534"/>
                    <a:pt x="356" y="1597"/>
                    <a:pt x="364" y="1613"/>
                  </a:cubicBezTo>
                  <a:cubicBezTo>
                    <a:pt x="380" y="1629"/>
                    <a:pt x="419" y="1660"/>
                    <a:pt x="419" y="1692"/>
                  </a:cubicBezTo>
                  <a:cubicBezTo>
                    <a:pt x="419" y="1731"/>
                    <a:pt x="403" y="1818"/>
                    <a:pt x="403" y="1842"/>
                  </a:cubicBezTo>
                  <a:cubicBezTo>
                    <a:pt x="411" y="1858"/>
                    <a:pt x="459" y="1945"/>
                    <a:pt x="459" y="1969"/>
                  </a:cubicBezTo>
                  <a:cubicBezTo>
                    <a:pt x="459" y="1969"/>
                    <a:pt x="538" y="2095"/>
                    <a:pt x="546" y="2095"/>
                  </a:cubicBezTo>
                  <a:cubicBezTo>
                    <a:pt x="561" y="2095"/>
                    <a:pt x="1597" y="2016"/>
                    <a:pt x="1597" y="2016"/>
                  </a:cubicBezTo>
                  <a:cubicBezTo>
                    <a:pt x="1597" y="2016"/>
                    <a:pt x="1605" y="2016"/>
                    <a:pt x="1613" y="2040"/>
                  </a:cubicBezTo>
                  <a:cubicBezTo>
                    <a:pt x="1621" y="2063"/>
                    <a:pt x="1613" y="2103"/>
                    <a:pt x="1645" y="2103"/>
                  </a:cubicBezTo>
                  <a:cubicBezTo>
                    <a:pt x="1676" y="2111"/>
                    <a:pt x="1692" y="2119"/>
                    <a:pt x="1692" y="2079"/>
                  </a:cubicBezTo>
                  <a:cubicBezTo>
                    <a:pt x="1692" y="2040"/>
                    <a:pt x="1708" y="1992"/>
                    <a:pt x="1692" y="1961"/>
                  </a:cubicBezTo>
                  <a:cubicBezTo>
                    <a:pt x="1668" y="1929"/>
                    <a:pt x="1660" y="1905"/>
                    <a:pt x="1684" y="1897"/>
                  </a:cubicBezTo>
                  <a:cubicBezTo>
                    <a:pt x="1708" y="1882"/>
                    <a:pt x="1882" y="1937"/>
                    <a:pt x="1898" y="1897"/>
                  </a:cubicBezTo>
                  <a:cubicBezTo>
                    <a:pt x="1898" y="1889"/>
                    <a:pt x="1898" y="1889"/>
                    <a:pt x="1906" y="1889"/>
                  </a:cubicBezTo>
                  <a:cubicBezTo>
                    <a:pt x="1882" y="1874"/>
                    <a:pt x="1882" y="1866"/>
                    <a:pt x="1890" y="1834"/>
                  </a:cubicBezTo>
                  <a:cubicBezTo>
                    <a:pt x="1890" y="1795"/>
                    <a:pt x="1898" y="1787"/>
                    <a:pt x="1882" y="1763"/>
                  </a:cubicBezTo>
                  <a:cubicBezTo>
                    <a:pt x="1866" y="1739"/>
                    <a:pt x="1913" y="1731"/>
                    <a:pt x="1898" y="1716"/>
                  </a:cubicBezTo>
                  <a:cubicBezTo>
                    <a:pt x="1882" y="1700"/>
                    <a:pt x="1890" y="1684"/>
                    <a:pt x="1913" y="1676"/>
                  </a:cubicBezTo>
                  <a:cubicBezTo>
                    <a:pt x="1945" y="1676"/>
                    <a:pt x="1969" y="1637"/>
                    <a:pt x="1953" y="1621"/>
                  </a:cubicBezTo>
                  <a:cubicBezTo>
                    <a:pt x="1929" y="1613"/>
                    <a:pt x="1913" y="1637"/>
                    <a:pt x="1921" y="1605"/>
                  </a:cubicBezTo>
                  <a:cubicBezTo>
                    <a:pt x="1929" y="1573"/>
                    <a:pt x="1913" y="1573"/>
                    <a:pt x="1937" y="1565"/>
                  </a:cubicBezTo>
                  <a:cubicBezTo>
                    <a:pt x="1953" y="1558"/>
                    <a:pt x="1977" y="1542"/>
                    <a:pt x="1961" y="1526"/>
                  </a:cubicBezTo>
                  <a:cubicBezTo>
                    <a:pt x="1953" y="1510"/>
                    <a:pt x="1945" y="1510"/>
                    <a:pt x="1929" y="1510"/>
                  </a:cubicBezTo>
                  <a:cubicBezTo>
                    <a:pt x="1921" y="1502"/>
                    <a:pt x="1913" y="1486"/>
                    <a:pt x="1929" y="1478"/>
                  </a:cubicBezTo>
                  <a:cubicBezTo>
                    <a:pt x="1945" y="1471"/>
                    <a:pt x="1961" y="1478"/>
                    <a:pt x="1969" y="1455"/>
                  </a:cubicBezTo>
                  <a:cubicBezTo>
                    <a:pt x="1977" y="1431"/>
                    <a:pt x="1969" y="1423"/>
                    <a:pt x="1953" y="1423"/>
                  </a:cubicBezTo>
                  <a:cubicBezTo>
                    <a:pt x="1937" y="1423"/>
                    <a:pt x="1921" y="1431"/>
                    <a:pt x="1937" y="1415"/>
                  </a:cubicBezTo>
                  <a:cubicBezTo>
                    <a:pt x="1953" y="1407"/>
                    <a:pt x="1977" y="1407"/>
                    <a:pt x="1984" y="1391"/>
                  </a:cubicBezTo>
                  <a:cubicBezTo>
                    <a:pt x="2000" y="1376"/>
                    <a:pt x="2016" y="1360"/>
                    <a:pt x="1993" y="1352"/>
                  </a:cubicBezTo>
                  <a:cubicBezTo>
                    <a:pt x="1961" y="1344"/>
                    <a:pt x="1945" y="1344"/>
                    <a:pt x="1953" y="1336"/>
                  </a:cubicBezTo>
                  <a:cubicBezTo>
                    <a:pt x="1969" y="1328"/>
                    <a:pt x="1993" y="1320"/>
                    <a:pt x="2008" y="1320"/>
                  </a:cubicBezTo>
                  <a:cubicBezTo>
                    <a:pt x="2016" y="1328"/>
                    <a:pt x="2032" y="1328"/>
                    <a:pt x="2024" y="1320"/>
                  </a:cubicBezTo>
                  <a:cubicBezTo>
                    <a:pt x="2016" y="1305"/>
                    <a:pt x="2008" y="1289"/>
                    <a:pt x="2024" y="1289"/>
                  </a:cubicBezTo>
                  <a:cubicBezTo>
                    <a:pt x="2040" y="1289"/>
                    <a:pt x="2056" y="1289"/>
                    <a:pt x="2048" y="1281"/>
                  </a:cubicBezTo>
                  <a:cubicBezTo>
                    <a:pt x="2040" y="1273"/>
                    <a:pt x="2095" y="1273"/>
                    <a:pt x="2079" y="1257"/>
                  </a:cubicBezTo>
                  <a:cubicBezTo>
                    <a:pt x="2071" y="1241"/>
                    <a:pt x="2056" y="1241"/>
                    <a:pt x="2048" y="1241"/>
                  </a:cubicBezTo>
                  <a:cubicBezTo>
                    <a:pt x="2024" y="1241"/>
                    <a:pt x="1945" y="1233"/>
                    <a:pt x="1921" y="1218"/>
                  </a:cubicBezTo>
                </a:path>
              </a:pathLst>
            </a:custGeom>
            <a:grpFill/>
            <a:ln>
              <a:solidFill>
                <a:schemeClr val="bg1">
                  <a:lumMod val="95000"/>
                </a:schemeClr>
              </a:solidFill>
            </a:ln>
            <a:effectLst/>
          </p:spPr>
          <p:txBody>
            <a:bodyPr wrap="none" anchor="ctr"/>
            <a:lstStyle/>
            <a:p>
              <a:endParaRPr lang="en-US" sz="900"/>
            </a:p>
          </p:txBody>
        </p:sp>
        <p:sp>
          <p:nvSpPr>
            <p:cNvPr id="57" name="Freeform 410"/>
            <p:cNvSpPr>
              <a:spLocks noChangeArrowheads="1"/>
            </p:cNvSpPr>
            <p:nvPr/>
          </p:nvSpPr>
          <p:spPr bwMode="auto">
            <a:xfrm>
              <a:off x="14475030" y="6970832"/>
              <a:ext cx="1101669" cy="1115587"/>
            </a:xfrm>
            <a:custGeom>
              <a:avLst/>
              <a:gdLst>
                <a:gd name="T0" fmla="*/ 1621 w 2096"/>
                <a:gd name="T1" fmla="*/ 2071 h 2120"/>
                <a:gd name="T2" fmla="*/ 459 w 2096"/>
                <a:gd name="T3" fmla="*/ 1977 h 2120"/>
                <a:gd name="T4" fmla="*/ 419 w 2096"/>
                <a:gd name="T5" fmla="*/ 1700 h 2120"/>
                <a:gd name="T6" fmla="*/ 380 w 2096"/>
                <a:gd name="T7" fmla="*/ 1439 h 2120"/>
                <a:gd name="T8" fmla="*/ 411 w 2096"/>
                <a:gd name="T9" fmla="*/ 1328 h 2120"/>
                <a:gd name="T10" fmla="*/ 364 w 2096"/>
                <a:gd name="T11" fmla="*/ 1249 h 2120"/>
                <a:gd name="T12" fmla="*/ 973 w 2096"/>
                <a:gd name="T13" fmla="*/ 0 h 2120"/>
                <a:gd name="T14" fmla="*/ 909 w 2096"/>
                <a:gd name="T15" fmla="*/ 95 h 2120"/>
                <a:gd name="T16" fmla="*/ 1020 w 2096"/>
                <a:gd name="T17" fmla="*/ 245 h 2120"/>
                <a:gd name="T18" fmla="*/ 1265 w 2096"/>
                <a:gd name="T19" fmla="*/ 475 h 2120"/>
                <a:gd name="T20" fmla="*/ 1597 w 2096"/>
                <a:gd name="T21" fmla="*/ 751 h 2120"/>
                <a:gd name="T22" fmla="*/ 1795 w 2096"/>
                <a:gd name="T23" fmla="*/ 1012 h 2120"/>
                <a:gd name="T24" fmla="*/ 1921 w 2096"/>
                <a:gd name="T25" fmla="*/ 1170 h 2120"/>
                <a:gd name="T26" fmla="*/ 2072 w 2096"/>
                <a:gd name="T27" fmla="*/ 1249 h 2120"/>
                <a:gd name="T28" fmla="*/ 2064 w 2096"/>
                <a:gd name="T29" fmla="*/ 1297 h 2120"/>
                <a:gd name="T30" fmla="*/ 2040 w 2096"/>
                <a:gd name="T31" fmla="*/ 1336 h 2120"/>
                <a:gd name="T32" fmla="*/ 1961 w 2096"/>
                <a:gd name="T33" fmla="*/ 1352 h 2120"/>
                <a:gd name="T34" fmla="*/ 2001 w 2096"/>
                <a:gd name="T35" fmla="*/ 1399 h 2120"/>
                <a:gd name="T36" fmla="*/ 1961 w 2096"/>
                <a:gd name="T37" fmla="*/ 1431 h 2120"/>
                <a:gd name="T38" fmla="*/ 1929 w 2096"/>
                <a:gd name="T39" fmla="*/ 1502 h 2120"/>
                <a:gd name="T40" fmla="*/ 1945 w 2096"/>
                <a:gd name="T41" fmla="*/ 1581 h 2120"/>
                <a:gd name="T42" fmla="*/ 1937 w 2096"/>
                <a:gd name="T43" fmla="*/ 1629 h 2120"/>
                <a:gd name="T44" fmla="*/ 1906 w 2096"/>
                <a:gd name="T45" fmla="*/ 1700 h 2120"/>
                <a:gd name="T46" fmla="*/ 1906 w 2096"/>
                <a:gd name="T47" fmla="*/ 1818 h 2120"/>
                <a:gd name="T48" fmla="*/ 1914 w 2096"/>
                <a:gd name="T49" fmla="*/ 1897 h 2120"/>
                <a:gd name="T50" fmla="*/ 1692 w 2096"/>
                <a:gd name="T51" fmla="*/ 1905 h 2120"/>
                <a:gd name="T52" fmla="*/ 1684 w 2096"/>
                <a:gd name="T53" fmla="*/ 2119 h 2120"/>
                <a:gd name="T54" fmla="*/ 1629 w 2096"/>
                <a:gd name="T55" fmla="*/ 2071 h 2120"/>
                <a:gd name="T56" fmla="*/ 1700 w 2096"/>
                <a:gd name="T57" fmla="*/ 2048 h 2120"/>
                <a:gd name="T58" fmla="*/ 1763 w 2096"/>
                <a:gd name="T59" fmla="*/ 1905 h 2120"/>
                <a:gd name="T60" fmla="*/ 1890 w 2096"/>
                <a:gd name="T61" fmla="*/ 1842 h 2120"/>
                <a:gd name="T62" fmla="*/ 1906 w 2096"/>
                <a:gd name="T63" fmla="*/ 1724 h 2120"/>
                <a:gd name="T64" fmla="*/ 1937 w 2096"/>
                <a:gd name="T65" fmla="*/ 1637 h 2120"/>
                <a:gd name="T66" fmla="*/ 1937 w 2096"/>
                <a:gd name="T67" fmla="*/ 1573 h 2120"/>
                <a:gd name="T68" fmla="*/ 1921 w 2096"/>
                <a:gd name="T69" fmla="*/ 1502 h 2120"/>
                <a:gd name="T70" fmla="*/ 1961 w 2096"/>
                <a:gd name="T71" fmla="*/ 1439 h 2120"/>
                <a:gd name="T72" fmla="*/ 1969 w 2096"/>
                <a:gd name="T73" fmla="*/ 1407 h 2120"/>
                <a:gd name="T74" fmla="*/ 1969 w 2096"/>
                <a:gd name="T75" fmla="*/ 1360 h 2120"/>
                <a:gd name="T76" fmla="*/ 2032 w 2096"/>
                <a:gd name="T77" fmla="*/ 1328 h 2120"/>
                <a:gd name="T78" fmla="*/ 2040 w 2096"/>
                <a:gd name="T79" fmla="*/ 1289 h 2120"/>
                <a:gd name="T80" fmla="*/ 2087 w 2096"/>
                <a:gd name="T81" fmla="*/ 1265 h 2120"/>
                <a:gd name="T82" fmla="*/ 1914 w 2096"/>
                <a:gd name="T83" fmla="*/ 1170 h 2120"/>
                <a:gd name="T84" fmla="*/ 1795 w 2096"/>
                <a:gd name="T85" fmla="*/ 1020 h 2120"/>
                <a:gd name="T86" fmla="*/ 1597 w 2096"/>
                <a:gd name="T87" fmla="*/ 759 h 2120"/>
                <a:gd name="T88" fmla="*/ 1265 w 2096"/>
                <a:gd name="T89" fmla="*/ 482 h 2120"/>
                <a:gd name="T90" fmla="*/ 1020 w 2096"/>
                <a:gd name="T91" fmla="*/ 253 h 2120"/>
                <a:gd name="T92" fmla="*/ 902 w 2096"/>
                <a:gd name="T93" fmla="*/ 95 h 2120"/>
                <a:gd name="T94" fmla="*/ 617 w 2096"/>
                <a:gd name="T95" fmla="*/ 48 h 2120"/>
                <a:gd name="T96" fmla="*/ 419 w 2096"/>
                <a:gd name="T97" fmla="*/ 1320 h 2120"/>
                <a:gd name="T98" fmla="*/ 388 w 2096"/>
                <a:gd name="T99" fmla="*/ 1439 h 2120"/>
                <a:gd name="T100" fmla="*/ 427 w 2096"/>
                <a:gd name="T101" fmla="*/ 1700 h 2120"/>
                <a:gd name="T102" fmla="*/ 554 w 2096"/>
                <a:gd name="T103" fmla="*/ 2103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6" h="2120">
                  <a:moveTo>
                    <a:pt x="1684" y="2119"/>
                  </a:moveTo>
                  <a:lnTo>
                    <a:pt x="1684" y="2119"/>
                  </a:lnTo>
                  <a:cubicBezTo>
                    <a:pt x="1676" y="2119"/>
                    <a:pt x="1668" y="2119"/>
                    <a:pt x="1661" y="2119"/>
                  </a:cubicBezTo>
                  <a:lnTo>
                    <a:pt x="1653" y="2119"/>
                  </a:lnTo>
                  <a:cubicBezTo>
                    <a:pt x="1621" y="2119"/>
                    <a:pt x="1621" y="2095"/>
                    <a:pt x="1621" y="2071"/>
                  </a:cubicBezTo>
                  <a:cubicBezTo>
                    <a:pt x="1621" y="2063"/>
                    <a:pt x="1621" y="2056"/>
                    <a:pt x="1621" y="2048"/>
                  </a:cubicBezTo>
                  <a:cubicBezTo>
                    <a:pt x="1613" y="2032"/>
                    <a:pt x="1605" y="2024"/>
                    <a:pt x="1605" y="2024"/>
                  </a:cubicBezTo>
                  <a:cubicBezTo>
                    <a:pt x="1550" y="2032"/>
                    <a:pt x="569" y="2111"/>
                    <a:pt x="554" y="2111"/>
                  </a:cubicBezTo>
                  <a:cubicBezTo>
                    <a:pt x="546" y="2111"/>
                    <a:pt x="483" y="2016"/>
                    <a:pt x="467" y="1977"/>
                  </a:cubicBezTo>
                  <a:cubicBezTo>
                    <a:pt x="459" y="1977"/>
                    <a:pt x="459" y="1977"/>
                    <a:pt x="459" y="1977"/>
                  </a:cubicBezTo>
                  <a:lnTo>
                    <a:pt x="459" y="1977"/>
                  </a:lnTo>
                  <a:cubicBezTo>
                    <a:pt x="459" y="1961"/>
                    <a:pt x="443" y="1921"/>
                    <a:pt x="435" y="1897"/>
                  </a:cubicBezTo>
                  <a:cubicBezTo>
                    <a:pt x="419" y="1874"/>
                    <a:pt x="411" y="1858"/>
                    <a:pt x="411" y="1850"/>
                  </a:cubicBezTo>
                  <a:cubicBezTo>
                    <a:pt x="411" y="1834"/>
                    <a:pt x="411" y="1803"/>
                    <a:pt x="419" y="1771"/>
                  </a:cubicBezTo>
                  <a:cubicBezTo>
                    <a:pt x="419" y="1739"/>
                    <a:pt x="419" y="1716"/>
                    <a:pt x="419" y="1700"/>
                  </a:cubicBezTo>
                  <a:cubicBezTo>
                    <a:pt x="419" y="1676"/>
                    <a:pt x="404" y="1652"/>
                    <a:pt x="380" y="1637"/>
                  </a:cubicBezTo>
                  <a:cubicBezTo>
                    <a:pt x="380" y="1629"/>
                    <a:pt x="372" y="1629"/>
                    <a:pt x="372" y="1621"/>
                  </a:cubicBezTo>
                  <a:cubicBezTo>
                    <a:pt x="356" y="1605"/>
                    <a:pt x="372" y="1542"/>
                    <a:pt x="388" y="1526"/>
                  </a:cubicBezTo>
                  <a:cubicBezTo>
                    <a:pt x="396" y="1510"/>
                    <a:pt x="396" y="1471"/>
                    <a:pt x="388" y="1455"/>
                  </a:cubicBezTo>
                  <a:cubicBezTo>
                    <a:pt x="380" y="1455"/>
                    <a:pt x="380" y="1447"/>
                    <a:pt x="380" y="1439"/>
                  </a:cubicBezTo>
                  <a:cubicBezTo>
                    <a:pt x="388" y="1431"/>
                    <a:pt x="396" y="1423"/>
                    <a:pt x="411" y="1415"/>
                  </a:cubicBezTo>
                  <a:lnTo>
                    <a:pt x="411" y="1415"/>
                  </a:lnTo>
                  <a:cubicBezTo>
                    <a:pt x="427" y="1399"/>
                    <a:pt x="435" y="1392"/>
                    <a:pt x="435" y="1368"/>
                  </a:cubicBezTo>
                  <a:cubicBezTo>
                    <a:pt x="435" y="1360"/>
                    <a:pt x="435" y="1352"/>
                    <a:pt x="427" y="1352"/>
                  </a:cubicBezTo>
                  <a:cubicBezTo>
                    <a:pt x="427" y="1344"/>
                    <a:pt x="419" y="1344"/>
                    <a:pt x="411" y="1328"/>
                  </a:cubicBezTo>
                  <a:cubicBezTo>
                    <a:pt x="404" y="1313"/>
                    <a:pt x="411" y="1297"/>
                    <a:pt x="411" y="1289"/>
                  </a:cubicBezTo>
                  <a:cubicBezTo>
                    <a:pt x="411" y="1281"/>
                    <a:pt x="411" y="1273"/>
                    <a:pt x="404" y="1265"/>
                  </a:cubicBezTo>
                  <a:cubicBezTo>
                    <a:pt x="388" y="1257"/>
                    <a:pt x="364" y="1249"/>
                    <a:pt x="364" y="1249"/>
                  </a:cubicBezTo>
                  <a:lnTo>
                    <a:pt x="364" y="1249"/>
                  </a:lnTo>
                  <a:lnTo>
                    <a:pt x="364" y="1249"/>
                  </a:lnTo>
                  <a:cubicBezTo>
                    <a:pt x="0" y="111"/>
                    <a:pt x="0" y="111"/>
                    <a:pt x="0" y="111"/>
                  </a:cubicBezTo>
                  <a:cubicBezTo>
                    <a:pt x="8" y="111"/>
                    <a:pt x="8" y="111"/>
                    <a:pt x="8" y="111"/>
                  </a:cubicBezTo>
                  <a:cubicBezTo>
                    <a:pt x="238" y="87"/>
                    <a:pt x="451" y="63"/>
                    <a:pt x="617" y="40"/>
                  </a:cubicBezTo>
                  <a:cubicBezTo>
                    <a:pt x="799" y="24"/>
                    <a:pt x="917" y="8"/>
                    <a:pt x="941" y="8"/>
                  </a:cubicBezTo>
                  <a:cubicBezTo>
                    <a:pt x="949" y="8"/>
                    <a:pt x="965" y="8"/>
                    <a:pt x="973" y="0"/>
                  </a:cubicBezTo>
                  <a:cubicBezTo>
                    <a:pt x="981" y="0"/>
                    <a:pt x="981" y="0"/>
                    <a:pt x="981" y="0"/>
                  </a:cubicBezTo>
                  <a:cubicBezTo>
                    <a:pt x="981" y="8"/>
                    <a:pt x="981" y="8"/>
                    <a:pt x="981" y="8"/>
                  </a:cubicBezTo>
                  <a:cubicBezTo>
                    <a:pt x="981" y="16"/>
                    <a:pt x="981" y="24"/>
                    <a:pt x="973" y="24"/>
                  </a:cubicBezTo>
                  <a:cubicBezTo>
                    <a:pt x="973" y="32"/>
                    <a:pt x="965" y="32"/>
                    <a:pt x="965" y="40"/>
                  </a:cubicBezTo>
                  <a:cubicBezTo>
                    <a:pt x="941" y="48"/>
                    <a:pt x="909" y="71"/>
                    <a:pt x="909" y="95"/>
                  </a:cubicBezTo>
                  <a:cubicBezTo>
                    <a:pt x="909" y="103"/>
                    <a:pt x="909" y="103"/>
                    <a:pt x="909" y="103"/>
                  </a:cubicBezTo>
                  <a:cubicBezTo>
                    <a:pt x="909" y="127"/>
                    <a:pt x="902" y="166"/>
                    <a:pt x="917" y="174"/>
                  </a:cubicBezTo>
                  <a:cubicBezTo>
                    <a:pt x="917" y="174"/>
                    <a:pt x="925" y="174"/>
                    <a:pt x="925" y="182"/>
                  </a:cubicBezTo>
                  <a:cubicBezTo>
                    <a:pt x="949" y="198"/>
                    <a:pt x="996" y="222"/>
                    <a:pt x="1004" y="238"/>
                  </a:cubicBezTo>
                  <a:cubicBezTo>
                    <a:pt x="1012" y="245"/>
                    <a:pt x="1020" y="245"/>
                    <a:pt x="1020" y="245"/>
                  </a:cubicBezTo>
                  <a:cubicBezTo>
                    <a:pt x="1028" y="245"/>
                    <a:pt x="1036" y="245"/>
                    <a:pt x="1044" y="245"/>
                  </a:cubicBezTo>
                  <a:cubicBezTo>
                    <a:pt x="1052" y="245"/>
                    <a:pt x="1060" y="238"/>
                    <a:pt x="1068" y="238"/>
                  </a:cubicBezTo>
                  <a:cubicBezTo>
                    <a:pt x="1084" y="238"/>
                    <a:pt x="1099" y="261"/>
                    <a:pt x="1115" y="293"/>
                  </a:cubicBezTo>
                  <a:cubicBezTo>
                    <a:pt x="1123" y="301"/>
                    <a:pt x="1123" y="309"/>
                    <a:pt x="1131" y="316"/>
                  </a:cubicBezTo>
                  <a:cubicBezTo>
                    <a:pt x="1162" y="372"/>
                    <a:pt x="1218" y="451"/>
                    <a:pt x="1265" y="475"/>
                  </a:cubicBezTo>
                  <a:cubicBezTo>
                    <a:pt x="1313" y="490"/>
                    <a:pt x="1328" y="498"/>
                    <a:pt x="1360" y="546"/>
                  </a:cubicBezTo>
                  <a:cubicBezTo>
                    <a:pt x="1392" y="585"/>
                    <a:pt x="1415" y="593"/>
                    <a:pt x="1447" y="609"/>
                  </a:cubicBezTo>
                  <a:cubicBezTo>
                    <a:pt x="1486" y="617"/>
                    <a:pt x="1510" y="625"/>
                    <a:pt x="1534" y="656"/>
                  </a:cubicBezTo>
                  <a:cubicBezTo>
                    <a:pt x="1534" y="664"/>
                    <a:pt x="1542" y="672"/>
                    <a:pt x="1542" y="680"/>
                  </a:cubicBezTo>
                  <a:cubicBezTo>
                    <a:pt x="1558" y="704"/>
                    <a:pt x="1566" y="720"/>
                    <a:pt x="1597" y="751"/>
                  </a:cubicBezTo>
                  <a:cubicBezTo>
                    <a:pt x="1645" y="783"/>
                    <a:pt x="1668" y="799"/>
                    <a:pt x="1692" y="815"/>
                  </a:cubicBezTo>
                  <a:cubicBezTo>
                    <a:pt x="1692" y="822"/>
                    <a:pt x="1700" y="822"/>
                    <a:pt x="1700" y="830"/>
                  </a:cubicBezTo>
                  <a:cubicBezTo>
                    <a:pt x="1732" y="846"/>
                    <a:pt x="1779" y="909"/>
                    <a:pt x="1787" y="933"/>
                  </a:cubicBezTo>
                  <a:cubicBezTo>
                    <a:pt x="1787" y="941"/>
                    <a:pt x="1787" y="949"/>
                    <a:pt x="1787" y="957"/>
                  </a:cubicBezTo>
                  <a:cubicBezTo>
                    <a:pt x="1779" y="980"/>
                    <a:pt x="1779" y="996"/>
                    <a:pt x="1795" y="1012"/>
                  </a:cubicBezTo>
                  <a:cubicBezTo>
                    <a:pt x="1803" y="1020"/>
                    <a:pt x="1811" y="1020"/>
                    <a:pt x="1819" y="1028"/>
                  </a:cubicBezTo>
                  <a:cubicBezTo>
                    <a:pt x="1834" y="1028"/>
                    <a:pt x="1850" y="1036"/>
                    <a:pt x="1858" y="1052"/>
                  </a:cubicBezTo>
                  <a:cubicBezTo>
                    <a:pt x="1866" y="1060"/>
                    <a:pt x="1874" y="1075"/>
                    <a:pt x="1882" y="1083"/>
                  </a:cubicBezTo>
                  <a:cubicBezTo>
                    <a:pt x="1898" y="1107"/>
                    <a:pt x="1906" y="1131"/>
                    <a:pt x="1921" y="1139"/>
                  </a:cubicBezTo>
                  <a:cubicBezTo>
                    <a:pt x="1929" y="1139"/>
                    <a:pt x="1929" y="1155"/>
                    <a:pt x="1921" y="1170"/>
                  </a:cubicBezTo>
                  <a:cubicBezTo>
                    <a:pt x="1914" y="1194"/>
                    <a:pt x="1914" y="1218"/>
                    <a:pt x="1929" y="1226"/>
                  </a:cubicBezTo>
                  <a:cubicBezTo>
                    <a:pt x="1961" y="1241"/>
                    <a:pt x="2032" y="1241"/>
                    <a:pt x="2056" y="1241"/>
                  </a:cubicBezTo>
                  <a:cubicBezTo>
                    <a:pt x="2064" y="1241"/>
                    <a:pt x="2064" y="1241"/>
                    <a:pt x="2064" y="1241"/>
                  </a:cubicBezTo>
                  <a:lnTo>
                    <a:pt x="2064" y="1241"/>
                  </a:lnTo>
                  <a:cubicBezTo>
                    <a:pt x="2064" y="1241"/>
                    <a:pt x="2064" y="1249"/>
                    <a:pt x="2072" y="1249"/>
                  </a:cubicBezTo>
                  <a:cubicBezTo>
                    <a:pt x="2079" y="1249"/>
                    <a:pt x="2087" y="1257"/>
                    <a:pt x="2095" y="1265"/>
                  </a:cubicBezTo>
                  <a:cubicBezTo>
                    <a:pt x="2095" y="1265"/>
                    <a:pt x="2095" y="1265"/>
                    <a:pt x="2095" y="1273"/>
                  </a:cubicBezTo>
                  <a:cubicBezTo>
                    <a:pt x="2095" y="1281"/>
                    <a:pt x="2079" y="1281"/>
                    <a:pt x="2072" y="1281"/>
                  </a:cubicBezTo>
                  <a:cubicBezTo>
                    <a:pt x="2072" y="1289"/>
                    <a:pt x="2064" y="1289"/>
                    <a:pt x="2064" y="1289"/>
                  </a:cubicBezTo>
                  <a:lnTo>
                    <a:pt x="2064" y="1297"/>
                  </a:lnTo>
                  <a:cubicBezTo>
                    <a:pt x="2064" y="1297"/>
                    <a:pt x="2056" y="1297"/>
                    <a:pt x="2040" y="1297"/>
                  </a:cubicBezTo>
                  <a:cubicBezTo>
                    <a:pt x="2032" y="1297"/>
                    <a:pt x="2032" y="1297"/>
                    <a:pt x="2032" y="1297"/>
                  </a:cubicBezTo>
                  <a:cubicBezTo>
                    <a:pt x="2032" y="1297"/>
                    <a:pt x="2024" y="1297"/>
                    <a:pt x="2024" y="1305"/>
                  </a:cubicBezTo>
                  <a:cubicBezTo>
                    <a:pt x="2024" y="1305"/>
                    <a:pt x="2032" y="1320"/>
                    <a:pt x="2040" y="1320"/>
                  </a:cubicBezTo>
                  <a:cubicBezTo>
                    <a:pt x="2040" y="1328"/>
                    <a:pt x="2040" y="1328"/>
                    <a:pt x="2040" y="1336"/>
                  </a:cubicBezTo>
                  <a:lnTo>
                    <a:pt x="2032" y="1336"/>
                  </a:lnTo>
                  <a:cubicBezTo>
                    <a:pt x="2024" y="1336"/>
                    <a:pt x="2016" y="1336"/>
                    <a:pt x="2008" y="1336"/>
                  </a:cubicBezTo>
                  <a:lnTo>
                    <a:pt x="2008" y="1336"/>
                  </a:lnTo>
                  <a:cubicBezTo>
                    <a:pt x="1992" y="1336"/>
                    <a:pt x="1977" y="1344"/>
                    <a:pt x="1969" y="1344"/>
                  </a:cubicBezTo>
                  <a:cubicBezTo>
                    <a:pt x="1961" y="1352"/>
                    <a:pt x="1961" y="1352"/>
                    <a:pt x="1961" y="1352"/>
                  </a:cubicBezTo>
                  <a:cubicBezTo>
                    <a:pt x="1969" y="1352"/>
                    <a:pt x="1969" y="1352"/>
                    <a:pt x="1977" y="1352"/>
                  </a:cubicBezTo>
                  <a:cubicBezTo>
                    <a:pt x="1977" y="1352"/>
                    <a:pt x="1992" y="1352"/>
                    <a:pt x="2001" y="1360"/>
                  </a:cubicBezTo>
                  <a:cubicBezTo>
                    <a:pt x="2008" y="1360"/>
                    <a:pt x="2016" y="1368"/>
                    <a:pt x="2016" y="1368"/>
                  </a:cubicBezTo>
                  <a:cubicBezTo>
                    <a:pt x="2016" y="1384"/>
                    <a:pt x="2008" y="1392"/>
                    <a:pt x="2001" y="1399"/>
                  </a:cubicBezTo>
                  <a:lnTo>
                    <a:pt x="2001" y="1399"/>
                  </a:lnTo>
                  <a:cubicBezTo>
                    <a:pt x="1992" y="1415"/>
                    <a:pt x="1977" y="1415"/>
                    <a:pt x="1969" y="1415"/>
                  </a:cubicBezTo>
                  <a:cubicBezTo>
                    <a:pt x="1961" y="1415"/>
                    <a:pt x="1953" y="1423"/>
                    <a:pt x="1945" y="1423"/>
                  </a:cubicBezTo>
                  <a:cubicBezTo>
                    <a:pt x="1945" y="1431"/>
                    <a:pt x="1945" y="1431"/>
                    <a:pt x="1945" y="1431"/>
                  </a:cubicBezTo>
                  <a:lnTo>
                    <a:pt x="1953" y="1431"/>
                  </a:lnTo>
                  <a:cubicBezTo>
                    <a:pt x="1961" y="1431"/>
                    <a:pt x="1961" y="1431"/>
                    <a:pt x="1961" y="1431"/>
                  </a:cubicBezTo>
                  <a:cubicBezTo>
                    <a:pt x="1969" y="1431"/>
                    <a:pt x="1977" y="1431"/>
                    <a:pt x="1985" y="1439"/>
                  </a:cubicBezTo>
                  <a:cubicBezTo>
                    <a:pt x="1985" y="1439"/>
                    <a:pt x="1985" y="1447"/>
                    <a:pt x="1985" y="1463"/>
                  </a:cubicBezTo>
                  <a:cubicBezTo>
                    <a:pt x="1977" y="1479"/>
                    <a:pt x="1969" y="1486"/>
                    <a:pt x="1953" y="1486"/>
                  </a:cubicBezTo>
                  <a:cubicBezTo>
                    <a:pt x="1953" y="1486"/>
                    <a:pt x="1945" y="1486"/>
                    <a:pt x="1937" y="1494"/>
                  </a:cubicBezTo>
                  <a:cubicBezTo>
                    <a:pt x="1929" y="1494"/>
                    <a:pt x="1929" y="1494"/>
                    <a:pt x="1929" y="1502"/>
                  </a:cubicBezTo>
                  <a:lnTo>
                    <a:pt x="1937" y="1510"/>
                  </a:lnTo>
                  <a:cubicBezTo>
                    <a:pt x="1945" y="1510"/>
                    <a:pt x="1945" y="1510"/>
                    <a:pt x="1945" y="1510"/>
                  </a:cubicBezTo>
                  <a:cubicBezTo>
                    <a:pt x="1953" y="1518"/>
                    <a:pt x="1961" y="1518"/>
                    <a:pt x="1977" y="1534"/>
                  </a:cubicBezTo>
                  <a:cubicBezTo>
                    <a:pt x="1977" y="1534"/>
                    <a:pt x="1985" y="1542"/>
                    <a:pt x="1977" y="1550"/>
                  </a:cubicBezTo>
                  <a:cubicBezTo>
                    <a:pt x="1977" y="1557"/>
                    <a:pt x="1961" y="1573"/>
                    <a:pt x="1945" y="1581"/>
                  </a:cubicBezTo>
                  <a:cubicBezTo>
                    <a:pt x="1937" y="1581"/>
                    <a:pt x="1937" y="1581"/>
                    <a:pt x="1937" y="1581"/>
                  </a:cubicBezTo>
                  <a:lnTo>
                    <a:pt x="1937" y="1589"/>
                  </a:lnTo>
                  <a:cubicBezTo>
                    <a:pt x="1937" y="1589"/>
                    <a:pt x="1937" y="1597"/>
                    <a:pt x="1937" y="1613"/>
                  </a:cubicBezTo>
                  <a:cubicBezTo>
                    <a:pt x="1937" y="1621"/>
                    <a:pt x="1937" y="1629"/>
                    <a:pt x="1937" y="1629"/>
                  </a:cubicBezTo>
                  <a:lnTo>
                    <a:pt x="1937" y="1629"/>
                  </a:lnTo>
                  <a:lnTo>
                    <a:pt x="1945" y="1621"/>
                  </a:lnTo>
                  <a:cubicBezTo>
                    <a:pt x="1953" y="1621"/>
                    <a:pt x="1961" y="1629"/>
                    <a:pt x="1961" y="1629"/>
                  </a:cubicBezTo>
                  <a:cubicBezTo>
                    <a:pt x="1969" y="1637"/>
                    <a:pt x="1969" y="1637"/>
                    <a:pt x="1969" y="1652"/>
                  </a:cubicBezTo>
                  <a:cubicBezTo>
                    <a:pt x="1969" y="1668"/>
                    <a:pt x="1945" y="1684"/>
                    <a:pt x="1921" y="1692"/>
                  </a:cubicBezTo>
                  <a:cubicBezTo>
                    <a:pt x="1914" y="1692"/>
                    <a:pt x="1906" y="1692"/>
                    <a:pt x="1906" y="1700"/>
                  </a:cubicBezTo>
                  <a:cubicBezTo>
                    <a:pt x="1898" y="1708"/>
                    <a:pt x="1906" y="1716"/>
                    <a:pt x="1906" y="1724"/>
                  </a:cubicBezTo>
                  <a:cubicBezTo>
                    <a:pt x="1914" y="1724"/>
                    <a:pt x="1914" y="1724"/>
                    <a:pt x="1914" y="1732"/>
                  </a:cubicBezTo>
                  <a:lnTo>
                    <a:pt x="1906" y="1739"/>
                  </a:lnTo>
                  <a:cubicBezTo>
                    <a:pt x="1890" y="1755"/>
                    <a:pt x="1882" y="1755"/>
                    <a:pt x="1890" y="1771"/>
                  </a:cubicBezTo>
                  <a:cubicBezTo>
                    <a:pt x="1906" y="1787"/>
                    <a:pt x="1906" y="1795"/>
                    <a:pt x="1906" y="1818"/>
                  </a:cubicBezTo>
                  <a:cubicBezTo>
                    <a:pt x="1906" y="1826"/>
                    <a:pt x="1898" y="1834"/>
                    <a:pt x="1898" y="1842"/>
                  </a:cubicBezTo>
                  <a:lnTo>
                    <a:pt x="1898" y="1842"/>
                  </a:lnTo>
                  <a:cubicBezTo>
                    <a:pt x="1898" y="1882"/>
                    <a:pt x="1898" y="1882"/>
                    <a:pt x="1914" y="1890"/>
                  </a:cubicBezTo>
                  <a:cubicBezTo>
                    <a:pt x="1914" y="1897"/>
                    <a:pt x="1914" y="1897"/>
                    <a:pt x="1914" y="1897"/>
                  </a:cubicBezTo>
                  <a:lnTo>
                    <a:pt x="1914" y="1897"/>
                  </a:lnTo>
                  <a:lnTo>
                    <a:pt x="1914" y="1905"/>
                  </a:lnTo>
                  <a:cubicBezTo>
                    <a:pt x="1906" y="1913"/>
                    <a:pt x="1890" y="1921"/>
                    <a:pt x="1858" y="1921"/>
                  </a:cubicBezTo>
                  <a:cubicBezTo>
                    <a:pt x="1834" y="1921"/>
                    <a:pt x="1795" y="1913"/>
                    <a:pt x="1763" y="1913"/>
                  </a:cubicBezTo>
                  <a:cubicBezTo>
                    <a:pt x="1739" y="1905"/>
                    <a:pt x="1716" y="1905"/>
                    <a:pt x="1708" y="1905"/>
                  </a:cubicBezTo>
                  <a:cubicBezTo>
                    <a:pt x="1700" y="1905"/>
                    <a:pt x="1692" y="1905"/>
                    <a:pt x="1692" y="1905"/>
                  </a:cubicBezTo>
                  <a:cubicBezTo>
                    <a:pt x="1684" y="1913"/>
                    <a:pt x="1684" y="1913"/>
                    <a:pt x="1684" y="1921"/>
                  </a:cubicBezTo>
                  <a:cubicBezTo>
                    <a:pt x="1684" y="1929"/>
                    <a:pt x="1684" y="1945"/>
                    <a:pt x="1700" y="1969"/>
                  </a:cubicBezTo>
                  <a:cubicBezTo>
                    <a:pt x="1716" y="1992"/>
                    <a:pt x="1716" y="2024"/>
                    <a:pt x="1708" y="2056"/>
                  </a:cubicBezTo>
                  <a:cubicBezTo>
                    <a:pt x="1708" y="2063"/>
                    <a:pt x="1708" y="2079"/>
                    <a:pt x="1708" y="2087"/>
                  </a:cubicBezTo>
                  <a:cubicBezTo>
                    <a:pt x="1708" y="2111"/>
                    <a:pt x="1700" y="2119"/>
                    <a:pt x="1684" y="2119"/>
                  </a:cubicBezTo>
                  <a:close/>
                  <a:moveTo>
                    <a:pt x="1605" y="2016"/>
                  </a:moveTo>
                  <a:lnTo>
                    <a:pt x="1605" y="2016"/>
                  </a:lnTo>
                  <a:lnTo>
                    <a:pt x="1605" y="2016"/>
                  </a:lnTo>
                  <a:cubicBezTo>
                    <a:pt x="1605" y="2016"/>
                    <a:pt x="1613" y="2024"/>
                    <a:pt x="1629" y="2048"/>
                  </a:cubicBezTo>
                  <a:cubicBezTo>
                    <a:pt x="1629" y="2056"/>
                    <a:pt x="1629" y="2063"/>
                    <a:pt x="1629" y="2071"/>
                  </a:cubicBezTo>
                  <a:cubicBezTo>
                    <a:pt x="1629" y="2095"/>
                    <a:pt x="1629" y="2111"/>
                    <a:pt x="1653" y="2111"/>
                  </a:cubicBezTo>
                  <a:cubicBezTo>
                    <a:pt x="1653" y="2111"/>
                    <a:pt x="1661" y="2111"/>
                    <a:pt x="1668" y="2111"/>
                  </a:cubicBezTo>
                  <a:cubicBezTo>
                    <a:pt x="1668" y="2111"/>
                    <a:pt x="1676" y="2111"/>
                    <a:pt x="1684" y="2111"/>
                  </a:cubicBezTo>
                  <a:cubicBezTo>
                    <a:pt x="1692" y="2111"/>
                    <a:pt x="1700" y="2111"/>
                    <a:pt x="1700" y="2087"/>
                  </a:cubicBezTo>
                  <a:cubicBezTo>
                    <a:pt x="1700" y="2079"/>
                    <a:pt x="1700" y="2063"/>
                    <a:pt x="1700" y="2048"/>
                  </a:cubicBezTo>
                  <a:cubicBezTo>
                    <a:pt x="1708" y="2024"/>
                    <a:pt x="1708" y="1992"/>
                    <a:pt x="1692" y="1969"/>
                  </a:cubicBezTo>
                  <a:cubicBezTo>
                    <a:pt x="1676" y="1945"/>
                    <a:pt x="1676" y="1929"/>
                    <a:pt x="1676" y="1921"/>
                  </a:cubicBezTo>
                  <a:cubicBezTo>
                    <a:pt x="1676" y="1913"/>
                    <a:pt x="1684" y="1905"/>
                    <a:pt x="1692" y="1897"/>
                  </a:cubicBezTo>
                  <a:cubicBezTo>
                    <a:pt x="1692" y="1897"/>
                    <a:pt x="1700" y="1897"/>
                    <a:pt x="1708" y="1897"/>
                  </a:cubicBezTo>
                  <a:cubicBezTo>
                    <a:pt x="1716" y="1897"/>
                    <a:pt x="1739" y="1897"/>
                    <a:pt x="1763" y="1905"/>
                  </a:cubicBezTo>
                  <a:cubicBezTo>
                    <a:pt x="1795" y="1913"/>
                    <a:pt x="1834" y="1913"/>
                    <a:pt x="1858" y="1913"/>
                  </a:cubicBezTo>
                  <a:cubicBezTo>
                    <a:pt x="1882" y="1913"/>
                    <a:pt x="1898" y="1913"/>
                    <a:pt x="1906" y="1905"/>
                  </a:cubicBezTo>
                  <a:cubicBezTo>
                    <a:pt x="1906" y="1897"/>
                    <a:pt x="1906" y="1897"/>
                    <a:pt x="1906" y="1897"/>
                  </a:cubicBezTo>
                  <a:cubicBezTo>
                    <a:pt x="1890" y="1882"/>
                    <a:pt x="1890" y="1874"/>
                    <a:pt x="1890" y="1842"/>
                  </a:cubicBezTo>
                  <a:lnTo>
                    <a:pt x="1890" y="1842"/>
                  </a:lnTo>
                  <a:cubicBezTo>
                    <a:pt x="1890" y="1826"/>
                    <a:pt x="1898" y="1826"/>
                    <a:pt x="1898" y="1818"/>
                  </a:cubicBezTo>
                  <a:cubicBezTo>
                    <a:pt x="1898" y="1795"/>
                    <a:pt x="1898" y="1795"/>
                    <a:pt x="1890" y="1771"/>
                  </a:cubicBezTo>
                  <a:cubicBezTo>
                    <a:pt x="1874" y="1755"/>
                    <a:pt x="1890" y="1747"/>
                    <a:pt x="1898" y="1739"/>
                  </a:cubicBezTo>
                  <a:cubicBezTo>
                    <a:pt x="1898" y="1732"/>
                    <a:pt x="1906" y="1732"/>
                    <a:pt x="1906" y="1732"/>
                  </a:cubicBezTo>
                  <a:cubicBezTo>
                    <a:pt x="1906" y="1724"/>
                    <a:pt x="1906" y="1724"/>
                    <a:pt x="1906" y="1724"/>
                  </a:cubicBezTo>
                  <a:cubicBezTo>
                    <a:pt x="1898" y="1716"/>
                    <a:pt x="1890" y="1708"/>
                    <a:pt x="1898" y="1700"/>
                  </a:cubicBezTo>
                  <a:cubicBezTo>
                    <a:pt x="1898" y="1692"/>
                    <a:pt x="1906" y="1684"/>
                    <a:pt x="1921" y="1684"/>
                  </a:cubicBezTo>
                  <a:cubicBezTo>
                    <a:pt x="1945" y="1676"/>
                    <a:pt x="1961" y="1660"/>
                    <a:pt x="1961" y="1645"/>
                  </a:cubicBezTo>
                  <a:lnTo>
                    <a:pt x="1961" y="1637"/>
                  </a:lnTo>
                  <a:cubicBezTo>
                    <a:pt x="1953" y="1629"/>
                    <a:pt x="1945" y="1629"/>
                    <a:pt x="1937" y="1637"/>
                  </a:cubicBezTo>
                  <a:cubicBezTo>
                    <a:pt x="1937" y="1637"/>
                    <a:pt x="1937" y="1637"/>
                    <a:pt x="1929" y="1637"/>
                  </a:cubicBezTo>
                  <a:cubicBezTo>
                    <a:pt x="1929" y="1637"/>
                    <a:pt x="1929" y="1637"/>
                    <a:pt x="1929" y="1629"/>
                  </a:cubicBezTo>
                  <a:cubicBezTo>
                    <a:pt x="1929" y="1629"/>
                    <a:pt x="1929" y="1621"/>
                    <a:pt x="1929" y="1613"/>
                  </a:cubicBezTo>
                  <a:cubicBezTo>
                    <a:pt x="1929" y="1597"/>
                    <a:pt x="1929" y="1597"/>
                    <a:pt x="1929" y="1589"/>
                  </a:cubicBezTo>
                  <a:cubicBezTo>
                    <a:pt x="1929" y="1581"/>
                    <a:pt x="1929" y="1581"/>
                    <a:pt x="1937" y="1573"/>
                  </a:cubicBezTo>
                  <a:cubicBezTo>
                    <a:pt x="1953" y="1566"/>
                    <a:pt x="1969" y="1557"/>
                    <a:pt x="1977" y="1550"/>
                  </a:cubicBezTo>
                  <a:cubicBezTo>
                    <a:pt x="1977" y="1542"/>
                    <a:pt x="1977" y="1542"/>
                    <a:pt x="1969" y="1534"/>
                  </a:cubicBezTo>
                  <a:cubicBezTo>
                    <a:pt x="1961" y="1526"/>
                    <a:pt x="1953" y="1526"/>
                    <a:pt x="1945" y="1518"/>
                  </a:cubicBezTo>
                  <a:cubicBezTo>
                    <a:pt x="1937" y="1518"/>
                    <a:pt x="1937" y="1518"/>
                    <a:pt x="1937" y="1518"/>
                  </a:cubicBezTo>
                  <a:cubicBezTo>
                    <a:pt x="1929" y="1518"/>
                    <a:pt x="1921" y="1510"/>
                    <a:pt x="1921" y="1502"/>
                  </a:cubicBezTo>
                  <a:cubicBezTo>
                    <a:pt x="1921" y="1502"/>
                    <a:pt x="1921" y="1494"/>
                    <a:pt x="1937" y="1486"/>
                  </a:cubicBezTo>
                  <a:cubicBezTo>
                    <a:pt x="1937" y="1479"/>
                    <a:pt x="1945" y="1479"/>
                    <a:pt x="1953" y="1479"/>
                  </a:cubicBezTo>
                  <a:cubicBezTo>
                    <a:pt x="1961" y="1479"/>
                    <a:pt x="1969" y="1479"/>
                    <a:pt x="1977" y="1463"/>
                  </a:cubicBezTo>
                  <a:cubicBezTo>
                    <a:pt x="1977" y="1455"/>
                    <a:pt x="1977" y="1447"/>
                    <a:pt x="1977" y="1439"/>
                  </a:cubicBezTo>
                  <a:cubicBezTo>
                    <a:pt x="1977" y="1439"/>
                    <a:pt x="1969" y="1439"/>
                    <a:pt x="1961" y="1439"/>
                  </a:cubicBezTo>
                  <a:cubicBezTo>
                    <a:pt x="1961" y="1439"/>
                    <a:pt x="1961" y="1439"/>
                    <a:pt x="1953" y="1439"/>
                  </a:cubicBezTo>
                  <a:lnTo>
                    <a:pt x="1945" y="1439"/>
                  </a:lnTo>
                  <a:cubicBezTo>
                    <a:pt x="1945" y="1439"/>
                    <a:pt x="1937" y="1439"/>
                    <a:pt x="1937" y="1431"/>
                  </a:cubicBezTo>
                  <a:cubicBezTo>
                    <a:pt x="1937" y="1431"/>
                    <a:pt x="1937" y="1423"/>
                    <a:pt x="1945" y="1423"/>
                  </a:cubicBezTo>
                  <a:cubicBezTo>
                    <a:pt x="1953" y="1415"/>
                    <a:pt x="1961" y="1415"/>
                    <a:pt x="1969" y="1407"/>
                  </a:cubicBezTo>
                  <a:cubicBezTo>
                    <a:pt x="1977" y="1407"/>
                    <a:pt x="1985" y="1407"/>
                    <a:pt x="1992" y="1399"/>
                  </a:cubicBezTo>
                  <a:lnTo>
                    <a:pt x="1992" y="1392"/>
                  </a:lnTo>
                  <a:cubicBezTo>
                    <a:pt x="2001" y="1384"/>
                    <a:pt x="2008" y="1376"/>
                    <a:pt x="2008" y="1376"/>
                  </a:cubicBezTo>
                  <a:cubicBezTo>
                    <a:pt x="2008" y="1368"/>
                    <a:pt x="2001" y="1368"/>
                    <a:pt x="1992" y="1368"/>
                  </a:cubicBezTo>
                  <a:cubicBezTo>
                    <a:pt x="1985" y="1360"/>
                    <a:pt x="1977" y="1360"/>
                    <a:pt x="1969" y="1360"/>
                  </a:cubicBezTo>
                  <a:cubicBezTo>
                    <a:pt x="1961" y="1352"/>
                    <a:pt x="1953" y="1352"/>
                    <a:pt x="1953" y="1352"/>
                  </a:cubicBezTo>
                  <a:cubicBezTo>
                    <a:pt x="1953" y="1344"/>
                    <a:pt x="1961" y="1344"/>
                    <a:pt x="1961" y="1344"/>
                  </a:cubicBezTo>
                  <a:cubicBezTo>
                    <a:pt x="1969" y="1336"/>
                    <a:pt x="1992" y="1328"/>
                    <a:pt x="2008" y="1328"/>
                  </a:cubicBezTo>
                  <a:cubicBezTo>
                    <a:pt x="2008" y="1328"/>
                    <a:pt x="2008" y="1328"/>
                    <a:pt x="2016" y="1328"/>
                  </a:cubicBezTo>
                  <a:cubicBezTo>
                    <a:pt x="2024" y="1328"/>
                    <a:pt x="2024" y="1328"/>
                    <a:pt x="2032" y="1328"/>
                  </a:cubicBezTo>
                  <a:lnTo>
                    <a:pt x="2032" y="1328"/>
                  </a:lnTo>
                  <a:lnTo>
                    <a:pt x="2032" y="1328"/>
                  </a:lnTo>
                  <a:cubicBezTo>
                    <a:pt x="2024" y="1313"/>
                    <a:pt x="2016" y="1305"/>
                    <a:pt x="2016" y="1297"/>
                  </a:cubicBezTo>
                  <a:cubicBezTo>
                    <a:pt x="2024" y="1297"/>
                    <a:pt x="2024" y="1289"/>
                    <a:pt x="2032" y="1289"/>
                  </a:cubicBezTo>
                  <a:cubicBezTo>
                    <a:pt x="2040" y="1289"/>
                    <a:pt x="2040" y="1289"/>
                    <a:pt x="2040" y="1289"/>
                  </a:cubicBezTo>
                  <a:cubicBezTo>
                    <a:pt x="2048" y="1289"/>
                    <a:pt x="2056" y="1289"/>
                    <a:pt x="2056" y="1289"/>
                  </a:cubicBezTo>
                  <a:lnTo>
                    <a:pt x="2056" y="1289"/>
                  </a:lnTo>
                  <a:cubicBezTo>
                    <a:pt x="2056" y="1281"/>
                    <a:pt x="2064" y="1281"/>
                    <a:pt x="2072" y="1281"/>
                  </a:cubicBezTo>
                  <a:cubicBezTo>
                    <a:pt x="2079" y="1273"/>
                    <a:pt x="2087" y="1273"/>
                    <a:pt x="2087" y="1265"/>
                  </a:cubicBezTo>
                  <a:lnTo>
                    <a:pt x="2087" y="1265"/>
                  </a:lnTo>
                  <a:cubicBezTo>
                    <a:pt x="2079" y="1257"/>
                    <a:pt x="2072" y="1257"/>
                    <a:pt x="2072" y="1257"/>
                  </a:cubicBezTo>
                  <a:cubicBezTo>
                    <a:pt x="2064" y="1249"/>
                    <a:pt x="2064" y="1249"/>
                    <a:pt x="2056" y="1249"/>
                  </a:cubicBezTo>
                  <a:lnTo>
                    <a:pt x="2056" y="1249"/>
                  </a:lnTo>
                  <a:cubicBezTo>
                    <a:pt x="2024" y="1249"/>
                    <a:pt x="1953" y="1249"/>
                    <a:pt x="1929" y="1233"/>
                  </a:cubicBezTo>
                  <a:cubicBezTo>
                    <a:pt x="1906" y="1218"/>
                    <a:pt x="1906" y="1194"/>
                    <a:pt x="1914" y="1170"/>
                  </a:cubicBezTo>
                  <a:cubicBezTo>
                    <a:pt x="1921" y="1155"/>
                    <a:pt x="1921" y="1146"/>
                    <a:pt x="1914" y="1139"/>
                  </a:cubicBezTo>
                  <a:cubicBezTo>
                    <a:pt x="1906" y="1131"/>
                    <a:pt x="1890" y="1107"/>
                    <a:pt x="1874" y="1091"/>
                  </a:cubicBezTo>
                  <a:cubicBezTo>
                    <a:pt x="1866" y="1075"/>
                    <a:pt x="1866" y="1067"/>
                    <a:pt x="1858" y="1060"/>
                  </a:cubicBezTo>
                  <a:cubicBezTo>
                    <a:pt x="1842" y="1044"/>
                    <a:pt x="1834" y="1036"/>
                    <a:pt x="1819" y="1028"/>
                  </a:cubicBezTo>
                  <a:cubicBezTo>
                    <a:pt x="1811" y="1028"/>
                    <a:pt x="1803" y="1020"/>
                    <a:pt x="1795" y="1020"/>
                  </a:cubicBezTo>
                  <a:cubicBezTo>
                    <a:pt x="1771" y="1004"/>
                    <a:pt x="1779" y="980"/>
                    <a:pt x="1779" y="957"/>
                  </a:cubicBezTo>
                  <a:cubicBezTo>
                    <a:pt x="1779" y="949"/>
                    <a:pt x="1779" y="941"/>
                    <a:pt x="1779" y="933"/>
                  </a:cubicBezTo>
                  <a:cubicBezTo>
                    <a:pt x="1771" y="917"/>
                    <a:pt x="1724" y="854"/>
                    <a:pt x="1700" y="830"/>
                  </a:cubicBezTo>
                  <a:cubicBezTo>
                    <a:pt x="1692" y="830"/>
                    <a:pt x="1692" y="830"/>
                    <a:pt x="1684" y="822"/>
                  </a:cubicBezTo>
                  <a:cubicBezTo>
                    <a:pt x="1661" y="807"/>
                    <a:pt x="1637" y="791"/>
                    <a:pt x="1597" y="759"/>
                  </a:cubicBezTo>
                  <a:cubicBezTo>
                    <a:pt x="1558" y="728"/>
                    <a:pt x="1550" y="704"/>
                    <a:pt x="1542" y="688"/>
                  </a:cubicBezTo>
                  <a:cubicBezTo>
                    <a:pt x="1534" y="680"/>
                    <a:pt x="1534" y="672"/>
                    <a:pt x="1526" y="656"/>
                  </a:cubicBezTo>
                  <a:cubicBezTo>
                    <a:pt x="1502" y="633"/>
                    <a:pt x="1479" y="625"/>
                    <a:pt x="1447" y="617"/>
                  </a:cubicBezTo>
                  <a:cubicBezTo>
                    <a:pt x="1415" y="601"/>
                    <a:pt x="1392" y="593"/>
                    <a:pt x="1360" y="546"/>
                  </a:cubicBezTo>
                  <a:cubicBezTo>
                    <a:pt x="1328" y="506"/>
                    <a:pt x="1313" y="498"/>
                    <a:pt x="1265" y="482"/>
                  </a:cubicBezTo>
                  <a:cubicBezTo>
                    <a:pt x="1210" y="459"/>
                    <a:pt x="1162" y="388"/>
                    <a:pt x="1123" y="324"/>
                  </a:cubicBezTo>
                  <a:cubicBezTo>
                    <a:pt x="1115" y="316"/>
                    <a:pt x="1115" y="301"/>
                    <a:pt x="1107" y="293"/>
                  </a:cubicBezTo>
                  <a:cubicBezTo>
                    <a:pt x="1091" y="261"/>
                    <a:pt x="1084" y="245"/>
                    <a:pt x="1068" y="245"/>
                  </a:cubicBezTo>
                  <a:cubicBezTo>
                    <a:pt x="1060" y="245"/>
                    <a:pt x="1052" y="245"/>
                    <a:pt x="1044" y="253"/>
                  </a:cubicBezTo>
                  <a:cubicBezTo>
                    <a:pt x="1036" y="253"/>
                    <a:pt x="1028" y="253"/>
                    <a:pt x="1020" y="253"/>
                  </a:cubicBezTo>
                  <a:cubicBezTo>
                    <a:pt x="1012" y="253"/>
                    <a:pt x="1004" y="253"/>
                    <a:pt x="1004" y="245"/>
                  </a:cubicBezTo>
                  <a:cubicBezTo>
                    <a:pt x="989" y="229"/>
                    <a:pt x="949" y="198"/>
                    <a:pt x="925" y="182"/>
                  </a:cubicBezTo>
                  <a:cubicBezTo>
                    <a:pt x="917" y="182"/>
                    <a:pt x="917" y="182"/>
                    <a:pt x="909" y="174"/>
                  </a:cubicBezTo>
                  <a:cubicBezTo>
                    <a:pt x="894" y="166"/>
                    <a:pt x="902" y="135"/>
                    <a:pt x="902" y="103"/>
                  </a:cubicBezTo>
                  <a:cubicBezTo>
                    <a:pt x="902" y="95"/>
                    <a:pt x="902" y="95"/>
                    <a:pt x="902" y="95"/>
                  </a:cubicBezTo>
                  <a:cubicBezTo>
                    <a:pt x="902" y="63"/>
                    <a:pt x="941" y="48"/>
                    <a:pt x="957" y="32"/>
                  </a:cubicBezTo>
                  <a:cubicBezTo>
                    <a:pt x="965" y="24"/>
                    <a:pt x="965" y="24"/>
                    <a:pt x="965" y="24"/>
                  </a:cubicBezTo>
                  <a:cubicBezTo>
                    <a:pt x="973" y="24"/>
                    <a:pt x="973" y="24"/>
                    <a:pt x="973" y="8"/>
                  </a:cubicBezTo>
                  <a:cubicBezTo>
                    <a:pt x="965" y="16"/>
                    <a:pt x="949" y="16"/>
                    <a:pt x="941" y="16"/>
                  </a:cubicBezTo>
                  <a:cubicBezTo>
                    <a:pt x="917" y="16"/>
                    <a:pt x="799" y="32"/>
                    <a:pt x="617" y="48"/>
                  </a:cubicBezTo>
                  <a:cubicBezTo>
                    <a:pt x="451" y="71"/>
                    <a:pt x="245" y="95"/>
                    <a:pt x="8" y="119"/>
                  </a:cubicBezTo>
                  <a:cubicBezTo>
                    <a:pt x="372" y="1241"/>
                    <a:pt x="372" y="1241"/>
                    <a:pt x="372" y="1241"/>
                  </a:cubicBezTo>
                  <a:cubicBezTo>
                    <a:pt x="372" y="1241"/>
                    <a:pt x="396" y="1249"/>
                    <a:pt x="411" y="1265"/>
                  </a:cubicBezTo>
                  <a:cubicBezTo>
                    <a:pt x="419" y="1273"/>
                    <a:pt x="419" y="1281"/>
                    <a:pt x="419" y="1289"/>
                  </a:cubicBezTo>
                  <a:cubicBezTo>
                    <a:pt x="419" y="1297"/>
                    <a:pt x="411" y="1313"/>
                    <a:pt x="419" y="1320"/>
                  </a:cubicBezTo>
                  <a:cubicBezTo>
                    <a:pt x="419" y="1336"/>
                    <a:pt x="427" y="1344"/>
                    <a:pt x="435" y="1344"/>
                  </a:cubicBezTo>
                  <a:cubicBezTo>
                    <a:pt x="435" y="1352"/>
                    <a:pt x="443" y="1352"/>
                    <a:pt x="443" y="1368"/>
                  </a:cubicBezTo>
                  <a:cubicBezTo>
                    <a:pt x="443" y="1392"/>
                    <a:pt x="435" y="1407"/>
                    <a:pt x="419" y="1415"/>
                  </a:cubicBezTo>
                  <a:cubicBezTo>
                    <a:pt x="411" y="1423"/>
                    <a:pt x="411" y="1423"/>
                    <a:pt x="411" y="1423"/>
                  </a:cubicBezTo>
                  <a:cubicBezTo>
                    <a:pt x="404" y="1431"/>
                    <a:pt x="388" y="1431"/>
                    <a:pt x="388" y="1439"/>
                  </a:cubicBezTo>
                  <a:cubicBezTo>
                    <a:pt x="388" y="1447"/>
                    <a:pt x="388" y="1447"/>
                    <a:pt x="396" y="1455"/>
                  </a:cubicBezTo>
                  <a:cubicBezTo>
                    <a:pt x="404" y="1471"/>
                    <a:pt x="411" y="1518"/>
                    <a:pt x="396" y="1534"/>
                  </a:cubicBezTo>
                  <a:cubicBezTo>
                    <a:pt x="380" y="1542"/>
                    <a:pt x="364" y="1605"/>
                    <a:pt x="380" y="1621"/>
                  </a:cubicBezTo>
                  <a:lnTo>
                    <a:pt x="388" y="1629"/>
                  </a:lnTo>
                  <a:cubicBezTo>
                    <a:pt x="404" y="1645"/>
                    <a:pt x="427" y="1676"/>
                    <a:pt x="427" y="1700"/>
                  </a:cubicBezTo>
                  <a:cubicBezTo>
                    <a:pt x="427" y="1716"/>
                    <a:pt x="427" y="1739"/>
                    <a:pt x="427" y="1771"/>
                  </a:cubicBezTo>
                  <a:cubicBezTo>
                    <a:pt x="419" y="1803"/>
                    <a:pt x="411" y="1834"/>
                    <a:pt x="419" y="1850"/>
                  </a:cubicBezTo>
                  <a:cubicBezTo>
                    <a:pt x="419" y="1858"/>
                    <a:pt x="427" y="1874"/>
                    <a:pt x="435" y="1890"/>
                  </a:cubicBezTo>
                  <a:cubicBezTo>
                    <a:pt x="451" y="1921"/>
                    <a:pt x="467" y="1961"/>
                    <a:pt x="467" y="1977"/>
                  </a:cubicBezTo>
                  <a:cubicBezTo>
                    <a:pt x="506" y="2032"/>
                    <a:pt x="546" y="2095"/>
                    <a:pt x="554" y="2103"/>
                  </a:cubicBezTo>
                  <a:cubicBezTo>
                    <a:pt x="569" y="2103"/>
                    <a:pt x="1589" y="2016"/>
                    <a:pt x="1605" y="2016"/>
                  </a:cubicBezTo>
                  <a:close/>
                </a:path>
              </a:pathLst>
            </a:custGeom>
            <a:grpFill/>
            <a:ln>
              <a:solidFill>
                <a:schemeClr val="bg1">
                  <a:lumMod val="95000"/>
                </a:schemeClr>
              </a:solidFill>
            </a:ln>
            <a:effectLst/>
          </p:spPr>
          <p:txBody>
            <a:bodyPr wrap="none" anchor="ctr"/>
            <a:lstStyle/>
            <a:p>
              <a:endParaRPr lang="en-US" sz="900"/>
            </a:p>
          </p:txBody>
        </p:sp>
        <p:sp>
          <p:nvSpPr>
            <p:cNvPr id="58" name="Freeform 412"/>
            <p:cNvSpPr>
              <a:spLocks noChangeArrowheads="1"/>
            </p:cNvSpPr>
            <p:nvPr/>
          </p:nvSpPr>
          <p:spPr bwMode="auto">
            <a:xfrm>
              <a:off x="13964782" y="7033454"/>
              <a:ext cx="758412" cy="1240828"/>
            </a:xfrm>
            <a:custGeom>
              <a:avLst/>
              <a:gdLst>
                <a:gd name="T0" fmla="*/ 1399 w 1440"/>
                <a:gd name="T1" fmla="*/ 1581 h 2357"/>
                <a:gd name="T2" fmla="*/ 1399 w 1440"/>
                <a:gd name="T3" fmla="*/ 1581 h 2357"/>
                <a:gd name="T4" fmla="*/ 1344 w 1440"/>
                <a:gd name="T5" fmla="*/ 1502 h 2357"/>
                <a:gd name="T6" fmla="*/ 1360 w 1440"/>
                <a:gd name="T7" fmla="*/ 1407 h 2357"/>
                <a:gd name="T8" fmla="*/ 1360 w 1440"/>
                <a:gd name="T9" fmla="*/ 1336 h 2357"/>
                <a:gd name="T10" fmla="*/ 1383 w 1440"/>
                <a:gd name="T11" fmla="*/ 1296 h 2357"/>
                <a:gd name="T12" fmla="*/ 1415 w 1440"/>
                <a:gd name="T13" fmla="*/ 1249 h 2357"/>
                <a:gd name="T14" fmla="*/ 1383 w 1440"/>
                <a:gd name="T15" fmla="*/ 1209 h 2357"/>
                <a:gd name="T16" fmla="*/ 1376 w 1440"/>
                <a:gd name="T17" fmla="*/ 1146 h 2357"/>
                <a:gd name="T18" fmla="*/ 1336 w 1440"/>
                <a:gd name="T19" fmla="*/ 1130 h 2357"/>
                <a:gd name="T20" fmla="*/ 980 w 1440"/>
                <a:gd name="T21" fmla="*/ 0 h 2357"/>
                <a:gd name="T22" fmla="*/ 0 w 1440"/>
                <a:gd name="T23" fmla="*/ 95 h 2357"/>
                <a:gd name="T24" fmla="*/ 24 w 1440"/>
                <a:gd name="T25" fmla="*/ 134 h 2357"/>
                <a:gd name="T26" fmla="*/ 40 w 1440"/>
                <a:gd name="T27" fmla="*/ 182 h 2357"/>
                <a:gd name="T28" fmla="*/ 24 w 1440"/>
                <a:gd name="T29" fmla="*/ 1636 h 2357"/>
                <a:gd name="T30" fmla="*/ 111 w 1440"/>
                <a:gd name="T31" fmla="*/ 2300 h 2357"/>
                <a:gd name="T32" fmla="*/ 190 w 1440"/>
                <a:gd name="T33" fmla="*/ 2292 h 2357"/>
                <a:gd name="T34" fmla="*/ 229 w 1440"/>
                <a:gd name="T35" fmla="*/ 2261 h 2357"/>
                <a:gd name="T36" fmla="*/ 245 w 1440"/>
                <a:gd name="T37" fmla="*/ 2134 h 2357"/>
                <a:gd name="T38" fmla="*/ 308 w 1440"/>
                <a:gd name="T39" fmla="*/ 2166 h 2357"/>
                <a:gd name="T40" fmla="*/ 285 w 1440"/>
                <a:gd name="T41" fmla="*/ 2229 h 2357"/>
                <a:gd name="T42" fmla="*/ 356 w 1440"/>
                <a:gd name="T43" fmla="*/ 2284 h 2357"/>
                <a:gd name="T44" fmla="*/ 332 w 1440"/>
                <a:gd name="T45" fmla="*/ 2324 h 2357"/>
                <a:gd name="T46" fmla="*/ 277 w 1440"/>
                <a:gd name="T47" fmla="*/ 2348 h 2357"/>
                <a:gd name="T48" fmla="*/ 371 w 1440"/>
                <a:gd name="T49" fmla="*/ 2340 h 2357"/>
                <a:gd name="T50" fmla="*/ 443 w 1440"/>
                <a:gd name="T51" fmla="*/ 2316 h 2357"/>
                <a:gd name="T52" fmla="*/ 474 w 1440"/>
                <a:gd name="T53" fmla="*/ 2277 h 2357"/>
                <a:gd name="T54" fmla="*/ 490 w 1440"/>
                <a:gd name="T55" fmla="*/ 2292 h 2357"/>
                <a:gd name="T56" fmla="*/ 514 w 1440"/>
                <a:gd name="T57" fmla="*/ 2229 h 2357"/>
                <a:gd name="T58" fmla="*/ 490 w 1440"/>
                <a:gd name="T59" fmla="*/ 2158 h 2357"/>
                <a:gd name="T60" fmla="*/ 482 w 1440"/>
                <a:gd name="T61" fmla="*/ 2095 h 2357"/>
                <a:gd name="T62" fmla="*/ 411 w 1440"/>
                <a:gd name="T63" fmla="*/ 2008 h 2357"/>
                <a:gd name="T64" fmla="*/ 1439 w 1440"/>
                <a:gd name="T65" fmla="*/ 1858 h 2357"/>
                <a:gd name="T66" fmla="*/ 1383 w 1440"/>
                <a:gd name="T67" fmla="*/ 1731 h 2357"/>
                <a:gd name="T68" fmla="*/ 1399 w 1440"/>
                <a:gd name="T69" fmla="*/ 1581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0" h="2357">
                  <a:moveTo>
                    <a:pt x="1399" y="1581"/>
                  </a:moveTo>
                  <a:lnTo>
                    <a:pt x="1399" y="1581"/>
                  </a:lnTo>
                  <a:cubicBezTo>
                    <a:pt x="1399" y="1549"/>
                    <a:pt x="1360" y="1518"/>
                    <a:pt x="1344" y="1502"/>
                  </a:cubicBezTo>
                  <a:cubicBezTo>
                    <a:pt x="1336" y="1486"/>
                    <a:pt x="1344" y="1423"/>
                    <a:pt x="1360" y="1407"/>
                  </a:cubicBezTo>
                  <a:cubicBezTo>
                    <a:pt x="1376" y="1391"/>
                    <a:pt x="1376" y="1352"/>
                    <a:pt x="1360" y="1336"/>
                  </a:cubicBezTo>
                  <a:cubicBezTo>
                    <a:pt x="1352" y="1320"/>
                    <a:pt x="1368" y="1304"/>
                    <a:pt x="1383" y="1296"/>
                  </a:cubicBezTo>
                  <a:cubicBezTo>
                    <a:pt x="1407" y="1288"/>
                    <a:pt x="1415" y="1273"/>
                    <a:pt x="1415" y="1249"/>
                  </a:cubicBezTo>
                  <a:cubicBezTo>
                    <a:pt x="1415" y="1225"/>
                    <a:pt x="1399" y="1233"/>
                    <a:pt x="1383" y="1209"/>
                  </a:cubicBezTo>
                  <a:cubicBezTo>
                    <a:pt x="1376" y="1178"/>
                    <a:pt x="1391" y="1154"/>
                    <a:pt x="1376" y="1146"/>
                  </a:cubicBezTo>
                  <a:cubicBezTo>
                    <a:pt x="1368" y="1138"/>
                    <a:pt x="1336" y="1130"/>
                    <a:pt x="1336" y="1130"/>
                  </a:cubicBezTo>
                  <a:cubicBezTo>
                    <a:pt x="980" y="0"/>
                    <a:pt x="980" y="0"/>
                    <a:pt x="980" y="0"/>
                  </a:cubicBezTo>
                  <a:cubicBezTo>
                    <a:pt x="672" y="31"/>
                    <a:pt x="324" y="71"/>
                    <a:pt x="0" y="95"/>
                  </a:cubicBezTo>
                  <a:cubicBezTo>
                    <a:pt x="8" y="110"/>
                    <a:pt x="16" y="126"/>
                    <a:pt x="24" y="134"/>
                  </a:cubicBezTo>
                  <a:cubicBezTo>
                    <a:pt x="55" y="158"/>
                    <a:pt x="40" y="166"/>
                    <a:pt x="40" y="182"/>
                  </a:cubicBezTo>
                  <a:cubicBezTo>
                    <a:pt x="40" y="197"/>
                    <a:pt x="24" y="1636"/>
                    <a:pt x="24" y="1636"/>
                  </a:cubicBezTo>
                  <a:cubicBezTo>
                    <a:pt x="111" y="2300"/>
                    <a:pt x="111" y="2300"/>
                    <a:pt x="111" y="2300"/>
                  </a:cubicBezTo>
                  <a:cubicBezTo>
                    <a:pt x="134" y="2292"/>
                    <a:pt x="158" y="2284"/>
                    <a:pt x="190" y="2292"/>
                  </a:cubicBezTo>
                  <a:cubicBezTo>
                    <a:pt x="237" y="2300"/>
                    <a:pt x="229" y="2300"/>
                    <a:pt x="229" y="2261"/>
                  </a:cubicBezTo>
                  <a:cubicBezTo>
                    <a:pt x="229" y="2229"/>
                    <a:pt x="221" y="2142"/>
                    <a:pt x="245" y="2134"/>
                  </a:cubicBezTo>
                  <a:cubicBezTo>
                    <a:pt x="269" y="2118"/>
                    <a:pt x="316" y="2134"/>
                    <a:pt x="308" y="2166"/>
                  </a:cubicBezTo>
                  <a:cubicBezTo>
                    <a:pt x="300" y="2197"/>
                    <a:pt x="269" y="2205"/>
                    <a:pt x="285" y="2229"/>
                  </a:cubicBezTo>
                  <a:cubicBezTo>
                    <a:pt x="308" y="2253"/>
                    <a:pt x="356" y="2253"/>
                    <a:pt x="356" y="2284"/>
                  </a:cubicBezTo>
                  <a:cubicBezTo>
                    <a:pt x="356" y="2308"/>
                    <a:pt x="380" y="2316"/>
                    <a:pt x="332" y="2324"/>
                  </a:cubicBezTo>
                  <a:cubicBezTo>
                    <a:pt x="293" y="2332"/>
                    <a:pt x="253" y="2340"/>
                    <a:pt x="277" y="2348"/>
                  </a:cubicBezTo>
                  <a:cubicBezTo>
                    <a:pt x="308" y="2356"/>
                    <a:pt x="324" y="2348"/>
                    <a:pt x="371" y="2340"/>
                  </a:cubicBezTo>
                  <a:cubicBezTo>
                    <a:pt x="411" y="2332"/>
                    <a:pt x="427" y="2348"/>
                    <a:pt x="443" y="2316"/>
                  </a:cubicBezTo>
                  <a:cubicBezTo>
                    <a:pt x="458" y="2277"/>
                    <a:pt x="458" y="2261"/>
                    <a:pt x="474" y="2277"/>
                  </a:cubicBezTo>
                  <a:cubicBezTo>
                    <a:pt x="482" y="2284"/>
                    <a:pt x="490" y="2284"/>
                    <a:pt x="490" y="2292"/>
                  </a:cubicBezTo>
                  <a:cubicBezTo>
                    <a:pt x="506" y="2269"/>
                    <a:pt x="522" y="2237"/>
                    <a:pt x="514" y="2229"/>
                  </a:cubicBezTo>
                  <a:cubicBezTo>
                    <a:pt x="514" y="2213"/>
                    <a:pt x="482" y="2182"/>
                    <a:pt x="490" y="2158"/>
                  </a:cubicBezTo>
                  <a:cubicBezTo>
                    <a:pt x="498" y="2134"/>
                    <a:pt x="514" y="2118"/>
                    <a:pt x="482" y="2095"/>
                  </a:cubicBezTo>
                  <a:cubicBezTo>
                    <a:pt x="451" y="2071"/>
                    <a:pt x="387" y="2031"/>
                    <a:pt x="411" y="2008"/>
                  </a:cubicBezTo>
                  <a:cubicBezTo>
                    <a:pt x="427" y="1976"/>
                    <a:pt x="1439" y="1858"/>
                    <a:pt x="1439" y="1858"/>
                  </a:cubicBezTo>
                  <a:cubicBezTo>
                    <a:pt x="1439" y="1834"/>
                    <a:pt x="1391" y="1747"/>
                    <a:pt x="1383" y="1731"/>
                  </a:cubicBezTo>
                  <a:cubicBezTo>
                    <a:pt x="1383" y="1707"/>
                    <a:pt x="1399" y="1620"/>
                    <a:pt x="1399" y="1581"/>
                  </a:cubicBezTo>
                </a:path>
              </a:pathLst>
            </a:custGeom>
            <a:grpFill/>
            <a:ln>
              <a:solidFill>
                <a:schemeClr val="bg1">
                  <a:lumMod val="95000"/>
                </a:schemeClr>
              </a:solidFill>
            </a:ln>
            <a:effectLst/>
          </p:spPr>
          <p:txBody>
            <a:bodyPr wrap="none" anchor="ctr"/>
            <a:lstStyle/>
            <a:p>
              <a:endParaRPr lang="en-US" sz="900"/>
            </a:p>
          </p:txBody>
        </p:sp>
        <p:sp>
          <p:nvSpPr>
            <p:cNvPr id="59" name="Freeform 413"/>
            <p:cNvSpPr>
              <a:spLocks noChangeArrowheads="1"/>
            </p:cNvSpPr>
            <p:nvPr/>
          </p:nvSpPr>
          <p:spPr bwMode="auto">
            <a:xfrm>
              <a:off x="13960144" y="7028816"/>
              <a:ext cx="760732" cy="1243148"/>
            </a:xfrm>
            <a:custGeom>
              <a:avLst/>
              <a:gdLst>
                <a:gd name="T0" fmla="*/ 285 w 1448"/>
                <a:gd name="T1" fmla="*/ 2364 h 2365"/>
                <a:gd name="T2" fmla="*/ 364 w 1448"/>
                <a:gd name="T3" fmla="*/ 2324 h 2365"/>
                <a:gd name="T4" fmla="*/ 324 w 1448"/>
                <a:gd name="T5" fmla="*/ 2261 h 2365"/>
                <a:gd name="T6" fmla="*/ 316 w 1448"/>
                <a:gd name="T7" fmla="*/ 2174 h 2365"/>
                <a:gd name="T8" fmla="*/ 253 w 1448"/>
                <a:gd name="T9" fmla="*/ 2142 h 2365"/>
                <a:gd name="T10" fmla="*/ 245 w 1448"/>
                <a:gd name="T11" fmla="*/ 2285 h 2365"/>
                <a:gd name="T12" fmla="*/ 166 w 1448"/>
                <a:gd name="T13" fmla="*/ 2300 h 2365"/>
                <a:gd name="T14" fmla="*/ 111 w 1448"/>
                <a:gd name="T15" fmla="*/ 2308 h 2365"/>
                <a:gd name="T16" fmla="*/ 48 w 1448"/>
                <a:gd name="T17" fmla="*/ 182 h 2365"/>
                <a:gd name="T18" fmla="*/ 0 w 1448"/>
                <a:gd name="T19" fmla="*/ 103 h 2365"/>
                <a:gd name="T20" fmla="*/ 988 w 1448"/>
                <a:gd name="T21" fmla="*/ 0 h 2365"/>
                <a:gd name="T22" fmla="*/ 1399 w 1448"/>
                <a:gd name="T23" fmla="*/ 1178 h 2365"/>
                <a:gd name="T24" fmla="*/ 1423 w 1448"/>
                <a:gd name="T25" fmla="*/ 1257 h 2365"/>
                <a:gd name="T26" fmla="*/ 1368 w 1448"/>
                <a:gd name="T27" fmla="*/ 1328 h 2365"/>
                <a:gd name="T28" fmla="*/ 1360 w 1448"/>
                <a:gd name="T29" fmla="*/ 1510 h 2365"/>
                <a:gd name="T30" fmla="*/ 1407 w 1448"/>
                <a:gd name="T31" fmla="*/ 1660 h 2365"/>
                <a:gd name="T32" fmla="*/ 1447 w 1448"/>
                <a:gd name="T33" fmla="*/ 1866 h 2365"/>
                <a:gd name="T34" fmla="*/ 419 w 1448"/>
                <a:gd name="T35" fmla="*/ 2016 h 2365"/>
                <a:gd name="T36" fmla="*/ 490 w 1448"/>
                <a:gd name="T37" fmla="*/ 2103 h 2365"/>
                <a:gd name="T38" fmla="*/ 514 w 1448"/>
                <a:gd name="T39" fmla="*/ 2205 h 2365"/>
                <a:gd name="T40" fmla="*/ 498 w 1448"/>
                <a:gd name="T41" fmla="*/ 2300 h 2365"/>
                <a:gd name="T42" fmla="*/ 474 w 1448"/>
                <a:gd name="T43" fmla="*/ 2285 h 2365"/>
                <a:gd name="T44" fmla="*/ 411 w 1448"/>
                <a:gd name="T45" fmla="*/ 2348 h 2365"/>
                <a:gd name="T46" fmla="*/ 340 w 1448"/>
                <a:gd name="T47" fmla="*/ 2356 h 2365"/>
                <a:gd name="T48" fmla="*/ 285 w 1448"/>
                <a:gd name="T49" fmla="*/ 2348 h 2365"/>
                <a:gd name="T50" fmla="*/ 340 w 1448"/>
                <a:gd name="T51" fmla="*/ 2348 h 2365"/>
                <a:gd name="T52" fmla="*/ 411 w 1448"/>
                <a:gd name="T53" fmla="*/ 2340 h 2365"/>
                <a:gd name="T54" fmla="*/ 474 w 1448"/>
                <a:gd name="T55" fmla="*/ 2277 h 2365"/>
                <a:gd name="T56" fmla="*/ 522 w 1448"/>
                <a:gd name="T57" fmla="*/ 2237 h 2365"/>
                <a:gd name="T58" fmla="*/ 498 w 1448"/>
                <a:gd name="T59" fmla="*/ 2150 h 2365"/>
                <a:gd name="T60" fmla="*/ 411 w 1448"/>
                <a:gd name="T61" fmla="*/ 2032 h 2365"/>
                <a:gd name="T62" fmla="*/ 1415 w 1448"/>
                <a:gd name="T63" fmla="*/ 1786 h 2365"/>
                <a:gd name="T64" fmla="*/ 1399 w 1448"/>
                <a:gd name="T65" fmla="*/ 1589 h 2365"/>
                <a:gd name="T66" fmla="*/ 1368 w 1448"/>
                <a:gd name="T67" fmla="*/ 1415 h 2365"/>
                <a:gd name="T68" fmla="*/ 1391 w 1448"/>
                <a:gd name="T69" fmla="*/ 1304 h 2365"/>
                <a:gd name="T70" fmla="*/ 1407 w 1448"/>
                <a:gd name="T71" fmla="*/ 1241 h 2365"/>
                <a:gd name="T72" fmla="*/ 1384 w 1448"/>
                <a:gd name="T73" fmla="*/ 1154 h 2365"/>
                <a:gd name="T74" fmla="*/ 1344 w 1448"/>
                <a:gd name="T75" fmla="*/ 1138 h 2365"/>
                <a:gd name="T76" fmla="*/ 32 w 1448"/>
                <a:gd name="T77" fmla="*/ 134 h 2365"/>
                <a:gd name="T78" fmla="*/ 40 w 1448"/>
                <a:gd name="T79" fmla="*/ 1644 h 2365"/>
                <a:gd name="T80" fmla="*/ 198 w 1448"/>
                <a:gd name="T81" fmla="*/ 2300 h 2365"/>
                <a:gd name="T82" fmla="*/ 237 w 1448"/>
                <a:gd name="T83" fmla="*/ 2269 h 2365"/>
                <a:gd name="T84" fmla="*/ 269 w 1448"/>
                <a:gd name="T85" fmla="*/ 2134 h 2365"/>
                <a:gd name="T86" fmla="*/ 301 w 1448"/>
                <a:gd name="T87" fmla="*/ 2205 h 2365"/>
                <a:gd name="T88" fmla="*/ 364 w 1448"/>
                <a:gd name="T89" fmla="*/ 2292 h 2365"/>
                <a:gd name="T90" fmla="*/ 340 w 1448"/>
                <a:gd name="T91" fmla="*/ 234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8" h="2365">
                  <a:moveTo>
                    <a:pt x="308" y="2364"/>
                  </a:moveTo>
                  <a:lnTo>
                    <a:pt x="308" y="2364"/>
                  </a:lnTo>
                  <a:cubicBezTo>
                    <a:pt x="301" y="2364"/>
                    <a:pt x="293" y="2364"/>
                    <a:pt x="285" y="2364"/>
                  </a:cubicBezTo>
                  <a:cubicBezTo>
                    <a:pt x="277" y="2356"/>
                    <a:pt x="277" y="2356"/>
                    <a:pt x="277" y="2348"/>
                  </a:cubicBezTo>
                  <a:cubicBezTo>
                    <a:pt x="277" y="2348"/>
                    <a:pt x="277" y="2340"/>
                    <a:pt x="340" y="2332"/>
                  </a:cubicBezTo>
                  <a:cubicBezTo>
                    <a:pt x="356" y="2324"/>
                    <a:pt x="364" y="2324"/>
                    <a:pt x="364" y="2324"/>
                  </a:cubicBezTo>
                  <a:cubicBezTo>
                    <a:pt x="364" y="2316"/>
                    <a:pt x="364" y="2316"/>
                    <a:pt x="364" y="2308"/>
                  </a:cubicBezTo>
                  <a:cubicBezTo>
                    <a:pt x="364" y="2300"/>
                    <a:pt x="364" y="2300"/>
                    <a:pt x="364" y="2292"/>
                  </a:cubicBezTo>
                  <a:cubicBezTo>
                    <a:pt x="356" y="2277"/>
                    <a:pt x="340" y="2269"/>
                    <a:pt x="324" y="2261"/>
                  </a:cubicBezTo>
                  <a:cubicBezTo>
                    <a:pt x="316" y="2253"/>
                    <a:pt x="301" y="2245"/>
                    <a:pt x="293" y="2237"/>
                  </a:cubicBezTo>
                  <a:cubicBezTo>
                    <a:pt x="277" y="2221"/>
                    <a:pt x="285" y="2205"/>
                    <a:pt x="301" y="2198"/>
                  </a:cubicBezTo>
                  <a:cubicBezTo>
                    <a:pt x="301" y="2190"/>
                    <a:pt x="308" y="2182"/>
                    <a:pt x="316" y="2174"/>
                  </a:cubicBezTo>
                  <a:cubicBezTo>
                    <a:pt x="316" y="2166"/>
                    <a:pt x="316" y="2158"/>
                    <a:pt x="308" y="2158"/>
                  </a:cubicBezTo>
                  <a:cubicBezTo>
                    <a:pt x="301" y="2142"/>
                    <a:pt x="285" y="2142"/>
                    <a:pt x="269" y="2142"/>
                  </a:cubicBezTo>
                  <a:cubicBezTo>
                    <a:pt x="269" y="2142"/>
                    <a:pt x="261" y="2142"/>
                    <a:pt x="253" y="2142"/>
                  </a:cubicBezTo>
                  <a:cubicBezTo>
                    <a:pt x="237" y="2150"/>
                    <a:pt x="245" y="2205"/>
                    <a:pt x="245" y="2237"/>
                  </a:cubicBezTo>
                  <a:cubicBezTo>
                    <a:pt x="245" y="2253"/>
                    <a:pt x="245" y="2261"/>
                    <a:pt x="245" y="2269"/>
                  </a:cubicBezTo>
                  <a:cubicBezTo>
                    <a:pt x="245" y="2277"/>
                    <a:pt x="245" y="2277"/>
                    <a:pt x="245" y="2285"/>
                  </a:cubicBezTo>
                  <a:cubicBezTo>
                    <a:pt x="245" y="2300"/>
                    <a:pt x="245" y="2308"/>
                    <a:pt x="221" y="2308"/>
                  </a:cubicBezTo>
                  <a:cubicBezTo>
                    <a:pt x="221" y="2308"/>
                    <a:pt x="213" y="2308"/>
                    <a:pt x="198" y="2308"/>
                  </a:cubicBezTo>
                  <a:cubicBezTo>
                    <a:pt x="182" y="2300"/>
                    <a:pt x="174" y="2300"/>
                    <a:pt x="166" y="2300"/>
                  </a:cubicBezTo>
                  <a:cubicBezTo>
                    <a:pt x="150" y="2300"/>
                    <a:pt x="135" y="2308"/>
                    <a:pt x="119" y="2316"/>
                  </a:cubicBezTo>
                  <a:cubicBezTo>
                    <a:pt x="111" y="2316"/>
                    <a:pt x="111" y="2316"/>
                    <a:pt x="111" y="2316"/>
                  </a:cubicBezTo>
                  <a:cubicBezTo>
                    <a:pt x="111" y="2308"/>
                    <a:pt x="111" y="2308"/>
                    <a:pt x="111" y="2308"/>
                  </a:cubicBezTo>
                  <a:cubicBezTo>
                    <a:pt x="32" y="1644"/>
                    <a:pt x="32" y="1644"/>
                    <a:pt x="32" y="1644"/>
                  </a:cubicBezTo>
                  <a:cubicBezTo>
                    <a:pt x="32" y="1628"/>
                    <a:pt x="48" y="205"/>
                    <a:pt x="48" y="190"/>
                  </a:cubicBezTo>
                  <a:lnTo>
                    <a:pt x="48" y="182"/>
                  </a:lnTo>
                  <a:cubicBezTo>
                    <a:pt x="48" y="166"/>
                    <a:pt x="55" y="158"/>
                    <a:pt x="32" y="142"/>
                  </a:cubicBezTo>
                  <a:cubicBezTo>
                    <a:pt x="24" y="134"/>
                    <a:pt x="16" y="127"/>
                    <a:pt x="8" y="111"/>
                  </a:cubicBezTo>
                  <a:cubicBezTo>
                    <a:pt x="0" y="103"/>
                    <a:pt x="0" y="103"/>
                    <a:pt x="0" y="103"/>
                  </a:cubicBezTo>
                  <a:cubicBezTo>
                    <a:pt x="8" y="103"/>
                    <a:pt x="8" y="103"/>
                    <a:pt x="8" y="103"/>
                  </a:cubicBezTo>
                  <a:cubicBezTo>
                    <a:pt x="285" y="79"/>
                    <a:pt x="609" y="47"/>
                    <a:pt x="988" y="0"/>
                  </a:cubicBezTo>
                  <a:lnTo>
                    <a:pt x="988" y="0"/>
                  </a:lnTo>
                  <a:cubicBezTo>
                    <a:pt x="1352" y="1130"/>
                    <a:pt x="1352" y="1130"/>
                    <a:pt x="1352" y="1130"/>
                  </a:cubicBezTo>
                  <a:cubicBezTo>
                    <a:pt x="1352" y="1130"/>
                    <a:pt x="1376" y="1138"/>
                    <a:pt x="1391" y="1154"/>
                  </a:cubicBezTo>
                  <a:cubicBezTo>
                    <a:pt x="1399" y="1162"/>
                    <a:pt x="1399" y="1170"/>
                    <a:pt x="1399" y="1178"/>
                  </a:cubicBezTo>
                  <a:cubicBezTo>
                    <a:pt x="1399" y="1186"/>
                    <a:pt x="1391" y="1202"/>
                    <a:pt x="1399" y="1209"/>
                  </a:cubicBezTo>
                  <a:cubicBezTo>
                    <a:pt x="1399" y="1225"/>
                    <a:pt x="1407" y="1233"/>
                    <a:pt x="1415" y="1233"/>
                  </a:cubicBezTo>
                  <a:cubicBezTo>
                    <a:pt x="1415" y="1241"/>
                    <a:pt x="1423" y="1241"/>
                    <a:pt x="1423" y="1257"/>
                  </a:cubicBezTo>
                  <a:cubicBezTo>
                    <a:pt x="1423" y="1281"/>
                    <a:pt x="1415" y="1296"/>
                    <a:pt x="1399" y="1304"/>
                  </a:cubicBezTo>
                  <a:cubicBezTo>
                    <a:pt x="1391" y="1312"/>
                    <a:pt x="1391" y="1312"/>
                    <a:pt x="1391" y="1312"/>
                  </a:cubicBezTo>
                  <a:cubicBezTo>
                    <a:pt x="1384" y="1320"/>
                    <a:pt x="1368" y="1320"/>
                    <a:pt x="1368" y="1328"/>
                  </a:cubicBezTo>
                  <a:cubicBezTo>
                    <a:pt x="1368" y="1336"/>
                    <a:pt x="1368" y="1336"/>
                    <a:pt x="1376" y="1344"/>
                  </a:cubicBezTo>
                  <a:cubicBezTo>
                    <a:pt x="1384" y="1360"/>
                    <a:pt x="1391" y="1407"/>
                    <a:pt x="1376" y="1423"/>
                  </a:cubicBezTo>
                  <a:cubicBezTo>
                    <a:pt x="1360" y="1431"/>
                    <a:pt x="1344" y="1494"/>
                    <a:pt x="1360" y="1510"/>
                  </a:cubicBezTo>
                  <a:lnTo>
                    <a:pt x="1368" y="1518"/>
                  </a:lnTo>
                  <a:cubicBezTo>
                    <a:pt x="1384" y="1534"/>
                    <a:pt x="1407" y="1565"/>
                    <a:pt x="1407" y="1589"/>
                  </a:cubicBezTo>
                  <a:cubicBezTo>
                    <a:pt x="1407" y="1605"/>
                    <a:pt x="1407" y="1628"/>
                    <a:pt x="1407" y="1660"/>
                  </a:cubicBezTo>
                  <a:cubicBezTo>
                    <a:pt x="1399" y="1692"/>
                    <a:pt x="1391" y="1723"/>
                    <a:pt x="1399" y="1739"/>
                  </a:cubicBezTo>
                  <a:cubicBezTo>
                    <a:pt x="1399" y="1747"/>
                    <a:pt x="1407" y="1763"/>
                    <a:pt x="1415" y="1779"/>
                  </a:cubicBezTo>
                  <a:cubicBezTo>
                    <a:pt x="1431" y="1810"/>
                    <a:pt x="1447" y="1850"/>
                    <a:pt x="1447" y="1866"/>
                  </a:cubicBezTo>
                  <a:lnTo>
                    <a:pt x="1447" y="1866"/>
                  </a:lnTo>
                  <a:lnTo>
                    <a:pt x="1447" y="1866"/>
                  </a:lnTo>
                  <a:cubicBezTo>
                    <a:pt x="1044" y="1913"/>
                    <a:pt x="435" y="2000"/>
                    <a:pt x="419" y="2016"/>
                  </a:cubicBezTo>
                  <a:cubicBezTo>
                    <a:pt x="419" y="2024"/>
                    <a:pt x="411" y="2024"/>
                    <a:pt x="419" y="2032"/>
                  </a:cubicBezTo>
                  <a:cubicBezTo>
                    <a:pt x="419" y="2047"/>
                    <a:pt x="443" y="2063"/>
                    <a:pt x="466" y="2079"/>
                  </a:cubicBezTo>
                  <a:cubicBezTo>
                    <a:pt x="474" y="2087"/>
                    <a:pt x="482" y="2095"/>
                    <a:pt x="490" y="2103"/>
                  </a:cubicBezTo>
                  <a:cubicBezTo>
                    <a:pt x="514" y="2119"/>
                    <a:pt x="514" y="2134"/>
                    <a:pt x="506" y="2158"/>
                  </a:cubicBezTo>
                  <a:lnTo>
                    <a:pt x="498" y="2166"/>
                  </a:lnTo>
                  <a:cubicBezTo>
                    <a:pt x="498" y="2182"/>
                    <a:pt x="506" y="2198"/>
                    <a:pt x="514" y="2205"/>
                  </a:cubicBezTo>
                  <a:cubicBezTo>
                    <a:pt x="522" y="2221"/>
                    <a:pt x="530" y="2229"/>
                    <a:pt x="530" y="2237"/>
                  </a:cubicBezTo>
                  <a:cubicBezTo>
                    <a:pt x="530" y="2245"/>
                    <a:pt x="522" y="2269"/>
                    <a:pt x="506" y="2300"/>
                  </a:cubicBezTo>
                  <a:cubicBezTo>
                    <a:pt x="498" y="2300"/>
                    <a:pt x="498" y="2300"/>
                    <a:pt x="498" y="2300"/>
                  </a:cubicBezTo>
                  <a:cubicBezTo>
                    <a:pt x="490" y="2292"/>
                    <a:pt x="490" y="2292"/>
                    <a:pt x="490" y="2292"/>
                  </a:cubicBezTo>
                  <a:cubicBezTo>
                    <a:pt x="490" y="2292"/>
                    <a:pt x="490" y="2292"/>
                    <a:pt x="482" y="2285"/>
                  </a:cubicBezTo>
                  <a:lnTo>
                    <a:pt x="474" y="2285"/>
                  </a:lnTo>
                  <a:cubicBezTo>
                    <a:pt x="466" y="2285"/>
                    <a:pt x="466" y="2292"/>
                    <a:pt x="459" y="2300"/>
                  </a:cubicBezTo>
                  <a:cubicBezTo>
                    <a:pt x="459" y="2308"/>
                    <a:pt x="459" y="2316"/>
                    <a:pt x="451" y="2324"/>
                  </a:cubicBezTo>
                  <a:cubicBezTo>
                    <a:pt x="443" y="2348"/>
                    <a:pt x="427" y="2348"/>
                    <a:pt x="411" y="2348"/>
                  </a:cubicBezTo>
                  <a:cubicBezTo>
                    <a:pt x="403" y="2348"/>
                    <a:pt x="403" y="2348"/>
                    <a:pt x="403" y="2348"/>
                  </a:cubicBezTo>
                  <a:cubicBezTo>
                    <a:pt x="395" y="2348"/>
                    <a:pt x="388" y="2348"/>
                    <a:pt x="379" y="2348"/>
                  </a:cubicBezTo>
                  <a:cubicBezTo>
                    <a:pt x="364" y="2356"/>
                    <a:pt x="348" y="2356"/>
                    <a:pt x="340" y="2356"/>
                  </a:cubicBezTo>
                  <a:cubicBezTo>
                    <a:pt x="324" y="2364"/>
                    <a:pt x="316" y="2364"/>
                    <a:pt x="308" y="2364"/>
                  </a:cubicBezTo>
                  <a:close/>
                  <a:moveTo>
                    <a:pt x="285" y="2348"/>
                  </a:moveTo>
                  <a:lnTo>
                    <a:pt x="285" y="2348"/>
                  </a:lnTo>
                  <a:cubicBezTo>
                    <a:pt x="285" y="2356"/>
                    <a:pt x="285" y="2356"/>
                    <a:pt x="285" y="2356"/>
                  </a:cubicBezTo>
                  <a:cubicBezTo>
                    <a:pt x="293" y="2356"/>
                    <a:pt x="301" y="2356"/>
                    <a:pt x="308" y="2356"/>
                  </a:cubicBezTo>
                  <a:cubicBezTo>
                    <a:pt x="316" y="2356"/>
                    <a:pt x="324" y="2356"/>
                    <a:pt x="340" y="2348"/>
                  </a:cubicBezTo>
                  <a:cubicBezTo>
                    <a:pt x="348" y="2348"/>
                    <a:pt x="364" y="2348"/>
                    <a:pt x="379" y="2348"/>
                  </a:cubicBezTo>
                  <a:cubicBezTo>
                    <a:pt x="388" y="2340"/>
                    <a:pt x="395" y="2340"/>
                    <a:pt x="403" y="2340"/>
                  </a:cubicBezTo>
                  <a:cubicBezTo>
                    <a:pt x="411" y="2340"/>
                    <a:pt x="411" y="2340"/>
                    <a:pt x="411" y="2340"/>
                  </a:cubicBezTo>
                  <a:cubicBezTo>
                    <a:pt x="427" y="2340"/>
                    <a:pt x="435" y="2340"/>
                    <a:pt x="443" y="2316"/>
                  </a:cubicBezTo>
                  <a:cubicBezTo>
                    <a:pt x="451" y="2308"/>
                    <a:pt x="451" y="2300"/>
                    <a:pt x="459" y="2300"/>
                  </a:cubicBezTo>
                  <a:cubicBezTo>
                    <a:pt x="459" y="2285"/>
                    <a:pt x="466" y="2277"/>
                    <a:pt x="474" y="2277"/>
                  </a:cubicBezTo>
                  <a:cubicBezTo>
                    <a:pt x="474" y="2277"/>
                    <a:pt x="482" y="2277"/>
                    <a:pt x="490" y="2285"/>
                  </a:cubicBezTo>
                  <a:cubicBezTo>
                    <a:pt x="490" y="2285"/>
                    <a:pt x="498" y="2285"/>
                    <a:pt x="498" y="2292"/>
                  </a:cubicBezTo>
                  <a:cubicBezTo>
                    <a:pt x="506" y="2277"/>
                    <a:pt x="522" y="2245"/>
                    <a:pt x="522" y="2237"/>
                  </a:cubicBezTo>
                  <a:cubicBezTo>
                    <a:pt x="522" y="2229"/>
                    <a:pt x="514" y="2221"/>
                    <a:pt x="506" y="2213"/>
                  </a:cubicBezTo>
                  <a:cubicBezTo>
                    <a:pt x="498" y="2198"/>
                    <a:pt x="490" y="2182"/>
                    <a:pt x="490" y="2166"/>
                  </a:cubicBezTo>
                  <a:cubicBezTo>
                    <a:pt x="498" y="2158"/>
                    <a:pt x="498" y="2158"/>
                    <a:pt x="498" y="2150"/>
                  </a:cubicBezTo>
                  <a:cubicBezTo>
                    <a:pt x="506" y="2134"/>
                    <a:pt x="506" y="2126"/>
                    <a:pt x="482" y="2103"/>
                  </a:cubicBezTo>
                  <a:cubicBezTo>
                    <a:pt x="482" y="2103"/>
                    <a:pt x="474" y="2095"/>
                    <a:pt x="459" y="2087"/>
                  </a:cubicBezTo>
                  <a:cubicBezTo>
                    <a:pt x="435" y="2071"/>
                    <a:pt x="411" y="2047"/>
                    <a:pt x="411" y="2032"/>
                  </a:cubicBezTo>
                  <a:cubicBezTo>
                    <a:pt x="411" y="2024"/>
                    <a:pt x="411" y="2016"/>
                    <a:pt x="411" y="2016"/>
                  </a:cubicBezTo>
                  <a:cubicBezTo>
                    <a:pt x="435" y="1984"/>
                    <a:pt x="1320" y="1874"/>
                    <a:pt x="1439" y="1858"/>
                  </a:cubicBezTo>
                  <a:cubicBezTo>
                    <a:pt x="1439" y="1842"/>
                    <a:pt x="1423" y="1810"/>
                    <a:pt x="1415" y="1786"/>
                  </a:cubicBezTo>
                  <a:cubicBezTo>
                    <a:pt x="1399" y="1763"/>
                    <a:pt x="1391" y="1747"/>
                    <a:pt x="1391" y="1739"/>
                  </a:cubicBezTo>
                  <a:cubicBezTo>
                    <a:pt x="1391" y="1723"/>
                    <a:pt x="1391" y="1692"/>
                    <a:pt x="1399" y="1660"/>
                  </a:cubicBezTo>
                  <a:cubicBezTo>
                    <a:pt x="1399" y="1628"/>
                    <a:pt x="1399" y="1605"/>
                    <a:pt x="1399" y="1589"/>
                  </a:cubicBezTo>
                  <a:cubicBezTo>
                    <a:pt x="1399" y="1565"/>
                    <a:pt x="1384" y="1541"/>
                    <a:pt x="1360" y="1526"/>
                  </a:cubicBezTo>
                  <a:cubicBezTo>
                    <a:pt x="1360" y="1518"/>
                    <a:pt x="1352" y="1518"/>
                    <a:pt x="1352" y="1510"/>
                  </a:cubicBezTo>
                  <a:cubicBezTo>
                    <a:pt x="1336" y="1494"/>
                    <a:pt x="1352" y="1431"/>
                    <a:pt x="1368" y="1415"/>
                  </a:cubicBezTo>
                  <a:cubicBezTo>
                    <a:pt x="1376" y="1399"/>
                    <a:pt x="1376" y="1360"/>
                    <a:pt x="1368" y="1344"/>
                  </a:cubicBezTo>
                  <a:cubicBezTo>
                    <a:pt x="1360" y="1344"/>
                    <a:pt x="1360" y="1336"/>
                    <a:pt x="1360" y="1328"/>
                  </a:cubicBezTo>
                  <a:cubicBezTo>
                    <a:pt x="1368" y="1320"/>
                    <a:pt x="1376" y="1312"/>
                    <a:pt x="1391" y="1304"/>
                  </a:cubicBezTo>
                  <a:lnTo>
                    <a:pt x="1391" y="1304"/>
                  </a:lnTo>
                  <a:cubicBezTo>
                    <a:pt x="1407" y="1288"/>
                    <a:pt x="1415" y="1281"/>
                    <a:pt x="1415" y="1257"/>
                  </a:cubicBezTo>
                  <a:cubicBezTo>
                    <a:pt x="1415" y="1249"/>
                    <a:pt x="1415" y="1241"/>
                    <a:pt x="1407" y="1241"/>
                  </a:cubicBezTo>
                  <a:cubicBezTo>
                    <a:pt x="1407" y="1233"/>
                    <a:pt x="1399" y="1233"/>
                    <a:pt x="1391" y="1217"/>
                  </a:cubicBezTo>
                  <a:cubicBezTo>
                    <a:pt x="1384" y="1202"/>
                    <a:pt x="1391" y="1186"/>
                    <a:pt x="1391" y="1178"/>
                  </a:cubicBezTo>
                  <a:cubicBezTo>
                    <a:pt x="1391" y="1170"/>
                    <a:pt x="1391" y="1162"/>
                    <a:pt x="1384" y="1154"/>
                  </a:cubicBezTo>
                  <a:cubicBezTo>
                    <a:pt x="1368" y="1146"/>
                    <a:pt x="1344" y="1138"/>
                    <a:pt x="1344" y="1138"/>
                  </a:cubicBezTo>
                  <a:lnTo>
                    <a:pt x="1344" y="1138"/>
                  </a:lnTo>
                  <a:lnTo>
                    <a:pt x="1344" y="1138"/>
                  </a:lnTo>
                  <a:cubicBezTo>
                    <a:pt x="988" y="8"/>
                    <a:pt x="988" y="8"/>
                    <a:pt x="988" y="8"/>
                  </a:cubicBezTo>
                  <a:cubicBezTo>
                    <a:pt x="609" y="47"/>
                    <a:pt x="293" y="87"/>
                    <a:pt x="16" y="111"/>
                  </a:cubicBezTo>
                  <a:cubicBezTo>
                    <a:pt x="24" y="118"/>
                    <a:pt x="24" y="134"/>
                    <a:pt x="32" y="134"/>
                  </a:cubicBezTo>
                  <a:cubicBezTo>
                    <a:pt x="63" y="158"/>
                    <a:pt x="55" y="174"/>
                    <a:pt x="55" y="182"/>
                  </a:cubicBezTo>
                  <a:lnTo>
                    <a:pt x="55" y="190"/>
                  </a:lnTo>
                  <a:cubicBezTo>
                    <a:pt x="55" y="205"/>
                    <a:pt x="40" y="1628"/>
                    <a:pt x="40" y="1644"/>
                  </a:cubicBezTo>
                  <a:cubicBezTo>
                    <a:pt x="119" y="2308"/>
                    <a:pt x="119" y="2308"/>
                    <a:pt x="119" y="2308"/>
                  </a:cubicBezTo>
                  <a:cubicBezTo>
                    <a:pt x="135" y="2300"/>
                    <a:pt x="150" y="2292"/>
                    <a:pt x="166" y="2292"/>
                  </a:cubicBezTo>
                  <a:cubicBezTo>
                    <a:pt x="174" y="2292"/>
                    <a:pt x="182" y="2292"/>
                    <a:pt x="198" y="2300"/>
                  </a:cubicBezTo>
                  <a:cubicBezTo>
                    <a:pt x="213" y="2300"/>
                    <a:pt x="221" y="2300"/>
                    <a:pt x="221" y="2300"/>
                  </a:cubicBezTo>
                  <a:cubicBezTo>
                    <a:pt x="237" y="2300"/>
                    <a:pt x="237" y="2300"/>
                    <a:pt x="237" y="2277"/>
                  </a:cubicBezTo>
                  <a:cubicBezTo>
                    <a:pt x="237" y="2277"/>
                    <a:pt x="237" y="2277"/>
                    <a:pt x="237" y="2269"/>
                  </a:cubicBezTo>
                  <a:cubicBezTo>
                    <a:pt x="237" y="2261"/>
                    <a:pt x="237" y="2253"/>
                    <a:pt x="237" y="2237"/>
                  </a:cubicBezTo>
                  <a:cubicBezTo>
                    <a:pt x="237" y="2182"/>
                    <a:pt x="237" y="2142"/>
                    <a:pt x="253" y="2134"/>
                  </a:cubicBezTo>
                  <a:cubicBezTo>
                    <a:pt x="261" y="2134"/>
                    <a:pt x="261" y="2134"/>
                    <a:pt x="269" y="2134"/>
                  </a:cubicBezTo>
                  <a:cubicBezTo>
                    <a:pt x="285" y="2134"/>
                    <a:pt x="308" y="2142"/>
                    <a:pt x="316" y="2150"/>
                  </a:cubicBezTo>
                  <a:cubicBezTo>
                    <a:pt x="324" y="2158"/>
                    <a:pt x="324" y="2166"/>
                    <a:pt x="316" y="2174"/>
                  </a:cubicBezTo>
                  <a:cubicBezTo>
                    <a:pt x="316" y="2190"/>
                    <a:pt x="308" y="2198"/>
                    <a:pt x="301" y="2205"/>
                  </a:cubicBezTo>
                  <a:cubicBezTo>
                    <a:pt x="293" y="2213"/>
                    <a:pt x="293" y="2221"/>
                    <a:pt x="301" y="2229"/>
                  </a:cubicBezTo>
                  <a:cubicBezTo>
                    <a:pt x="308" y="2245"/>
                    <a:pt x="316" y="2245"/>
                    <a:pt x="332" y="2253"/>
                  </a:cubicBezTo>
                  <a:cubicBezTo>
                    <a:pt x="348" y="2261"/>
                    <a:pt x="364" y="2269"/>
                    <a:pt x="364" y="2292"/>
                  </a:cubicBezTo>
                  <a:cubicBezTo>
                    <a:pt x="372" y="2292"/>
                    <a:pt x="372" y="2300"/>
                    <a:pt x="372" y="2308"/>
                  </a:cubicBezTo>
                  <a:cubicBezTo>
                    <a:pt x="372" y="2316"/>
                    <a:pt x="372" y="2316"/>
                    <a:pt x="372" y="2324"/>
                  </a:cubicBezTo>
                  <a:cubicBezTo>
                    <a:pt x="372" y="2332"/>
                    <a:pt x="356" y="2332"/>
                    <a:pt x="340" y="2340"/>
                  </a:cubicBezTo>
                  <a:cubicBezTo>
                    <a:pt x="301" y="2340"/>
                    <a:pt x="285" y="2348"/>
                    <a:pt x="285" y="2348"/>
                  </a:cubicBezTo>
                  <a:close/>
                </a:path>
              </a:pathLst>
            </a:custGeom>
            <a:grpFill/>
            <a:ln>
              <a:solidFill>
                <a:schemeClr val="bg1">
                  <a:lumMod val="95000"/>
                </a:schemeClr>
              </a:solidFill>
            </a:ln>
            <a:effectLst/>
          </p:spPr>
          <p:txBody>
            <a:bodyPr wrap="none" anchor="ctr"/>
            <a:lstStyle/>
            <a:p>
              <a:endParaRPr lang="en-US" sz="900"/>
            </a:p>
          </p:txBody>
        </p:sp>
        <p:sp>
          <p:nvSpPr>
            <p:cNvPr id="60" name="Freeform 486"/>
            <p:cNvSpPr>
              <a:spLocks noChangeArrowheads="1"/>
            </p:cNvSpPr>
            <p:nvPr/>
          </p:nvSpPr>
          <p:spPr bwMode="auto">
            <a:xfrm>
              <a:off x="12800491" y="7638792"/>
              <a:ext cx="1122544" cy="994983"/>
            </a:xfrm>
            <a:custGeom>
              <a:avLst/>
              <a:gdLst>
                <a:gd name="T0" fmla="*/ 55 w 2135"/>
                <a:gd name="T1" fmla="*/ 561 h 1890"/>
                <a:gd name="T2" fmla="*/ 142 w 2135"/>
                <a:gd name="T3" fmla="*/ 735 h 1890"/>
                <a:gd name="T4" fmla="*/ 229 w 2135"/>
                <a:gd name="T5" fmla="*/ 964 h 1890"/>
                <a:gd name="T6" fmla="*/ 158 w 2135"/>
                <a:gd name="T7" fmla="*/ 1170 h 1890"/>
                <a:gd name="T8" fmla="*/ 158 w 2135"/>
                <a:gd name="T9" fmla="*/ 1289 h 1890"/>
                <a:gd name="T10" fmla="*/ 158 w 2135"/>
                <a:gd name="T11" fmla="*/ 1431 h 1890"/>
                <a:gd name="T12" fmla="*/ 110 w 2135"/>
                <a:gd name="T13" fmla="*/ 1565 h 1890"/>
                <a:gd name="T14" fmla="*/ 213 w 2135"/>
                <a:gd name="T15" fmla="*/ 1557 h 1890"/>
                <a:gd name="T16" fmla="*/ 331 w 2135"/>
                <a:gd name="T17" fmla="*/ 1486 h 1890"/>
                <a:gd name="T18" fmla="*/ 371 w 2135"/>
                <a:gd name="T19" fmla="*/ 1470 h 1890"/>
                <a:gd name="T20" fmla="*/ 355 w 2135"/>
                <a:gd name="T21" fmla="*/ 1549 h 1890"/>
                <a:gd name="T22" fmla="*/ 830 w 2135"/>
                <a:gd name="T23" fmla="*/ 1534 h 1890"/>
                <a:gd name="T24" fmla="*/ 956 w 2135"/>
                <a:gd name="T25" fmla="*/ 1549 h 1890"/>
                <a:gd name="T26" fmla="*/ 1090 w 2135"/>
                <a:gd name="T27" fmla="*/ 1620 h 1890"/>
                <a:gd name="T28" fmla="*/ 1209 w 2135"/>
                <a:gd name="T29" fmla="*/ 1700 h 1890"/>
                <a:gd name="T30" fmla="*/ 1288 w 2135"/>
                <a:gd name="T31" fmla="*/ 1771 h 1890"/>
                <a:gd name="T32" fmla="*/ 1462 w 2135"/>
                <a:gd name="T33" fmla="*/ 1723 h 1890"/>
                <a:gd name="T34" fmla="*/ 1612 w 2135"/>
                <a:gd name="T35" fmla="*/ 1747 h 1890"/>
                <a:gd name="T36" fmla="*/ 1699 w 2135"/>
                <a:gd name="T37" fmla="*/ 1700 h 1890"/>
                <a:gd name="T38" fmla="*/ 1628 w 2135"/>
                <a:gd name="T39" fmla="*/ 1573 h 1890"/>
                <a:gd name="T40" fmla="*/ 1802 w 2135"/>
                <a:gd name="T41" fmla="*/ 1660 h 1890"/>
                <a:gd name="T42" fmla="*/ 1873 w 2135"/>
                <a:gd name="T43" fmla="*/ 1716 h 1890"/>
                <a:gd name="T44" fmla="*/ 1984 w 2135"/>
                <a:gd name="T45" fmla="*/ 1763 h 1890"/>
                <a:gd name="T46" fmla="*/ 1992 w 2135"/>
                <a:gd name="T47" fmla="*/ 1858 h 1890"/>
                <a:gd name="T48" fmla="*/ 2071 w 2135"/>
                <a:gd name="T49" fmla="*/ 1818 h 1890"/>
                <a:gd name="T50" fmla="*/ 2102 w 2135"/>
                <a:gd name="T51" fmla="*/ 1684 h 1890"/>
                <a:gd name="T52" fmla="*/ 1881 w 2135"/>
                <a:gd name="T53" fmla="*/ 1597 h 1890"/>
                <a:gd name="T54" fmla="*/ 1913 w 2135"/>
                <a:gd name="T55" fmla="*/ 1510 h 1890"/>
                <a:gd name="T56" fmla="*/ 1960 w 2135"/>
                <a:gd name="T57" fmla="*/ 1463 h 1890"/>
                <a:gd name="T58" fmla="*/ 1913 w 2135"/>
                <a:gd name="T59" fmla="*/ 1312 h 1890"/>
                <a:gd name="T60" fmla="*/ 1849 w 2135"/>
                <a:gd name="T61" fmla="*/ 1407 h 1890"/>
                <a:gd name="T62" fmla="*/ 1826 w 2135"/>
                <a:gd name="T63" fmla="*/ 1328 h 1890"/>
                <a:gd name="T64" fmla="*/ 1699 w 2135"/>
                <a:gd name="T65" fmla="*/ 1352 h 1890"/>
                <a:gd name="T66" fmla="*/ 1596 w 2135"/>
                <a:gd name="T67" fmla="*/ 1336 h 1890"/>
                <a:gd name="T68" fmla="*/ 1628 w 2135"/>
                <a:gd name="T69" fmla="*/ 1202 h 1890"/>
                <a:gd name="T70" fmla="*/ 1857 w 2135"/>
                <a:gd name="T71" fmla="*/ 1289 h 1890"/>
                <a:gd name="T72" fmla="*/ 1739 w 2135"/>
                <a:gd name="T73" fmla="*/ 1059 h 1890"/>
                <a:gd name="T74" fmla="*/ 1019 w 2135"/>
                <a:gd name="T75" fmla="*/ 941 h 1890"/>
                <a:gd name="T76" fmla="*/ 1011 w 2135"/>
                <a:gd name="T77" fmla="*/ 830 h 1890"/>
                <a:gd name="T78" fmla="*/ 1043 w 2135"/>
                <a:gd name="T79" fmla="*/ 664 h 1890"/>
                <a:gd name="T80" fmla="*/ 1114 w 2135"/>
                <a:gd name="T81" fmla="*/ 585 h 1890"/>
                <a:gd name="T82" fmla="*/ 1201 w 2135"/>
                <a:gd name="T83" fmla="*/ 411 h 1890"/>
                <a:gd name="T84" fmla="*/ 1201 w 2135"/>
                <a:gd name="T85" fmla="*/ 277 h 1890"/>
                <a:gd name="T86" fmla="*/ 1146 w 2135"/>
                <a:gd name="T87" fmla="*/ 119 h 1890"/>
                <a:gd name="T88" fmla="*/ 0 w 2135"/>
                <a:gd name="T89" fmla="*/ 32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5" h="1890">
                  <a:moveTo>
                    <a:pt x="7" y="522"/>
                  </a:moveTo>
                  <a:lnTo>
                    <a:pt x="7" y="522"/>
                  </a:lnTo>
                  <a:cubicBezTo>
                    <a:pt x="7" y="522"/>
                    <a:pt x="39" y="537"/>
                    <a:pt x="55" y="561"/>
                  </a:cubicBezTo>
                  <a:cubicBezTo>
                    <a:pt x="71" y="585"/>
                    <a:pt x="102" y="601"/>
                    <a:pt x="118" y="632"/>
                  </a:cubicBezTo>
                  <a:cubicBezTo>
                    <a:pt x="126" y="672"/>
                    <a:pt x="118" y="672"/>
                    <a:pt x="110" y="704"/>
                  </a:cubicBezTo>
                  <a:cubicBezTo>
                    <a:pt x="102" y="727"/>
                    <a:pt x="126" y="719"/>
                    <a:pt x="142" y="735"/>
                  </a:cubicBezTo>
                  <a:cubicBezTo>
                    <a:pt x="158" y="751"/>
                    <a:pt x="173" y="775"/>
                    <a:pt x="173" y="822"/>
                  </a:cubicBezTo>
                  <a:cubicBezTo>
                    <a:pt x="173" y="862"/>
                    <a:pt x="197" y="846"/>
                    <a:pt x="213" y="877"/>
                  </a:cubicBezTo>
                  <a:cubicBezTo>
                    <a:pt x="229" y="909"/>
                    <a:pt x="237" y="941"/>
                    <a:pt x="229" y="964"/>
                  </a:cubicBezTo>
                  <a:cubicBezTo>
                    <a:pt x="221" y="996"/>
                    <a:pt x="229" y="1012"/>
                    <a:pt x="229" y="1028"/>
                  </a:cubicBezTo>
                  <a:cubicBezTo>
                    <a:pt x="229" y="1051"/>
                    <a:pt x="229" y="1083"/>
                    <a:pt x="213" y="1115"/>
                  </a:cubicBezTo>
                  <a:cubicBezTo>
                    <a:pt x="189" y="1154"/>
                    <a:pt x="189" y="1146"/>
                    <a:pt x="158" y="1170"/>
                  </a:cubicBezTo>
                  <a:cubicBezTo>
                    <a:pt x="134" y="1202"/>
                    <a:pt x="173" y="1194"/>
                    <a:pt x="181" y="1210"/>
                  </a:cubicBezTo>
                  <a:cubicBezTo>
                    <a:pt x="189" y="1225"/>
                    <a:pt x="189" y="1241"/>
                    <a:pt x="173" y="1241"/>
                  </a:cubicBezTo>
                  <a:cubicBezTo>
                    <a:pt x="165" y="1241"/>
                    <a:pt x="158" y="1273"/>
                    <a:pt x="158" y="1289"/>
                  </a:cubicBezTo>
                  <a:cubicBezTo>
                    <a:pt x="150" y="1304"/>
                    <a:pt x="165" y="1320"/>
                    <a:pt x="173" y="1344"/>
                  </a:cubicBezTo>
                  <a:cubicBezTo>
                    <a:pt x="189" y="1360"/>
                    <a:pt x="181" y="1383"/>
                    <a:pt x="181" y="1399"/>
                  </a:cubicBezTo>
                  <a:cubicBezTo>
                    <a:pt x="181" y="1415"/>
                    <a:pt x="173" y="1415"/>
                    <a:pt x="158" y="1431"/>
                  </a:cubicBezTo>
                  <a:cubicBezTo>
                    <a:pt x="150" y="1447"/>
                    <a:pt x="158" y="1470"/>
                    <a:pt x="134" y="1494"/>
                  </a:cubicBezTo>
                  <a:cubicBezTo>
                    <a:pt x="118" y="1510"/>
                    <a:pt x="102" y="1526"/>
                    <a:pt x="94" y="1541"/>
                  </a:cubicBezTo>
                  <a:cubicBezTo>
                    <a:pt x="86" y="1557"/>
                    <a:pt x="102" y="1565"/>
                    <a:pt x="110" y="1565"/>
                  </a:cubicBezTo>
                  <a:cubicBezTo>
                    <a:pt x="126" y="1573"/>
                    <a:pt x="126" y="1589"/>
                    <a:pt x="126" y="1589"/>
                  </a:cubicBezTo>
                  <a:lnTo>
                    <a:pt x="126" y="1589"/>
                  </a:lnTo>
                  <a:cubicBezTo>
                    <a:pt x="150" y="1581"/>
                    <a:pt x="165" y="1565"/>
                    <a:pt x="213" y="1557"/>
                  </a:cubicBezTo>
                  <a:cubicBezTo>
                    <a:pt x="268" y="1557"/>
                    <a:pt x="316" y="1565"/>
                    <a:pt x="324" y="1549"/>
                  </a:cubicBezTo>
                  <a:cubicBezTo>
                    <a:pt x="324" y="1534"/>
                    <a:pt x="308" y="1502"/>
                    <a:pt x="308" y="1502"/>
                  </a:cubicBezTo>
                  <a:cubicBezTo>
                    <a:pt x="300" y="1502"/>
                    <a:pt x="324" y="1502"/>
                    <a:pt x="331" y="1486"/>
                  </a:cubicBezTo>
                  <a:cubicBezTo>
                    <a:pt x="331" y="1470"/>
                    <a:pt x="324" y="1463"/>
                    <a:pt x="324" y="1447"/>
                  </a:cubicBezTo>
                  <a:cubicBezTo>
                    <a:pt x="331" y="1431"/>
                    <a:pt x="339" y="1399"/>
                    <a:pt x="347" y="1431"/>
                  </a:cubicBezTo>
                  <a:cubicBezTo>
                    <a:pt x="355" y="1454"/>
                    <a:pt x="371" y="1463"/>
                    <a:pt x="371" y="1470"/>
                  </a:cubicBezTo>
                  <a:cubicBezTo>
                    <a:pt x="379" y="1478"/>
                    <a:pt x="379" y="1486"/>
                    <a:pt x="363" y="1494"/>
                  </a:cubicBezTo>
                  <a:cubicBezTo>
                    <a:pt x="339" y="1494"/>
                    <a:pt x="324" y="1494"/>
                    <a:pt x="339" y="1518"/>
                  </a:cubicBezTo>
                  <a:cubicBezTo>
                    <a:pt x="355" y="1541"/>
                    <a:pt x="339" y="1549"/>
                    <a:pt x="355" y="1549"/>
                  </a:cubicBezTo>
                  <a:cubicBezTo>
                    <a:pt x="379" y="1549"/>
                    <a:pt x="561" y="1597"/>
                    <a:pt x="592" y="1620"/>
                  </a:cubicBezTo>
                  <a:cubicBezTo>
                    <a:pt x="624" y="1636"/>
                    <a:pt x="853" y="1660"/>
                    <a:pt x="845" y="1589"/>
                  </a:cubicBezTo>
                  <a:cubicBezTo>
                    <a:pt x="837" y="1518"/>
                    <a:pt x="798" y="1549"/>
                    <a:pt x="830" y="1534"/>
                  </a:cubicBezTo>
                  <a:cubicBezTo>
                    <a:pt x="869" y="1510"/>
                    <a:pt x="861" y="1526"/>
                    <a:pt x="885" y="1510"/>
                  </a:cubicBezTo>
                  <a:cubicBezTo>
                    <a:pt x="901" y="1502"/>
                    <a:pt x="932" y="1478"/>
                    <a:pt x="932" y="1510"/>
                  </a:cubicBezTo>
                  <a:cubicBezTo>
                    <a:pt x="932" y="1534"/>
                    <a:pt x="932" y="1565"/>
                    <a:pt x="956" y="1549"/>
                  </a:cubicBezTo>
                  <a:cubicBezTo>
                    <a:pt x="988" y="1534"/>
                    <a:pt x="964" y="1502"/>
                    <a:pt x="1003" y="1526"/>
                  </a:cubicBezTo>
                  <a:cubicBezTo>
                    <a:pt x="1043" y="1557"/>
                    <a:pt x="1051" y="1557"/>
                    <a:pt x="1059" y="1581"/>
                  </a:cubicBezTo>
                  <a:cubicBezTo>
                    <a:pt x="1067" y="1613"/>
                    <a:pt x="1067" y="1620"/>
                    <a:pt x="1090" y="1620"/>
                  </a:cubicBezTo>
                  <a:cubicBezTo>
                    <a:pt x="1114" y="1629"/>
                    <a:pt x="1161" y="1636"/>
                    <a:pt x="1177" y="1644"/>
                  </a:cubicBezTo>
                  <a:cubicBezTo>
                    <a:pt x="1193" y="1652"/>
                    <a:pt x="1201" y="1660"/>
                    <a:pt x="1217" y="1668"/>
                  </a:cubicBezTo>
                  <a:cubicBezTo>
                    <a:pt x="1233" y="1684"/>
                    <a:pt x="1233" y="1700"/>
                    <a:pt x="1209" y="1700"/>
                  </a:cubicBezTo>
                  <a:cubicBezTo>
                    <a:pt x="1185" y="1700"/>
                    <a:pt x="1161" y="1700"/>
                    <a:pt x="1177" y="1723"/>
                  </a:cubicBezTo>
                  <a:cubicBezTo>
                    <a:pt x="1185" y="1747"/>
                    <a:pt x="1185" y="1755"/>
                    <a:pt x="1217" y="1763"/>
                  </a:cubicBezTo>
                  <a:cubicBezTo>
                    <a:pt x="1248" y="1771"/>
                    <a:pt x="1256" y="1755"/>
                    <a:pt x="1288" y="1771"/>
                  </a:cubicBezTo>
                  <a:cubicBezTo>
                    <a:pt x="1312" y="1779"/>
                    <a:pt x="1296" y="1787"/>
                    <a:pt x="1335" y="1794"/>
                  </a:cubicBezTo>
                  <a:cubicBezTo>
                    <a:pt x="1383" y="1802"/>
                    <a:pt x="1446" y="1818"/>
                    <a:pt x="1462" y="1787"/>
                  </a:cubicBezTo>
                  <a:cubicBezTo>
                    <a:pt x="1478" y="1763"/>
                    <a:pt x="1446" y="1739"/>
                    <a:pt x="1462" y="1723"/>
                  </a:cubicBezTo>
                  <a:cubicBezTo>
                    <a:pt x="1486" y="1707"/>
                    <a:pt x="1557" y="1707"/>
                    <a:pt x="1557" y="1723"/>
                  </a:cubicBezTo>
                  <a:cubicBezTo>
                    <a:pt x="1565" y="1731"/>
                    <a:pt x="1573" y="1739"/>
                    <a:pt x="1588" y="1731"/>
                  </a:cubicBezTo>
                  <a:cubicBezTo>
                    <a:pt x="1604" y="1723"/>
                    <a:pt x="1612" y="1723"/>
                    <a:pt x="1612" y="1747"/>
                  </a:cubicBezTo>
                  <a:cubicBezTo>
                    <a:pt x="1612" y="1763"/>
                    <a:pt x="1588" y="1787"/>
                    <a:pt x="1612" y="1794"/>
                  </a:cubicBezTo>
                  <a:cubicBezTo>
                    <a:pt x="1644" y="1802"/>
                    <a:pt x="1675" y="1818"/>
                    <a:pt x="1683" y="1787"/>
                  </a:cubicBezTo>
                  <a:cubicBezTo>
                    <a:pt x="1691" y="1747"/>
                    <a:pt x="1691" y="1716"/>
                    <a:pt x="1699" y="1700"/>
                  </a:cubicBezTo>
                  <a:cubicBezTo>
                    <a:pt x="1707" y="1684"/>
                    <a:pt x="1715" y="1684"/>
                    <a:pt x="1707" y="1660"/>
                  </a:cubicBezTo>
                  <a:cubicBezTo>
                    <a:pt x="1691" y="1636"/>
                    <a:pt x="1683" y="1636"/>
                    <a:pt x="1660" y="1620"/>
                  </a:cubicBezTo>
                  <a:cubicBezTo>
                    <a:pt x="1628" y="1605"/>
                    <a:pt x="1604" y="1573"/>
                    <a:pt x="1628" y="1573"/>
                  </a:cubicBezTo>
                  <a:cubicBezTo>
                    <a:pt x="1660" y="1581"/>
                    <a:pt x="1660" y="1581"/>
                    <a:pt x="1691" y="1597"/>
                  </a:cubicBezTo>
                  <a:cubicBezTo>
                    <a:pt x="1731" y="1613"/>
                    <a:pt x="1762" y="1613"/>
                    <a:pt x="1778" y="1620"/>
                  </a:cubicBezTo>
                  <a:cubicBezTo>
                    <a:pt x="1794" y="1636"/>
                    <a:pt x="1818" y="1660"/>
                    <a:pt x="1802" y="1660"/>
                  </a:cubicBezTo>
                  <a:cubicBezTo>
                    <a:pt x="1786" y="1668"/>
                    <a:pt x="1762" y="1676"/>
                    <a:pt x="1794" y="1676"/>
                  </a:cubicBezTo>
                  <a:cubicBezTo>
                    <a:pt x="1826" y="1684"/>
                    <a:pt x="1841" y="1668"/>
                    <a:pt x="1849" y="1684"/>
                  </a:cubicBezTo>
                  <a:cubicBezTo>
                    <a:pt x="1865" y="1692"/>
                    <a:pt x="1841" y="1707"/>
                    <a:pt x="1873" y="1716"/>
                  </a:cubicBezTo>
                  <a:cubicBezTo>
                    <a:pt x="1897" y="1716"/>
                    <a:pt x="1936" y="1692"/>
                    <a:pt x="1936" y="1700"/>
                  </a:cubicBezTo>
                  <a:cubicBezTo>
                    <a:pt x="1936" y="1716"/>
                    <a:pt x="1936" y="1731"/>
                    <a:pt x="1952" y="1747"/>
                  </a:cubicBezTo>
                  <a:cubicBezTo>
                    <a:pt x="1968" y="1763"/>
                    <a:pt x="1976" y="1755"/>
                    <a:pt x="1984" y="1763"/>
                  </a:cubicBezTo>
                  <a:cubicBezTo>
                    <a:pt x="1992" y="1779"/>
                    <a:pt x="2007" y="1787"/>
                    <a:pt x="1992" y="1802"/>
                  </a:cubicBezTo>
                  <a:cubicBezTo>
                    <a:pt x="1976" y="1818"/>
                    <a:pt x="1968" y="1826"/>
                    <a:pt x="1976" y="1842"/>
                  </a:cubicBezTo>
                  <a:cubicBezTo>
                    <a:pt x="1976" y="1858"/>
                    <a:pt x="1968" y="1889"/>
                    <a:pt x="1992" y="1858"/>
                  </a:cubicBezTo>
                  <a:cubicBezTo>
                    <a:pt x="2015" y="1826"/>
                    <a:pt x="2015" y="1802"/>
                    <a:pt x="2031" y="1787"/>
                  </a:cubicBezTo>
                  <a:cubicBezTo>
                    <a:pt x="2039" y="1771"/>
                    <a:pt x="2039" y="1779"/>
                    <a:pt x="2047" y="1787"/>
                  </a:cubicBezTo>
                  <a:cubicBezTo>
                    <a:pt x="2055" y="1802"/>
                    <a:pt x="2063" y="1826"/>
                    <a:pt x="2071" y="1818"/>
                  </a:cubicBezTo>
                  <a:cubicBezTo>
                    <a:pt x="2087" y="1802"/>
                    <a:pt x="2087" y="1802"/>
                    <a:pt x="2094" y="1771"/>
                  </a:cubicBezTo>
                  <a:cubicBezTo>
                    <a:pt x="2102" y="1747"/>
                    <a:pt x="2102" y="1763"/>
                    <a:pt x="2118" y="1739"/>
                  </a:cubicBezTo>
                  <a:cubicBezTo>
                    <a:pt x="2134" y="1716"/>
                    <a:pt x="2126" y="1700"/>
                    <a:pt x="2102" y="1684"/>
                  </a:cubicBezTo>
                  <a:cubicBezTo>
                    <a:pt x="2078" y="1676"/>
                    <a:pt x="2087" y="1652"/>
                    <a:pt x="2047" y="1652"/>
                  </a:cubicBezTo>
                  <a:cubicBezTo>
                    <a:pt x="2015" y="1644"/>
                    <a:pt x="2007" y="1652"/>
                    <a:pt x="1968" y="1636"/>
                  </a:cubicBezTo>
                  <a:cubicBezTo>
                    <a:pt x="1928" y="1613"/>
                    <a:pt x="1920" y="1629"/>
                    <a:pt x="1881" y="1597"/>
                  </a:cubicBezTo>
                  <a:cubicBezTo>
                    <a:pt x="1849" y="1565"/>
                    <a:pt x="1826" y="1565"/>
                    <a:pt x="1834" y="1549"/>
                  </a:cubicBezTo>
                  <a:cubicBezTo>
                    <a:pt x="1841" y="1534"/>
                    <a:pt x="1865" y="1518"/>
                    <a:pt x="1881" y="1526"/>
                  </a:cubicBezTo>
                  <a:cubicBezTo>
                    <a:pt x="1905" y="1526"/>
                    <a:pt x="1936" y="1526"/>
                    <a:pt x="1913" y="1510"/>
                  </a:cubicBezTo>
                  <a:cubicBezTo>
                    <a:pt x="1897" y="1502"/>
                    <a:pt x="1857" y="1510"/>
                    <a:pt x="1865" y="1494"/>
                  </a:cubicBezTo>
                  <a:cubicBezTo>
                    <a:pt x="1873" y="1478"/>
                    <a:pt x="1889" y="1463"/>
                    <a:pt x="1913" y="1463"/>
                  </a:cubicBezTo>
                  <a:cubicBezTo>
                    <a:pt x="1928" y="1454"/>
                    <a:pt x="1952" y="1478"/>
                    <a:pt x="1960" y="1463"/>
                  </a:cubicBezTo>
                  <a:cubicBezTo>
                    <a:pt x="1968" y="1447"/>
                    <a:pt x="1968" y="1439"/>
                    <a:pt x="1960" y="1415"/>
                  </a:cubicBezTo>
                  <a:cubicBezTo>
                    <a:pt x="1952" y="1383"/>
                    <a:pt x="1928" y="1399"/>
                    <a:pt x="1928" y="1376"/>
                  </a:cubicBezTo>
                  <a:cubicBezTo>
                    <a:pt x="1920" y="1352"/>
                    <a:pt x="1936" y="1320"/>
                    <a:pt x="1913" y="1312"/>
                  </a:cubicBezTo>
                  <a:cubicBezTo>
                    <a:pt x="1897" y="1304"/>
                    <a:pt x="1873" y="1336"/>
                    <a:pt x="1873" y="1336"/>
                  </a:cubicBezTo>
                  <a:cubicBezTo>
                    <a:pt x="1873" y="1336"/>
                    <a:pt x="1857" y="1383"/>
                    <a:pt x="1857" y="1391"/>
                  </a:cubicBezTo>
                  <a:cubicBezTo>
                    <a:pt x="1857" y="1399"/>
                    <a:pt x="1865" y="1415"/>
                    <a:pt x="1849" y="1407"/>
                  </a:cubicBezTo>
                  <a:cubicBezTo>
                    <a:pt x="1826" y="1407"/>
                    <a:pt x="1818" y="1423"/>
                    <a:pt x="1810" y="1391"/>
                  </a:cubicBezTo>
                  <a:cubicBezTo>
                    <a:pt x="1810" y="1367"/>
                    <a:pt x="1778" y="1383"/>
                    <a:pt x="1786" y="1360"/>
                  </a:cubicBezTo>
                  <a:cubicBezTo>
                    <a:pt x="1794" y="1344"/>
                    <a:pt x="1818" y="1336"/>
                    <a:pt x="1826" y="1328"/>
                  </a:cubicBezTo>
                  <a:cubicBezTo>
                    <a:pt x="1834" y="1312"/>
                    <a:pt x="1810" y="1296"/>
                    <a:pt x="1802" y="1296"/>
                  </a:cubicBezTo>
                  <a:cubicBezTo>
                    <a:pt x="1794" y="1296"/>
                    <a:pt x="1747" y="1281"/>
                    <a:pt x="1731" y="1296"/>
                  </a:cubicBezTo>
                  <a:cubicBezTo>
                    <a:pt x="1707" y="1304"/>
                    <a:pt x="1675" y="1336"/>
                    <a:pt x="1699" y="1352"/>
                  </a:cubicBezTo>
                  <a:cubicBezTo>
                    <a:pt x="1715" y="1376"/>
                    <a:pt x="1747" y="1407"/>
                    <a:pt x="1707" y="1391"/>
                  </a:cubicBezTo>
                  <a:cubicBezTo>
                    <a:pt x="1675" y="1383"/>
                    <a:pt x="1667" y="1344"/>
                    <a:pt x="1644" y="1344"/>
                  </a:cubicBezTo>
                  <a:cubicBezTo>
                    <a:pt x="1628" y="1336"/>
                    <a:pt x="1612" y="1344"/>
                    <a:pt x="1596" y="1336"/>
                  </a:cubicBezTo>
                  <a:cubicBezTo>
                    <a:pt x="1581" y="1328"/>
                    <a:pt x="1541" y="1367"/>
                    <a:pt x="1533" y="1328"/>
                  </a:cubicBezTo>
                  <a:cubicBezTo>
                    <a:pt x="1525" y="1281"/>
                    <a:pt x="1573" y="1233"/>
                    <a:pt x="1588" y="1210"/>
                  </a:cubicBezTo>
                  <a:cubicBezTo>
                    <a:pt x="1604" y="1194"/>
                    <a:pt x="1573" y="1178"/>
                    <a:pt x="1628" y="1202"/>
                  </a:cubicBezTo>
                  <a:cubicBezTo>
                    <a:pt x="1683" y="1233"/>
                    <a:pt x="1660" y="1225"/>
                    <a:pt x="1707" y="1249"/>
                  </a:cubicBezTo>
                  <a:cubicBezTo>
                    <a:pt x="1762" y="1265"/>
                    <a:pt x="1754" y="1273"/>
                    <a:pt x="1786" y="1281"/>
                  </a:cubicBezTo>
                  <a:cubicBezTo>
                    <a:pt x="1826" y="1289"/>
                    <a:pt x="1841" y="1289"/>
                    <a:pt x="1857" y="1289"/>
                  </a:cubicBezTo>
                  <a:cubicBezTo>
                    <a:pt x="1873" y="1281"/>
                    <a:pt x="1881" y="1289"/>
                    <a:pt x="1897" y="1281"/>
                  </a:cubicBezTo>
                  <a:cubicBezTo>
                    <a:pt x="1889" y="1273"/>
                    <a:pt x="1826" y="1186"/>
                    <a:pt x="1810" y="1146"/>
                  </a:cubicBezTo>
                  <a:cubicBezTo>
                    <a:pt x="1802" y="1115"/>
                    <a:pt x="1778" y="1115"/>
                    <a:pt x="1739" y="1059"/>
                  </a:cubicBezTo>
                  <a:cubicBezTo>
                    <a:pt x="1699" y="1004"/>
                    <a:pt x="1762" y="949"/>
                    <a:pt x="1770" y="933"/>
                  </a:cubicBezTo>
                  <a:cubicBezTo>
                    <a:pt x="1786" y="917"/>
                    <a:pt x="1754" y="909"/>
                    <a:pt x="1754" y="909"/>
                  </a:cubicBezTo>
                  <a:cubicBezTo>
                    <a:pt x="1754" y="909"/>
                    <a:pt x="1035" y="949"/>
                    <a:pt x="1019" y="941"/>
                  </a:cubicBezTo>
                  <a:cubicBezTo>
                    <a:pt x="995" y="941"/>
                    <a:pt x="1003" y="933"/>
                    <a:pt x="1011" y="925"/>
                  </a:cubicBezTo>
                  <a:cubicBezTo>
                    <a:pt x="1019" y="917"/>
                    <a:pt x="1011" y="893"/>
                    <a:pt x="995" y="870"/>
                  </a:cubicBezTo>
                  <a:cubicBezTo>
                    <a:pt x="980" y="854"/>
                    <a:pt x="1003" y="838"/>
                    <a:pt x="1011" y="830"/>
                  </a:cubicBezTo>
                  <a:cubicBezTo>
                    <a:pt x="1027" y="822"/>
                    <a:pt x="1027" y="783"/>
                    <a:pt x="1019" y="767"/>
                  </a:cubicBezTo>
                  <a:cubicBezTo>
                    <a:pt x="1011" y="751"/>
                    <a:pt x="1027" y="727"/>
                    <a:pt x="1035" y="727"/>
                  </a:cubicBezTo>
                  <a:cubicBezTo>
                    <a:pt x="1043" y="727"/>
                    <a:pt x="1043" y="688"/>
                    <a:pt x="1043" y="664"/>
                  </a:cubicBezTo>
                  <a:cubicBezTo>
                    <a:pt x="1043" y="640"/>
                    <a:pt x="1067" y="648"/>
                    <a:pt x="1083" y="640"/>
                  </a:cubicBezTo>
                  <a:cubicBezTo>
                    <a:pt x="1098" y="640"/>
                    <a:pt x="1083" y="617"/>
                    <a:pt x="1083" y="601"/>
                  </a:cubicBezTo>
                  <a:cubicBezTo>
                    <a:pt x="1075" y="577"/>
                    <a:pt x="1106" y="585"/>
                    <a:pt x="1114" y="585"/>
                  </a:cubicBezTo>
                  <a:cubicBezTo>
                    <a:pt x="1122" y="577"/>
                    <a:pt x="1122" y="569"/>
                    <a:pt x="1122" y="537"/>
                  </a:cubicBezTo>
                  <a:cubicBezTo>
                    <a:pt x="1114" y="506"/>
                    <a:pt x="1138" y="514"/>
                    <a:pt x="1154" y="506"/>
                  </a:cubicBezTo>
                  <a:cubicBezTo>
                    <a:pt x="1161" y="498"/>
                    <a:pt x="1201" y="435"/>
                    <a:pt x="1201" y="411"/>
                  </a:cubicBezTo>
                  <a:cubicBezTo>
                    <a:pt x="1209" y="387"/>
                    <a:pt x="1193" y="395"/>
                    <a:pt x="1146" y="372"/>
                  </a:cubicBezTo>
                  <a:cubicBezTo>
                    <a:pt x="1106" y="348"/>
                    <a:pt x="1217" y="324"/>
                    <a:pt x="1233" y="324"/>
                  </a:cubicBezTo>
                  <a:cubicBezTo>
                    <a:pt x="1256" y="316"/>
                    <a:pt x="1241" y="293"/>
                    <a:pt x="1201" y="277"/>
                  </a:cubicBezTo>
                  <a:cubicBezTo>
                    <a:pt x="1170" y="261"/>
                    <a:pt x="1185" y="261"/>
                    <a:pt x="1193" y="237"/>
                  </a:cubicBezTo>
                  <a:cubicBezTo>
                    <a:pt x="1201" y="221"/>
                    <a:pt x="1185" y="198"/>
                    <a:pt x="1185" y="198"/>
                  </a:cubicBezTo>
                  <a:cubicBezTo>
                    <a:pt x="1138" y="206"/>
                    <a:pt x="1161" y="134"/>
                    <a:pt x="1146" y="119"/>
                  </a:cubicBezTo>
                  <a:cubicBezTo>
                    <a:pt x="1130" y="103"/>
                    <a:pt x="1170" y="71"/>
                    <a:pt x="1170" y="47"/>
                  </a:cubicBezTo>
                  <a:cubicBezTo>
                    <a:pt x="1161" y="32"/>
                    <a:pt x="1146" y="32"/>
                    <a:pt x="1138" y="0"/>
                  </a:cubicBezTo>
                  <a:cubicBezTo>
                    <a:pt x="0" y="32"/>
                    <a:pt x="0" y="32"/>
                    <a:pt x="0" y="32"/>
                  </a:cubicBezTo>
                  <a:lnTo>
                    <a:pt x="7" y="522"/>
                  </a:lnTo>
                </a:path>
              </a:pathLst>
            </a:custGeom>
            <a:grpFill/>
            <a:ln>
              <a:solidFill>
                <a:schemeClr val="bg1">
                  <a:lumMod val="95000"/>
                </a:schemeClr>
              </a:solidFill>
            </a:ln>
            <a:effectLst/>
          </p:spPr>
          <p:txBody>
            <a:bodyPr wrap="none" anchor="ctr"/>
            <a:lstStyle/>
            <a:p>
              <a:endParaRPr lang="en-US" sz="900"/>
            </a:p>
          </p:txBody>
        </p:sp>
        <p:sp>
          <p:nvSpPr>
            <p:cNvPr id="61" name="Freeform 487"/>
            <p:cNvSpPr>
              <a:spLocks noChangeArrowheads="1"/>
            </p:cNvSpPr>
            <p:nvPr/>
          </p:nvSpPr>
          <p:spPr bwMode="auto">
            <a:xfrm>
              <a:off x="12800491" y="7636474"/>
              <a:ext cx="1122544" cy="990343"/>
            </a:xfrm>
            <a:custGeom>
              <a:avLst/>
              <a:gdLst>
                <a:gd name="T0" fmla="*/ 1976 w 2135"/>
                <a:gd name="T1" fmla="*/ 1771 h 1882"/>
                <a:gd name="T2" fmla="*/ 1849 w 2135"/>
                <a:gd name="T3" fmla="*/ 1692 h 1882"/>
                <a:gd name="T4" fmla="*/ 1691 w 2135"/>
                <a:gd name="T5" fmla="*/ 1605 h 1882"/>
                <a:gd name="T6" fmla="*/ 1691 w 2135"/>
                <a:gd name="T7" fmla="*/ 1755 h 1882"/>
                <a:gd name="T8" fmla="*/ 1604 w 2135"/>
                <a:gd name="T9" fmla="*/ 1739 h 1882"/>
                <a:gd name="T10" fmla="*/ 1335 w 2135"/>
                <a:gd name="T11" fmla="*/ 1810 h 1882"/>
                <a:gd name="T12" fmla="*/ 1225 w 2135"/>
                <a:gd name="T13" fmla="*/ 1700 h 1882"/>
                <a:gd name="T14" fmla="*/ 964 w 2135"/>
                <a:gd name="T15" fmla="*/ 1557 h 1882"/>
                <a:gd name="T16" fmla="*/ 845 w 2135"/>
                <a:gd name="T17" fmla="*/ 1621 h 1882"/>
                <a:gd name="T18" fmla="*/ 371 w 2135"/>
                <a:gd name="T19" fmla="*/ 1494 h 1882"/>
                <a:gd name="T20" fmla="*/ 316 w 2135"/>
                <a:gd name="T21" fmla="*/ 1510 h 1882"/>
                <a:gd name="T22" fmla="*/ 110 w 2135"/>
                <a:gd name="T23" fmla="*/ 1581 h 1882"/>
                <a:gd name="T24" fmla="*/ 165 w 2135"/>
                <a:gd name="T25" fmla="*/ 1336 h 1882"/>
                <a:gd name="T26" fmla="*/ 181 w 2135"/>
                <a:gd name="T27" fmla="*/ 1162 h 1882"/>
                <a:gd name="T28" fmla="*/ 126 w 2135"/>
                <a:gd name="T29" fmla="*/ 743 h 1882"/>
                <a:gd name="T30" fmla="*/ 0 w 2135"/>
                <a:gd name="T31" fmla="*/ 32 h 1882"/>
                <a:gd name="T32" fmla="*/ 1185 w 2135"/>
                <a:gd name="T33" fmla="*/ 206 h 1882"/>
                <a:gd name="T34" fmla="*/ 1217 w 2135"/>
                <a:gd name="T35" fmla="*/ 340 h 1882"/>
                <a:gd name="T36" fmla="*/ 1106 w 2135"/>
                <a:gd name="T37" fmla="*/ 593 h 1882"/>
                <a:gd name="T38" fmla="*/ 1027 w 2135"/>
                <a:gd name="T39" fmla="*/ 751 h 1882"/>
                <a:gd name="T40" fmla="*/ 1019 w 2135"/>
                <a:gd name="T41" fmla="*/ 949 h 1882"/>
                <a:gd name="T42" fmla="*/ 1786 w 2135"/>
                <a:gd name="T43" fmla="*/ 1115 h 1882"/>
                <a:gd name="T44" fmla="*/ 1802 w 2135"/>
                <a:gd name="T45" fmla="*/ 1289 h 1882"/>
                <a:gd name="T46" fmla="*/ 1588 w 2135"/>
                <a:gd name="T47" fmla="*/ 1225 h 1882"/>
                <a:gd name="T48" fmla="*/ 1675 w 2135"/>
                <a:gd name="T49" fmla="*/ 1368 h 1882"/>
                <a:gd name="T50" fmla="*/ 1826 w 2135"/>
                <a:gd name="T51" fmla="*/ 1320 h 1882"/>
                <a:gd name="T52" fmla="*/ 1849 w 2135"/>
                <a:gd name="T53" fmla="*/ 1415 h 1882"/>
                <a:gd name="T54" fmla="*/ 1928 w 2135"/>
                <a:gd name="T55" fmla="*/ 1384 h 1882"/>
                <a:gd name="T56" fmla="*/ 1865 w 2135"/>
                <a:gd name="T57" fmla="*/ 1502 h 1882"/>
                <a:gd name="T58" fmla="*/ 1889 w 2135"/>
                <a:gd name="T59" fmla="*/ 1605 h 1882"/>
                <a:gd name="T60" fmla="*/ 2102 w 2135"/>
                <a:gd name="T61" fmla="*/ 1763 h 1882"/>
                <a:gd name="T62" fmla="*/ 1992 w 2135"/>
                <a:gd name="T63" fmla="*/ 1866 h 1882"/>
                <a:gd name="T64" fmla="*/ 1992 w 2135"/>
                <a:gd name="T65" fmla="*/ 1779 h 1882"/>
                <a:gd name="T66" fmla="*/ 2039 w 2135"/>
                <a:gd name="T67" fmla="*/ 1779 h 1882"/>
                <a:gd name="T68" fmla="*/ 2102 w 2135"/>
                <a:gd name="T69" fmla="*/ 1692 h 1882"/>
                <a:gd name="T70" fmla="*/ 1881 w 2135"/>
                <a:gd name="T71" fmla="*/ 1526 h 1882"/>
                <a:gd name="T72" fmla="*/ 1936 w 2135"/>
                <a:gd name="T73" fmla="*/ 1471 h 1882"/>
                <a:gd name="T74" fmla="*/ 1881 w 2135"/>
                <a:gd name="T75" fmla="*/ 1344 h 1882"/>
                <a:gd name="T76" fmla="*/ 1778 w 2135"/>
                <a:gd name="T77" fmla="*/ 1384 h 1882"/>
                <a:gd name="T78" fmla="*/ 1699 w 2135"/>
                <a:gd name="T79" fmla="*/ 1344 h 1882"/>
                <a:gd name="T80" fmla="*/ 1596 w 2135"/>
                <a:gd name="T81" fmla="*/ 1352 h 1882"/>
                <a:gd name="T82" fmla="*/ 1628 w 2135"/>
                <a:gd name="T83" fmla="*/ 1210 h 1882"/>
                <a:gd name="T84" fmla="*/ 1873 w 2135"/>
                <a:gd name="T85" fmla="*/ 1273 h 1882"/>
                <a:gd name="T86" fmla="*/ 1019 w 2135"/>
                <a:gd name="T87" fmla="*/ 957 h 1882"/>
                <a:gd name="T88" fmla="*/ 1019 w 2135"/>
                <a:gd name="T89" fmla="*/ 751 h 1882"/>
                <a:gd name="T90" fmla="*/ 1106 w 2135"/>
                <a:gd name="T91" fmla="*/ 585 h 1882"/>
                <a:gd name="T92" fmla="*/ 1217 w 2135"/>
                <a:gd name="T93" fmla="*/ 332 h 1882"/>
                <a:gd name="T94" fmla="*/ 1146 w 2135"/>
                <a:gd name="T95" fmla="*/ 127 h 1882"/>
                <a:gd name="T96" fmla="*/ 118 w 2135"/>
                <a:gd name="T97" fmla="*/ 640 h 1882"/>
                <a:gd name="T98" fmla="*/ 229 w 2135"/>
                <a:gd name="T99" fmla="*/ 1028 h 1882"/>
                <a:gd name="T100" fmla="*/ 173 w 2135"/>
                <a:gd name="T101" fmla="*/ 1257 h 1882"/>
                <a:gd name="T102" fmla="*/ 158 w 2135"/>
                <a:gd name="T103" fmla="*/ 1462 h 1882"/>
                <a:gd name="T104" fmla="*/ 316 w 2135"/>
                <a:gd name="T105" fmla="*/ 1557 h 1882"/>
                <a:gd name="T106" fmla="*/ 355 w 2135"/>
                <a:gd name="T107" fmla="*/ 1431 h 1882"/>
                <a:gd name="T108" fmla="*/ 355 w 2135"/>
                <a:gd name="T109" fmla="*/ 1549 h 1882"/>
                <a:gd name="T110" fmla="*/ 869 w 2135"/>
                <a:gd name="T111" fmla="*/ 1526 h 1882"/>
                <a:gd name="T112" fmla="*/ 1019 w 2135"/>
                <a:gd name="T113" fmla="*/ 1542 h 1882"/>
                <a:gd name="T114" fmla="*/ 1185 w 2135"/>
                <a:gd name="T115" fmla="*/ 1739 h 1882"/>
                <a:gd name="T116" fmla="*/ 1454 w 2135"/>
                <a:gd name="T117" fmla="*/ 1763 h 1882"/>
                <a:gd name="T118" fmla="*/ 1612 w 2135"/>
                <a:gd name="T119" fmla="*/ 1771 h 1882"/>
                <a:gd name="T120" fmla="*/ 1699 w 2135"/>
                <a:gd name="T121" fmla="*/ 1668 h 1882"/>
                <a:gd name="T122" fmla="*/ 1778 w 2135"/>
                <a:gd name="T123" fmla="*/ 1628 h 1882"/>
                <a:gd name="T124" fmla="*/ 1873 w 2135"/>
                <a:gd name="T125" fmla="*/ 171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5" h="1882">
                  <a:moveTo>
                    <a:pt x="1976" y="1881"/>
                  </a:moveTo>
                  <a:lnTo>
                    <a:pt x="1976" y="1881"/>
                  </a:lnTo>
                  <a:cubicBezTo>
                    <a:pt x="1968" y="1881"/>
                    <a:pt x="1968" y="1874"/>
                    <a:pt x="1968" y="1866"/>
                  </a:cubicBezTo>
                  <a:cubicBezTo>
                    <a:pt x="1968" y="1858"/>
                    <a:pt x="1968" y="1850"/>
                    <a:pt x="1968" y="1850"/>
                  </a:cubicBezTo>
                  <a:cubicBezTo>
                    <a:pt x="1960" y="1834"/>
                    <a:pt x="1968" y="1826"/>
                    <a:pt x="1984" y="1810"/>
                  </a:cubicBezTo>
                  <a:lnTo>
                    <a:pt x="1984" y="1810"/>
                  </a:lnTo>
                  <a:cubicBezTo>
                    <a:pt x="2000" y="1795"/>
                    <a:pt x="1992" y="1795"/>
                    <a:pt x="1984" y="1787"/>
                  </a:cubicBezTo>
                  <a:cubicBezTo>
                    <a:pt x="1984" y="1779"/>
                    <a:pt x="1984" y="1779"/>
                    <a:pt x="1984" y="1779"/>
                  </a:cubicBezTo>
                  <a:cubicBezTo>
                    <a:pt x="1984" y="1771"/>
                    <a:pt x="1976" y="1771"/>
                    <a:pt x="1976" y="1771"/>
                  </a:cubicBezTo>
                  <a:cubicBezTo>
                    <a:pt x="1968" y="1771"/>
                    <a:pt x="1960" y="1771"/>
                    <a:pt x="1944" y="1755"/>
                  </a:cubicBezTo>
                  <a:cubicBezTo>
                    <a:pt x="1936" y="1739"/>
                    <a:pt x="1936" y="1731"/>
                    <a:pt x="1936" y="1715"/>
                  </a:cubicBezTo>
                  <a:cubicBezTo>
                    <a:pt x="1936" y="1715"/>
                    <a:pt x="1936" y="1715"/>
                    <a:pt x="1936" y="1708"/>
                  </a:cubicBezTo>
                  <a:lnTo>
                    <a:pt x="1936" y="1708"/>
                  </a:lnTo>
                  <a:cubicBezTo>
                    <a:pt x="1928" y="1708"/>
                    <a:pt x="1920" y="1715"/>
                    <a:pt x="1920" y="1715"/>
                  </a:cubicBezTo>
                  <a:cubicBezTo>
                    <a:pt x="1905" y="1724"/>
                    <a:pt x="1889" y="1724"/>
                    <a:pt x="1873" y="1724"/>
                  </a:cubicBezTo>
                  <a:lnTo>
                    <a:pt x="1873" y="1724"/>
                  </a:lnTo>
                  <a:cubicBezTo>
                    <a:pt x="1849" y="1724"/>
                    <a:pt x="1849" y="1708"/>
                    <a:pt x="1849" y="1700"/>
                  </a:cubicBezTo>
                  <a:lnTo>
                    <a:pt x="1849" y="1692"/>
                  </a:lnTo>
                  <a:lnTo>
                    <a:pt x="1841" y="1684"/>
                  </a:lnTo>
                  <a:cubicBezTo>
                    <a:pt x="1834" y="1684"/>
                    <a:pt x="1834" y="1684"/>
                    <a:pt x="1826" y="1692"/>
                  </a:cubicBezTo>
                  <a:cubicBezTo>
                    <a:pt x="1818" y="1692"/>
                    <a:pt x="1802" y="1692"/>
                    <a:pt x="1794" y="1692"/>
                  </a:cubicBezTo>
                  <a:cubicBezTo>
                    <a:pt x="1778" y="1684"/>
                    <a:pt x="1778" y="1684"/>
                    <a:pt x="1778" y="1676"/>
                  </a:cubicBezTo>
                  <a:cubicBezTo>
                    <a:pt x="1778" y="1676"/>
                    <a:pt x="1778" y="1668"/>
                    <a:pt x="1794" y="1668"/>
                  </a:cubicBezTo>
                  <a:cubicBezTo>
                    <a:pt x="1802" y="1668"/>
                    <a:pt x="1802" y="1660"/>
                    <a:pt x="1802" y="1660"/>
                  </a:cubicBezTo>
                  <a:cubicBezTo>
                    <a:pt x="1802" y="1660"/>
                    <a:pt x="1794" y="1644"/>
                    <a:pt x="1778" y="1637"/>
                  </a:cubicBezTo>
                  <a:cubicBezTo>
                    <a:pt x="1770" y="1628"/>
                    <a:pt x="1754" y="1628"/>
                    <a:pt x="1739" y="1621"/>
                  </a:cubicBezTo>
                  <a:cubicBezTo>
                    <a:pt x="1723" y="1621"/>
                    <a:pt x="1707" y="1613"/>
                    <a:pt x="1691" y="1605"/>
                  </a:cubicBezTo>
                  <a:cubicBezTo>
                    <a:pt x="1683" y="1605"/>
                    <a:pt x="1675" y="1605"/>
                    <a:pt x="1667" y="1597"/>
                  </a:cubicBezTo>
                  <a:cubicBezTo>
                    <a:pt x="1652" y="1597"/>
                    <a:pt x="1644" y="1589"/>
                    <a:pt x="1628" y="1589"/>
                  </a:cubicBezTo>
                  <a:lnTo>
                    <a:pt x="1628" y="1589"/>
                  </a:lnTo>
                  <a:cubicBezTo>
                    <a:pt x="1620" y="1589"/>
                    <a:pt x="1636" y="1613"/>
                    <a:pt x="1660" y="1628"/>
                  </a:cubicBezTo>
                  <a:cubicBezTo>
                    <a:pt x="1667" y="1637"/>
                    <a:pt x="1675" y="1637"/>
                    <a:pt x="1683" y="1637"/>
                  </a:cubicBezTo>
                  <a:cubicBezTo>
                    <a:pt x="1691" y="1644"/>
                    <a:pt x="1699" y="1644"/>
                    <a:pt x="1707" y="1668"/>
                  </a:cubicBezTo>
                  <a:cubicBezTo>
                    <a:pt x="1715" y="1692"/>
                    <a:pt x="1715" y="1692"/>
                    <a:pt x="1707" y="1708"/>
                  </a:cubicBezTo>
                  <a:cubicBezTo>
                    <a:pt x="1707" y="1708"/>
                    <a:pt x="1699" y="1708"/>
                    <a:pt x="1699" y="1715"/>
                  </a:cubicBezTo>
                  <a:cubicBezTo>
                    <a:pt x="1699" y="1724"/>
                    <a:pt x="1691" y="1739"/>
                    <a:pt x="1691" y="1755"/>
                  </a:cubicBezTo>
                  <a:cubicBezTo>
                    <a:pt x="1691" y="1763"/>
                    <a:pt x="1691" y="1779"/>
                    <a:pt x="1683" y="1795"/>
                  </a:cubicBezTo>
                  <a:cubicBezTo>
                    <a:pt x="1683" y="1810"/>
                    <a:pt x="1675" y="1818"/>
                    <a:pt x="1660" y="1818"/>
                  </a:cubicBezTo>
                  <a:cubicBezTo>
                    <a:pt x="1652" y="1818"/>
                    <a:pt x="1644" y="1810"/>
                    <a:pt x="1628" y="1810"/>
                  </a:cubicBezTo>
                  <a:cubicBezTo>
                    <a:pt x="1628" y="1810"/>
                    <a:pt x="1620" y="1810"/>
                    <a:pt x="1612" y="1802"/>
                  </a:cubicBezTo>
                  <a:cubicBezTo>
                    <a:pt x="1612" y="1802"/>
                    <a:pt x="1604" y="1802"/>
                    <a:pt x="1604" y="1795"/>
                  </a:cubicBezTo>
                  <a:cubicBezTo>
                    <a:pt x="1596" y="1787"/>
                    <a:pt x="1604" y="1779"/>
                    <a:pt x="1604" y="1771"/>
                  </a:cubicBezTo>
                  <a:cubicBezTo>
                    <a:pt x="1604" y="1763"/>
                    <a:pt x="1604" y="1755"/>
                    <a:pt x="1612" y="1755"/>
                  </a:cubicBezTo>
                  <a:cubicBezTo>
                    <a:pt x="1612" y="1739"/>
                    <a:pt x="1604" y="1739"/>
                    <a:pt x="1604" y="1739"/>
                  </a:cubicBezTo>
                  <a:lnTo>
                    <a:pt x="1604" y="1739"/>
                  </a:lnTo>
                  <a:cubicBezTo>
                    <a:pt x="1604" y="1739"/>
                    <a:pt x="1596" y="1739"/>
                    <a:pt x="1588" y="1747"/>
                  </a:cubicBezTo>
                  <a:lnTo>
                    <a:pt x="1581" y="1747"/>
                  </a:lnTo>
                  <a:cubicBezTo>
                    <a:pt x="1573" y="1747"/>
                    <a:pt x="1565" y="1739"/>
                    <a:pt x="1557" y="1731"/>
                  </a:cubicBezTo>
                  <a:cubicBezTo>
                    <a:pt x="1557" y="1731"/>
                    <a:pt x="1541" y="1724"/>
                    <a:pt x="1517" y="1724"/>
                  </a:cubicBezTo>
                  <a:cubicBezTo>
                    <a:pt x="1494" y="1724"/>
                    <a:pt x="1478" y="1724"/>
                    <a:pt x="1470" y="1731"/>
                  </a:cubicBezTo>
                  <a:cubicBezTo>
                    <a:pt x="1462" y="1739"/>
                    <a:pt x="1462" y="1747"/>
                    <a:pt x="1462" y="1763"/>
                  </a:cubicBezTo>
                  <a:cubicBezTo>
                    <a:pt x="1470" y="1771"/>
                    <a:pt x="1470" y="1787"/>
                    <a:pt x="1462" y="1802"/>
                  </a:cubicBezTo>
                  <a:cubicBezTo>
                    <a:pt x="1462" y="1810"/>
                    <a:pt x="1438" y="1818"/>
                    <a:pt x="1414" y="1818"/>
                  </a:cubicBezTo>
                  <a:cubicBezTo>
                    <a:pt x="1391" y="1818"/>
                    <a:pt x="1359" y="1810"/>
                    <a:pt x="1335" y="1810"/>
                  </a:cubicBezTo>
                  <a:cubicBezTo>
                    <a:pt x="1312" y="1802"/>
                    <a:pt x="1304" y="1795"/>
                    <a:pt x="1304" y="1795"/>
                  </a:cubicBezTo>
                  <a:cubicBezTo>
                    <a:pt x="1296" y="1787"/>
                    <a:pt x="1296" y="1779"/>
                    <a:pt x="1280" y="1779"/>
                  </a:cubicBezTo>
                  <a:cubicBezTo>
                    <a:pt x="1272" y="1771"/>
                    <a:pt x="1256" y="1771"/>
                    <a:pt x="1248" y="1771"/>
                  </a:cubicBezTo>
                  <a:cubicBezTo>
                    <a:pt x="1241" y="1779"/>
                    <a:pt x="1225" y="1779"/>
                    <a:pt x="1217" y="1771"/>
                  </a:cubicBezTo>
                  <a:cubicBezTo>
                    <a:pt x="1185" y="1771"/>
                    <a:pt x="1185" y="1755"/>
                    <a:pt x="1177" y="1739"/>
                  </a:cubicBezTo>
                  <a:cubicBezTo>
                    <a:pt x="1177" y="1739"/>
                    <a:pt x="1170" y="1739"/>
                    <a:pt x="1170" y="1731"/>
                  </a:cubicBezTo>
                  <a:cubicBezTo>
                    <a:pt x="1170" y="1724"/>
                    <a:pt x="1170" y="1715"/>
                    <a:pt x="1170" y="1715"/>
                  </a:cubicBezTo>
                  <a:cubicBezTo>
                    <a:pt x="1177" y="1708"/>
                    <a:pt x="1193" y="1708"/>
                    <a:pt x="1209" y="1708"/>
                  </a:cubicBezTo>
                  <a:cubicBezTo>
                    <a:pt x="1217" y="1708"/>
                    <a:pt x="1225" y="1700"/>
                    <a:pt x="1225" y="1700"/>
                  </a:cubicBezTo>
                  <a:cubicBezTo>
                    <a:pt x="1225" y="1692"/>
                    <a:pt x="1225" y="1684"/>
                    <a:pt x="1217" y="1684"/>
                  </a:cubicBezTo>
                  <a:cubicBezTo>
                    <a:pt x="1201" y="1668"/>
                    <a:pt x="1193" y="1660"/>
                    <a:pt x="1177" y="1660"/>
                  </a:cubicBezTo>
                  <a:cubicBezTo>
                    <a:pt x="1161" y="1652"/>
                    <a:pt x="1114" y="1637"/>
                    <a:pt x="1090" y="1637"/>
                  </a:cubicBezTo>
                  <a:cubicBezTo>
                    <a:pt x="1067" y="1637"/>
                    <a:pt x="1059" y="1621"/>
                    <a:pt x="1051" y="1589"/>
                  </a:cubicBezTo>
                  <a:cubicBezTo>
                    <a:pt x="1043" y="1573"/>
                    <a:pt x="1043" y="1565"/>
                    <a:pt x="1019" y="1549"/>
                  </a:cubicBezTo>
                  <a:cubicBezTo>
                    <a:pt x="1011" y="1549"/>
                    <a:pt x="1011" y="1542"/>
                    <a:pt x="1003" y="1542"/>
                  </a:cubicBezTo>
                  <a:cubicBezTo>
                    <a:pt x="995" y="1534"/>
                    <a:pt x="988" y="1526"/>
                    <a:pt x="980" y="1526"/>
                  </a:cubicBezTo>
                  <a:cubicBezTo>
                    <a:pt x="980" y="1526"/>
                    <a:pt x="980" y="1534"/>
                    <a:pt x="980" y="1542"/>
                  </a:cubicBezTo>
                  <a:cubicBezTo>
                    <a:pt x="980" y="1542"/>
                    <a:pt x="972" y="1557"/>
                    <a:pt x="964" y="1557"/>
                  </a:cubicBezTo>
                  <a:cubicBezTo>
                    <a:pt x="956" y="1565"/>
                    <a:pt x="948" y="1565"/>
                    <a:pt x="948" y="1565"/>
                  </a:cubicBezTo>
                  <a:cubicBezTo>
                    <a:pt x="932" y="1565"/>
                    <a:pt x="932" y="1542"/>
                    <a:pt x="932" y="1518"/>
                  </a:cubicBezTo>
                  <a:cubicBezTo>
                    <a:pt x="932" y="1510"/>
                    <a:pt x="924" y="1510"/>
                    <a:pt x="924" y="1510"/>
                  </a:cubicBezTo>
                  <a:cubicBezTo>
                    <a:pt x="908" y="1510"/>
                    <a:pt x="893" y="1518"/>
                    <a:pt x="885" y="1526"/>
                  </a:cubicBezTo>
                  <a:cubicBezTo>
                    <a:pt x="877" y="1534"/>
                    <a:pt x="869" y="1534"/>
                    <a:pt x="869" y="1534"/>
                  </a:cubicBezTo>
                  <a:cubicBezTo>
                    <a:pt x="861" y="1534"/>
                    <a:pt x="853" y="1534"/>
                    <a:pt x="830" y="1542"/>
                  </a:cubicBezTo>
                  <a:cubicBezTo>
                    <a:pt x="830" y="1542"/>
                    <a:pt x="830" y="1549"/>
                    <a:pt x="821" y="1549"/>
                  </a:cubicBezTo>
                  <a:cubicBezTo>
                    <a:pt x="830" y="1549"/>
                    <a:pt x="845" y="1565"/>
                    <a:pt x="853" y="1597"/>
                  </a:cubicBezTo>
                  <a:cubicBezTo>
                    <a:pt x="853" y="1605"/>
                    <a:pt x="845" y="1613"/>
                    <a:pt x="845" y="1621"/>
                  </a:cubicBezTo>
                  <a:cubicBezTo>
                    <a:pt x="821" y="1644"/>
                    <a:pt x="766" y="1652"/>
                    <a:pt x="727" y="1652"/>
                  </a:cubicBezTo>
                  <a:cubicBezTo>
                    <a:pt x="671" y="1652"/>
                    <a:pt x="608" y="1644"/>
                    <a:pt x="592" y="1628"/>
                  </a:cubicBezTo>
                  <a:cubicBezTo>
                    <a:pt x="561" y="1613"/>
                    <a:pt x="379" y="1557"/>
                    <a:pt x="355" y="1557"/>
                  </a:cubicBezTo>
                  <a:cubicBezTo>
                    <a:pt x="347" y="1557"/>
                    <a:pt x="339" y="1557"/>
                    <a:pt x="339" y="1549"/>
                  </a:cubicBezTo>
                  <a:cubicBezTo>
                    <a:pt x="339" y="1542"/>
                    <a:pt x="339" y="1534"/>
                    <a:pt x="339" y="1526"/>
                  </a:cubicBezTo>
                  <a:cubicBezTo>
                    <a:pt x="331" y="1518"/>
                    <a:pt x="331" y="1510"/>
                    <a:pt x="331" y="1510"/>
                  </a:cubicBezTo>
                  <a:cubicBezTo>
                    <a:pt x="331" y="1502"/>
                    <a:pt x="339" y="1502"/>
                    <a:pt x="355" y="1494"/>
                  </a:cubicBezTo>
                  <a:cubicBezTo>
                    <a:pt x="355" y="1494"/>
                    <a:pt x="355" y="1494"/>
                    <a:pt x="363" y="1494"/>
                  </a:cubicBezTo>
                  <a:lnTo>
                    <a:pt x="371" y="1494"/>
                  </a:lnTo>
                  <a:cubicBezTo>
                    <a:pt x="371" y="1486"/>
                    <a:pt x="371" y="1478"/>
                    <a:pt x="371" y="1478"/>
                  </a:cubicBezTo>
                  <a:cubicBezTo>
                    <a:pt x="371" y="1478"/>
                    <a:pt x="363" y="1478"/>
                    <a:pt x="363" y="1471"/>
                  </a:cubicBezTo>
                  <a:cubicBezTo>
                    <a:pt x="363" y="1462"/>
                    <a:pt x="355" y="1455"/>
                    <a:pt x="347" y="1439"/>
                  </a:cubicBezTo>
                  <a:cubicBezTo>
                    <a:pt x="339" y="1431"/>
                    <a:pt x="339" y="1431"/>
                    <a:pt x="339" y="1431"/>
                  </a:cubicBezTo>
                  <a:cubicBezTo>
                    <a:pt x="339" y="1431"/>
                    <a:pt x="339" y="1439"/>
                    <a:pt x="331" y="1447"/>
                  </a:cubicBezTo>
                  <a:lnTo>
                    <a:pt x="331" y="1455"/>
                  </a:lnTo>
                  <a:cubicBezTo>
                    <a:pt x="324" y="1462"/>
                    <a:pt x="331" y="1471"/>
                    <a:pt x="331" y="1471"/>
                  </a:cubicBezTo>
                  <a:cubicBezTo>
                    <a:pt x="331" y="1478"/>
                    <a:pt x="331" y="1486"/>
                    <a:pt x="331" y="1494"/>
                  </a:cubicBezTo>
                  <a:cubicBezTo>
                    <a:pt x="331" y="1502"/>
                    <a:pt x="324" y="1510"/>
                    <a:pt x="316" y="1510"/>
                  </a:cubicBezTo>
                  <a:cubicBezTo>
                    <a:pt x="324" y="1518"/>
                    <a:pt x="331" y="1542"/>
                    <a:pt x="324" y="1557"/>
                  </a:cubicBezTo>
                  <a:cubicBezTo>
                    <a:pt x="324" y="1573"/>
                    <a:pt x="292" y="1573"/>
                    <a:pt x="253" y="1573"/>
                  </a:cubicBezTo>
                  <a:cubicBezTo>
                    <a:pt x="244" y="1573"/>
                    <a:pt x="229" y="1573"/>
                    <a:pt x="213" y="1573"/>
                  </a:cubicBezTo>
                  <a:cubicBezTo>
                    <a:pt x="181" y="1573"/>
                    <a:pt x="165" y="1581"/>
                    <a:pt x="150" y="1589"/>
                  </a:cubicBezTo>
                  <a:cubicBezTo>
                    <a:pt x="142" y="1597"/>
                    <a:pt x="134" y="1597"/>
                    <a:pt x="126" y="1597"/>
                  </a:cubicBezTo>
                  <a:cubicBezTo>
                    <a:pt x="126" y="1605"/>
                    <a:pt x="126" y="1605"/>
                    <a:pt x="126" y="1605"/>
                  </a:cubicBezTo>
                  <a:cubicBezTo>
                    <a:pt x="126" y="1597"/>
                    <a:pt x="126" y="1597"/>
                    <a:pt x="126" y="1597"/>
                  </a:cubicBezTo>
                  <a:cubicBezTo>
                    <a:pt x="126" y="1597"/>
                    <a:pt x="118" y="1589"/>
                    <a:pt x="110" y="1581"/>
                  </a:cubicBezTo>
                  <a:lnTo>
                    <a:pt x="110" y="1581"/>
                  </a:lnTo>
                  <a:cubicBezTo>
                    <a:pt x="94" y="1573"/>
                    <a:pt x="86" y="1565"/>
                    <a:pt x="94" y="1542"/>
                  </a:cubicBezTo>
                  <a:cubicBezTo>
                    <a:pt x="102" y="1526"/>
                    <a:pt x="110" y="1518"/>
                    <a:pt x="134" y="1494"/>
                  </a:cubicBezTo>
                  <a:cubicBezTo>
                    <a:pt x="142" y="1486"/>
                    <a:pt x="150" y="1471"/>
                    <a:pt x="150" y="1462"/>
                  </a:cubicBezTo>
                  <a:cubicBezTo>
                    <a:pt x="150" y="1455"/>
                    <a:pt x="150" y="1439"/>
                    <a:pt x="158" y="1431"/>
                  </a:cubicBezTo>
                  <a:cubicBezTo>
                    <a:pt x="165" y="1431"/>
                    <a:pt x="165" y="1423"/>
                    <a:pt x="173" y="1423"/>
                  </a:cubicBezTo>
                  <a:cubicBezTo>
                    <a:pt x="181" y="1423"/>
                    <a:pt x="181" y="1415"/>
                    <a:pt x="181" y="1407"/>
                  </a:cubicBezTo>
                  <a:lnTo>
                    <a:pt x="181" y="1399"/>
                  </a:lnTo>
                  <a:cubicBezTo>
                    <a:pt x="181" y="1384"/>
                    <a:pt x="181" y="1368"/>
                    <a:pt x="173" y="1352"/>
                  </a:cubicBezTo>
                  <a:cubicBezTo>
                    <a:pt x="173" y="1344"/>
                    <a:pt x="165" y="1344"/>
                    <a:pt x="165" y="1336"/>
                  </a:cubicBezTo>
                  <a:cubicBezTo>
                    <a:pt x="158" y="1320"/>
                    <a:pt x="150" y="1312"/>
                    <a:pt x="150" y="1297"/>
                  </a:cubicBezTo>
                  <a:lnTo>
                    <a:pt x="150" y="1289"/>
                  </a:lnTo>
                  <a:cubicBezTo>
                    <a:pt x="158" y="1273"/>
                    <a:pt x="165" y="1249"/>
                    <a:pt x="173" y="1249"/>
                  </a:cubicBezTo>
                  <a:cubicBezTo>
                    <a:pt x="181" y="1249"/>
                    <a:pt x="181" y="1249"/>
                    <a:pt x="181" y="1249"/>
                  </a:cubicBezTo>
                  <a:cubicBezTo>
                    <a:pt x="181" y="1241"/>
                    <a:pt x="181" y="1233"/>
                    <a:pt x="173" y="1218"/>
                  </a:cubicBezTo>
                  <a:cubicBezTo>
                    <a:pt x="173" y="1210"/>
                    <a:pt x="165" y="1210"/>
                    <a:pt x="158" y="1210"/>
                  </a:cubicBezTo>
                  <a:lnTo>
                    <a:pt x="150" y="1202"/>
                  </a:lnTo>
                  <a:cubicBezTo>
                    <a:pt x="150" y="1194"/>
                    <a:pt x="150" y="1186"/>
                    <a:pt x="158" y="1178"/>
                  </a:cubicBezTo>
                  <a:cubicBezTo>
                    <a:pt x="165" y="1170"/>
                    <a:pt x="173" y="1162"/>
                    <a:pt x="181" y="1162"/>
                  </a:cubicBezTo>
                  <a:cubicBezTo>
                    <a:pt x="189" y="1154"/>
                    <a:pt x="197" y="1146"/>
                    <a:pt x="205" y="1123"/>
                  </a:cubicBezTo>
                  <a:cubicBezTo>
                    <a:pt x="229" y="1083"/>
                    <a:pt x="229" y="1051"/>
                    <a:pt x="229" y="1036"/>
                  </a:cubicBezTo>
                  <a:cubicBezTo>
                    <a:pt x="229" y="1036"/>
                    <a:pt x="229" y="1036"/>
                    <a:pt x="221" y="1028"/>
                  </a:cubicBezTo>
                  <a:cubicBezTo>
                    <a:pt x="221" y="1012"/>
                    <a:pt x="221" y="996"/>
                    <a:pt x="229" y="972"/>
                  </a:cubicBezTo>
                  <a:cubicBezTo>
                    <a:pt x="229" y="949"/>
                    <a:pt x="229" y="909"/>
                    <a:pt x="213" y="885"/>
                  </a:cubicBezTo>
                  <a:cubicBezTo>
                    <a:pt x="205" y="870"/>
                    <a:pt x="197" y="870"/>
                    <a:pt x="189" y="862"/>
                  </a:cubicBezTo>
                  <a:cubicBezTo>
                    <a:pt x="181" y="862"/>
                    <a:pt x="165" y="854"/>
                    <a:pt x="165" y="830"/>
                  </a:cubicBezTo>
                  <a:cubicBezTo>
                    <a:pt x="173" y="783"/>
                    <a:pt x="150" y="759"/>
                    <a:pt x="134" y="751"/>
                  </a:cubicBezTo>
                  <a:cubicBezTo>
                    <a:pt x="134" y="743"/>
                    <a:pt x="126" y="743"/>
                    <a:pt x="126" y="743"/>
                  </a:cubicBezTo>
                  <a:cubicBezTo>
                    <a:pt x="110" y="735"/>
                    <a:pt x="102" y="727"/>
                    <a:pt x="110" y="704"/>
                  </a:cubicBezTo>
                  <a:cubicBezTo>
                    <a:pt x="110" y="696"/>
                    <a:pt x="110" y="696"/>
                    <a:pt x="110" y="688"/>
                  </a:cubicBezTo>
                  <a:cubicBezTo>
                    <a:pt x="118" y="672"/>
                    <a:pt x="118" y="664"/>
                    <a:pt x="110" y="640"/>
                  </a:cubicBezTo>
                  <a:cubicBezTo>
                    <a:pt x="102" y="625"/>
                    <a:pt x="86" y="609"/>
                    <a:pt x="78" y="593"/>
                  </a:cubicBezTo>
                  <a:cubicBezTo>
                    <a:pt x="71" y="585"/>
                    <a:pt x="63" y="577"/>
                    <a:pt x="55" y="569"/>
                  </a:cubicBezTo>
                  <a:cubicBezTo>
                    <a:pt x="39" y="545"/>
                    <a:pt x="7" y="530"/>
                    <a:pt x="7" y="530"/>
                  </a:cubicBezTo>
                  <a:lnTo>
                    <a:pt x="7" y="530"/>
                  </a:lnTo>
                  <a:lnTo>
                    <a:pt x="7" y="530"/>
                  </a:lnTo>
                  <a:cubicBezTo>
                    <a:pt x="0" y="32"/>
                    <a:pt x="0" y="32"/>
                    <a:pt x="0" y="32"/>
                  </a:cubicBezTo>
                  <a:lnTo>
                    <a:pt x="0" y="32"/>
                  </a:lnTo>
                  <a:cubicBezTo>
                    <a:pt x="1138" y="0"/>
                    <a:pt x="1138" y="0"/>
                    <a:pt x="1138" y="0"/>
                  </a:cubicBezTo>
                  <a:lnTo>
                    <a:pt x="1138" y="0"/>
                  </a:lnTo>
                  <a:cubicBezTo>
                    <a:pt x="1146" y="24"/>
                    <a:pt x="1154" y="32"/>
                    <a:pt x="1161" y="40"/>
                  </a:cubicBezTo>
                  <a:cubicBezTo>
                    <a:pt x="1161" y="48"/>
                    <a:pt x="1170" y="48"/>
                    <a:pt x="1170" y="55"/>
                  </a:cubicBezTo>
                  <a:cubicBezTo>
                    <a:pt x="1170" y="63"/>
                    <a:pt x="1161" y="79"/>
                    <a:pt x="1154" y="95"/>
                  </a:cubicBezTo>
                  <a:cubicBezTo>
                    <a:pt x="1146" y="103"/>
                    <a:pt x="1146" y="119"/>
                    <a:pt x="1146" y="127"/>
                  </a:cubicBezTo>
                  <a:cubicBezTo>
                    <a:pt x="1154" y="134"/>
                    <a:pt x="1154" y="142"/>
                    <a:pt x="1154" y="158"/>
                  </a:cubicBezTo>
                  <a:cubicBezTo>
                    <a:pt x="1154" y="190"/>
                    <a:pt x="1161" y="206"/>
                    <a:pt x="1185" y="206"/>
                  </a:cubicBezTo>
                  <a:lnTo>
                    <a:pt x="1185" y="206"/>
                  </a:lnTo>
                  <a:lnTo>
                    <a:pt x="1185" y="206"/>
                  </a:lnTo>
                  <a:cubicBezTo>
                    <a:pt x="1185" y="206"/>
                    <a:pt x="1201" y="221"/>
                    <a:pt x="1193" y="245"/>
                  </a:cubicBezTo>
                  <a:cubicBezTo>
                    <a:pt x="1193" y="253"/>
                    <a:pt x="1193" y="261"/>
                    <a:pt x="1193" y="261"/>
                  </a:cubicBezTo>
                  <a:cubicBezTo>
                    <a:pt x="1185" y="269"/>
                    <a:pt x="1185" y="269"/>
                    <a:pt x="1185" y="269"/>
                  </a:cubicBezTo>
                  <a:cubicBezTo>
                    <a:pt x="1185" y="277"/>
                    <a:pt x="1201" y="285"/>
                    <a:pt x="1209" y="285"/>
                  </a:cubicBezTo>
                  <a:cubicBezTo>
                    <a:pt x="1217" y="292"/>
                    <a:pt x="1248" y="308"/>
                    <a:pt x="1248" y="324"/>
                  </a:cubicBezTo>
                  <a:cubicBezTo>
                    <a:pt x="1248" y="324"/>
                    <a:pt x="1248" y="332"/>
                    <a:pt x="1241" y="332"/>
                  </a:cubicBezTo>
                  <a:cubicBezTo>
                    <a:pt x="1233" y="332"/>
                    <a:pt x="1225" y="332"/>
                    <a:pt x="1217" y="340"/>
                  </a:cubicBezTo>
                  <a:cubicBezTo>
                    <a:pt x="1193" y="340"/>
                    <a:pt x="1146" y="356"/>
                    <a:pt x="1138" y="364"/>
                  </a:cubicBezTo>
                  <a:cubicBezTo>
                    <a:pt x="1138" y="364"/>
                    <a:pt x="1146" y="372"/>
                    <a:pt x="1154" y="372"/>
                  </a:cubicBezTo>
                  <a:cubicBezTo>
                    <a:pt x="1161" y="380"/>
                    <a:pt x="1177" y="387"/>
                    <a:pt x="1185" y="387"/>
                  </a:cubicBezTo>
                  <a:cubicBezTo>
                    <a:pt x="1201" y="395"/>
                    <a:pt x="1209" y="395"/>
                    <a:pt x="1209" y="419"/>
                  </a:cubicBezTo>
                  <a:cubicBezTo>
                    <a:pt x="1201" y="443"/>
                    <a:pt x="1170" y="506"/>
                    <a:pt x="1154" y="514"/>
                  </a:cubicBezTo>
                  <a:cubicBezTo>
                    <a:pt x="1146" y="522"/>
                    <a:pt x="1146" y="522"/>
                    <a:pt x="1138" y="522"/>
                  </a:cubicBezTo>
                  <a:cubicBezTo>
                    <a:pt x="1130" y="522"/>
                    <a:pt x="1122" y="530"/>
                    <a:pt x="1122" y="545"/>
                  </a:cubicBezTo>
                  <a:cubicBezTo>
                    <a:pt x="1130" y="585"/>
                    <a:pt x="1122" y="593"/>
                    <a:pt x="1114" y="593"/>
                  </a:cubicBezTo>
                  <a:lnTo>
                    <a:pt x="1106" y="593"/>
                  </a:lnTo>
                  <a:cubicBezTo>
                    <a:pt x="1098" y="593"/>
                    <a:pt x="1090" y="593"/>
                    <a:pt x="1083" y="601"/>
                  </a:cubicBezTo>
                  <a:cubicBezTo>
                    <a:pt x="1083" y="601"/>
                    <a:pt x="1083" y="601"/>
                    <a:pt x="1083" y="609"/>
                  </a:cubicBezTo>
                  <a:cubicBezTo>
                    <a:pt x="1083" y="617"/>
                    <a:pt x="1090" y="625"/>
                    <a:pt x="1090" y="625"/>
                  </a:cubicBezTo>
                  <a:cubicBezTo>
                    <a:pt x="1090" y="640"/>
                    <a:pt x="1098" y="648"/>
                    <a:pt x="1083" y="656"/>
                  </a:cubicBezTo>
                  <a:lnTo>
                    <a:pt x="1075" y="656"/>
                  </a:lnTo>
                  <a:cubicBezTo>
                    <a:pt x="1059" y="656"/>
                    <a:pt x="1043" y="664"/>
                    <a:pt x="1043" y="672"/>
                  </a:cubicBezTo>
                  <a:cubicBezTo>
                    <a:pt x="1043" y="680"/>
                    <a:pt x="1043" y="688"/>
                    <a:pt x="1043" y="696"/>
                  </a:cubicBezTo>
                  <a:cubicBezTo>
                    <a:pt x="1043" y="720"/>
                    <a:pt x="1051" y="735"/>
                    <a:pt x="1035" y="743"/>
                  </a:cubicBezTo>
                  <a:cubicBezTo>
                    <a:pt x="1035" y="743"/>
                    <a:pt x="1027" y="743"/>
                    <a:pt x="1027" y="751"/>
                  </a:cubicBezTo>
                  <a:cubicBezTo>
                    <a:pt x="1019" y="751"/>
                    <a:pt x="1019" y="759"/>
                    <a:pt x="1027" y="767"/>
                  </a:cubicBezTo>
                  <a:cubicBezTo>
                    <a:pt x="1035" y="783"/>
                    <a:pt x="1035" y="814"/>
                    <a:pt x="1027" y="830"/>
                  </a:cubicBezTo>
                  <a:cubicBezTo>
                    <a:pt x="1027" y="838"/>
                    <a:pt x="1019" y="838"/>
                    <a:pt x="1019" y="846"/>
                  </a:cubicBezTo>
                  <a:cubicBezTo>
                    <a:pt x="1011" y="846"/>
                    <a:pt x="995" y="854"/>
                    <a:pt x="995" y="862"/>
                  </a:cubicBezTo>
                  <a:cubicBezTo>
                    <a:pt x="988" y="870"/>
                    <a:pt x="995" y="870"/>
                    <a:pt x="995" y="878"/>
                  </a:cubicBezTo>
                  <a:cubicBezTo>
                    <a:pt x="1011" y="901"/>
                    <a:pt x="1027" y="925"/>
                    <a:pt x="1011" y="933"/>
                  </a:cubicBezTo>
                  <a:lnTo>
                    <a:pt x="1011" y="933"/>
                  </a:lnTo>
                  <a:cubicBezTo>
                    <a:pt x="1011" y="941"/>
                    <a:pt x="1003" y="941"/>
                    <a:pt x="1003" y="949"/>
                  </a:cubicBezTo>
                  <a:cubicBezTo>
                    <a:pt x="1003" y="949"/>
                    <a:pt x="1011" y="949"/>
                    <a:pt x="1019" y="949"/>
                  </a:cubicBezTo>
                  <a:cubicBezTo>
                    <a:pt x="1019" y="949"/>
                    <a:pt x="1019" y="949"/>
                    <a:pt x="1027" y="949"/>
                  </a:cubicBezTo>
                  <a:cubicBezTo>
                    <a:pt x="1098" y="949"/>
                    <a:pt x="1747" y="909"/>
                    <a:pt x="1747" y="909"/>
                  </a:cubicBezTo>
                  <a:cubicBezTo>
                    <a:pt x="1754" y="909"/>
                    <a:pt x="1754" y="909"/>
                    <a:pt x="1754" y="909"/>
                  </a:cubicBezTo>
                  <a:lnTo>
                    <a:pt x="1754" y="909"/>
                  </a:lnTo>
                  <a:cubicBezTo>
                    <a:pt x="1754" y="909"/>
                    <a:pt x="1778" y="917"/>
                    <a:pt x="1778" y="933"/>
                  </a:cubicBezTo>
                  <a:lnTo>
                    <a:pt x="1778" y="941"/>
                  </a:lnTo>
                  <a:cubicBezTo>
                    <a:pt x="1770" y="949"/>
                    <a:pt x="1770" y="949"/>
                    <a:pt x="1770" y="949"/>
                  </a:cubicBezTo>
                  <a:cubicBezTo>
                    <a:pt x="1754" y="965"/>
                    <a:pt x="1699" y="1012"/>
                    <a:pt x="1739" y="1067"/>
                  </a:cubicBezTo>
                  <a:cubicBezTo>
                    <a:pt x="1762" y="1091"/>
                    <a:pt x="1770" y="1107"/>
                    <a:pt x="1786" y="1115"/>
                  </a:cubicBezTo>
                  <a:cubicBezTo>
                    <a:pt x="1802" y="1123"/>
                    <a:pt x="1810" y="1138"/>
                    <a:pt x="1818" y="1154"/>
                  </a:cubicBezTo>
                  <a:cubicBezTo>
                    <a:pt x="1826" y="1186"/>
                    <a:pt x="1865" y="1241"/>
                    <a:pt x="1881" y="1265"/>
                  </a:cubicBezTo>
                  <a:cubicBezTo>
                    <a:pt x="1889" y="1281"/>
                    <a:pt x="1897" y="1289"/>
                    <a:pt x="1897" y="1289"/>
                  </a:cubicBezTo>
                  <a:lnTo>
                    <a:pt x="1897" y="1289"/>
                  </a:lnTo>
                  <a:lnTo>
                    <a:pt x="1897" y="1289"/>
                  </a:lnTo>
                  <a:cubicBezTo>
                    <a:pt x="1889" y="1297"/>
                    <a:pt x="1881" y="1297"/>
                    <a:pt x="1881" y="1297"/>
                  </a:cubicBezTo>
                  <a:cubicBezTo>
                    <a:pt x="1873" y="1297"/>
                    <a:pt x="1873" y="1297"/>
                    <a:pt x="1865" y="1297"/>
                  </a:cubicBezTo>
                  <a:cubicBezTo>
                    <a:pt x="1857" y="1297"/>
                    <a:pt x="1849" y="1297"/>
                    <a:pt x="1841" y="1297"/>
                  </a:cubicBezTo>
                  <a:cubicBezTo>
                    <a:pt x="1826" y="1297"/>
                    <a:pt x="1818" y="1297"/>
                    <a:pt x="1802" y="1289"/>
                  </a:cubicBezTo>
                  <a:cubicBezTo>
                    <a:pt x="1786" y="1289"/>
                    <a:pt x="1786" y="1289"/>
                    <a:pt x="1786" y="1289"/>
                  </a:cubicBezTo>
                  <a:cubicBezTo>
                    <a:pt x="1770" y="1289"/>
                    <a:pt x="1762" y="1281"/>
                    <a:pt x="1754" y="1273"/>
                  </a:cubicBezTo>
                  <a:cubicBezTo>
                    <a:pt x="1747" y="1273"/>
                    <a:pt x="1731" y="1265"/>
                    <a:pt x="1707" y="1257"/>
                  </a:cubicBezTo>
                  <a:cubicBezTo>
                    <a:pt x="1675" y="1241"/>
                    <a:pt x="1675" y="1241"/>
                    <a:pt x="1667" y="1233"/>
                  </a:cubicBezTo>
                  <a:cubicBezTo>
                    <a:pt x="1660" y="1233"/>
                    <a:pt x="1652" y="1225"/>
                    <a:pt x="1628" y="1218"/>
                  </a:cubicBezTo>
                  <a:cubicBezTo>
                    <a:pt x="1612" y="1210"/>
                    <a:pt x="1604" y="1202"/>
                    <a:pt x="1596" y="1202"/>
                  </a:cubicBezTo>
                  <a:lnTo>
                    <a:pt x="1596" y="1202"/>
                  </a:lnTo>
                  <a:cubicBezTo>
                    <a:pt x="1596" y="1210"/>
                    <a:pt x="1596" y="1218"/>
                    <a:pt x="1588" y="1225"/>
                  </a:cubicBezTo>
                  <a:lnTo>
                    <a:pt x="1588" y="1225"/>
                  </a:lnTo>
                  <a:cubicBezTo>
                    <a:pt x="1573" y="1249"/>
                    <a:pt x="1533" y="1289"/>
                    <a:pt x="1541" y="1328"/>
                  </a:cubicBezTo>
                  <a:cubicBezTo>
                    <a:pt x="1541" y="1352"/>
                    <a:pt x="1549" y="1352"/>
                    <a:pt x="1557" y="1352"/>
                  </a:cubicBezTo>
                  <a:cubicBezTo>
                    <a:pt x="1557" y="1352"/>
                    <a:pt x="1565" y="1352"/>
                    <a:pt x="1573" y="1344"/>
                  </a:cubicBezTo>
                  <a:cubicBezTo>
                    <a:pt x="1581" y="1344"/>
                    <a:pt x="1588" y="1344"/>
                    <a:pt x="1596" y="1344"/>
                  </a:cubicBezTo>
                  <a:lnTo>
                    <a:pt x="1596" y="1344"/>
                  </a:lnTo>
                  <a:cubicBezTo>
                    <a:pt x="1604" y="1344"/>
                    <a:pt x="1612" y="1344"/>
                    <a:pt x="1612" y="1344"/>
                  </a:cubicBezTo>
                  <a:cubicBezTo>
                    <a:pt x="1620" y="1344"/>
                    <a:pt x="1620" y="1344"/>
                    <a:pt x="1628" y="1344"/>
                  </a:cubicBezTo>
                  <a:cubicBezTo>
                    <a:pt x="1628" y="1344"/>
                    <a:pt x="1636" y="1344"/>
                    <a:pt x="1644" y="1344"/>
                  </a:cubicBezTo>
                  <a:cubicBezTo>
                    <a:pt x="1660" y="1344"/>
                    <a:pt x="1667" y="1352"/>
                    <a:pt x="1675" y="1368"/>
                  </a:cubicBezTo>
                  <a:cubicBezTo>
                    <a:pt x="1683" y="1375"/>
                    <a:pt x="1691" y="1391"/>
                    <a:pt x="1715" y="1399"/>
                  </a:cubicBezTo>
                  <a:cubicBezTo>
                    <a:pt x="1723" y="1407"/>
                    <a:pt x="1723" y="1399"/>
                    <a:pt x="1723" y="1399"/>
                  </a:cubicBezTo>
                  <a:cubicBezTo>
                    <a:pt x="1723" y="1399"/>
                    <a:pt x="1715" y="1384"/>
                    <a:pt x="1699" y="1368"/>
                  </a:cubicBezTo>
                  <a:cubicBezTo>
                    <a:pt x="1691" y="1360"/>
                    <a:pt x="1691" y="1352"/>
                    <a:pt x="1691" y="1344"/>
                  </a:cubicBezTo>
                  <a:cubicBezTo>
                    <a:pt x="1691" y="1328"/>
                    <a:pt x="1723" y="1304"/>
                    <a:pt x="1723" y="1297"/>
                  </a:cubicBezTo>
                  <a:cubicBezTo>
                    <a:pt x="1731" y="1297"/>
                    <a:pt x="1739" y="1297"/>
                    <a:pt x="1747" y="1297"/>
                  </a:cubicBezTo>
                  <a:cubicBezTo>
                    <a:pt x="1762" y="1297"/>
                    <a:pt x="1778" y="1297"/>
                    <a:pt x="1786" y="1297"/>
                  </a:cubicBezTo>
                  <a:cubicBezTo>
                    <a:pt x="1794" y="1304"/>
                    <a:pt x="1802" y="1304"/>
                    <a:pt x="1802" y="1304"/>
                  </a:cubicBezTo>
                  <a:cubicBezTo>
                    <a:pt x="1810" y="1304"/>
                    <a:pt x="1826" y="1312"/>
                    <a:pt x="1826" y="1320"/>
                  </a:cubicBezTo>
                  <a:cubicBezTo>
                    <a:pt x="1834" y="1328"/>
                    <a:pt x="1834" y="1328"/>
                    <a:pt x="1826" y="1336"/>
                  </a:cubicBezTo>
                  <a:cubicBezTo>
                    <a:pt x="1826" y="1344"/>
                    <a:pt x="1818" y="1344"/>
                    <a:pt x="1810" y="1352"/>
                  </a:cubicBezTo>
                  <a:cubicBezTo>
                    <a:pt x="1802" y="1360"/>
                    <a:pt x="1794" y="1360"/>
                    <a:pt x="1786" y="1375"/>
                  </a:cubicBezTo>
                  <a:lnTo>
                    <a:pt x="1786" y="1375"/>
                  </a:lnTo>
                  <a:lnTo>
                    <a:pt x="1794" y="1375"/>
                  </a:lnTo>
                  <a:cubicBezTo>
                    <a:pt x="1802" y="1384"/>
                    <a:pt x="1818" y="1384"/>
                    <a:pt x="1818" y="1399"/>
                  </a:cubicBezTo>
                  <a:cubicBezTo>
                    <a:pt x="1818" y="1415"/>
                    <a:pt x="1818" y="1415"/>
                    <a:pt x="1826" y="1415"/>
                  </a:cubicBezTo>
                  <a:cubicBezTo>
                    <a:pt x="1826" y="1415"/>
                    <a:pt x="1826" y="1415"/>
                    <a:pt x="1834" y="1415"/>
                  </a:cubicBezTo>
                  <a:cubicBezTo>
                    <a:pt x="1834" y="1415"/>
                    <a:pt x="1841" y="1415"/>
                    <a:pt x="1849" y="1415"/>
                  </a:cubicBezTo>
                  <a:lnTo>
                    <a:pt x="1849" y="1415"/>
                  </a:lnTo>
                  <a:lnTo>
                    <a:pt x="1857" y="1415"/>
                  </a:lnTo>
                  <a:cubicBezTo>
                    <a:pt x="1857" y="1415"/>
                    <a:pt x="1857" y="1407"/>
                    <a:pt x="1857" y="1399"/>
                  </a:cubicBezTo>
                  <a:lnTo>
                    <a:pt x="1857" y="1399"/>
                  </a:lnTo>
                  <a:cubicBezTo>
                    <a:pt x="1857" y="1391"/>
                    <a:pt x="1873" y="1352"/>
                    <a:pt x="1873" y="1344"/>
                  </a:cubicBezTo>
                  <a:cubicBezTo>
                    <a:pt x="1873" y="1344"/>
                    <a:pt x="1889" y="1320"/>
                    <a:pt x="1905" y="1320"/>
                  </a:cubicBezTo>
                  <a:cubicBezTo>
                    <a:pt x="1913" y="1320"/>
                    <a:pt x="1913" y="1320"/>
                    <a:pt x="1913" y="1320"/>
                  </a:cubicBezTo>
                  <a:cubicBezTo>
                    <a:pt x="1936" y="1328"/>
                    <a:pt x="1928" y="1344"/>
                    <a:pt x="1928" y="1368"/>
                  </a:cubicBezTo>
                  <a:cubicBezTo>
                    <a:pt x="1928" y="1368"/>
                    <a:pt x="1928" y="1375"/>
                    <a:pt x="1928" y="1384"/>
                  </a:cubicBezTo>
                  <a:cubicBezTo>
                    <a:pt x="1928" y="1391"/>
                    <a:pt x="1936" y="1391"/>
                    <a:pt x="1944" y="1391"/>
                  </a:cubicBezTo>
                  <a:cubicBezTo>
                    <a:pt x="1944" y="1399"/>
                    <a:pt x="1960" y="1399"/>
                    <a:pt x="1960" y="1415"/>
                  </a:cubicBezTo>
                  <a:cubicBezTo>
                    <a:pt x="1968" y="1447"/>
                    <a:pt x="1968" y="1455"/>
                    <a:pt x="1960" y="1471"/>
                  </a:cubicBezTo>
                  <a:cubicBezTo>
                    <a:pt x="1960" y="1478"/>
                    <a:pt x="1952" y="1478"/>
                    <a:pt x="1952" y="1478"/>
                  </a:cubicBezTo>
                  <a:cubicBezTo>
                    <a:pt x="1944" y="1478"/>
                    <a:pt x="1936" y="1478"/>
                    <a:pt x="1928" y="1478"/>
                  </a:cubicBezTo>
                  <a:cubicBezTo>
                    <a:pt x="1928" y="1471"/>
                    <a:pt x="1920" y="1471"/>
                    <a:pt x="1913" y="1471"/>
                  </a:cubicBezTo>
                  <a:lnTo>
                    <a:pt x="1913" y="1471"/>
                  </a:lnTo>
                  <a:cubicBezTo>
                    <a:pt x="1889" y="1471"/>
                    <a:pt x="1873" y="1486"/>
                    <a:pt x="1865" y="1502"/>
                  </a:cubicBezTo>
                  <a:lnTo>
                    <a:pt x="1865" y="1502"/>
                  </a:lnTo>
                  <a:cubicBezTo>
                    <a:pt x="1865" y="1510"/>
                    <a:pt x="1881" y="1510"/>
                    <a:pt x="1889" y="1510"/>
                  </a:cubicBezTo>
                  <a:cubicBezTo>
                    <a:pt x="1897" y="1510"/>
                    <a:pt x="1913" y="1518"/>
                    <a:pt x="1920" y="1518"/>
                  </a:cubicBezTo>
                  <a:lnTo>
                    <a:pt x="1928" y="1526"/>
                  </a:lnTo>
                  <a:cubicBezTo>
                    <a:pt x="1920" y="1534"/>
                    <a:pt x="1905" y="1534"/>
                    <a:pt x="1897" y="1534"/>
                  </a:cubicBezTo>
                  <a:cubicBezTo>
                    <a:pt x="1897" y="1534"/>
                    <a:pt x="1889" y="1534"/>
                    <a:pt x="1881" y="1534"/>
                  </a:cubicBezTo>
                  <a:lnTo>
                    <a:pt x="1881" y="1534"/>
                  </a:lnTo>
                  <a:cubicBezTo>
                    <a:pt x="1857" y="1534"/>
                    <a:pt x="1841" y="1549"/>
                    <a:pt x="1834" y="1557"/>
                  </a:cubicBezTo>
                  <a:cubicBezTo>
                    <a:pt x="1834" y="1565"/>
                    <a:pt x="1841" y="1565"/>
                    <a:pt x="1849" y="1573"/>
                  </a:cubicBezTo>
                  <a:cubicBezTo>
                    <a:pt x="1865" y="1581"/>
                    <a:pt x="1873" y="1589"/>
                    <a:pt x="1889" y="1605"/>
                  </a:cubicBezTo>
                  <a:cubicBezTo>
                    <a:pt x="1905" y="1621"/>
                    <a:pt x="1920" y="1621"/>
                    <a:pt x="1936" y="1628"/>
                  </a:cubicBezTo>
                  <a:cubicBezTo>
                    <a:pt x="1944" y="1628"/>
                    <a:pt x="1952" y="1628"/>
                    <a:pt x="1968" y="1637"/>
                  </a:cubicBezTo>
                  <a:cubicBezTo>
                    <a:pt x="1992" y="1652"/>
                    <a:pt x="2007" y="1652"/>
                    <a:pt x="2023" y="1652"/>
                  </a:cubicBezTo>
                  <a:cubicBezTo>
                    <a:pt x="2031" y="1652"/>
                    <a:pt x="2039" y="1652"/>
                    <a:pt x="2047" y="1652"/>
                  </a:cubicBezTo>
                  <a:cubicBezTo>
                    <a:pt x="2071" y="1660"/>
                    <a:pt x="2078" y="1668"/>
                    <a:pt x="2087" y="1676"/>
                  </a:cubicBezTo>
                  <a:cubicBezTo>
                    <a:pt x="2087" y="1676"/>
                    <a:pt x="2094" y="1684"/>
                    <a:pt x="2102" y="1692"/>
                  </a:cubicBezTo>
                  <a:cubicBezTo>
                    <a:pt x="2118" y="1692"/>
                    <a:pt x="2126" y="1708"/>
                    <a:pt x="2126" y="1715"/>
                  </a:cubicBezTo>
                  <a:cubicBezTo>
                    <a:pt x="2134" y="1724"/>
                    <a:pt x="2126" y="1739"/>
                    <a:pt x="2118" y="1747"/>
                  </a:cubicBezTo>
                  <a:cubicBezTo>
                    <a:pt x="2110" y="1763"/>
                    <a:pt x="2110" y="1763"/>
                    <a:pt x="2102" y="1763"/>
                  </a:cubicBezTo>
                  <a:cubicBezTo>
                    <a:pt x="2102" y="1763"/>
                    <a:pt x="2102" y="1771"/>
                    <a:pt x="2094" y="1779"/>
                  </a:cubicBezTo>
                  <a:cubicBezTo>
                    <a:pt x="2094" y="1787"/>
                    <a:pt x="2094" y="1795"/>
                    <a:pt x="2087" y="1802"/>
                  </a:cubicBezTo>
                  <a:cubicBezTo>
                    <a:pt x="2087" y="1810"/>
                    <a:pt x="2087" y="1818"/>
                    <a:pt x="2078" y="1826"/>
                  </a:cubicBezTo>
                  <a:cubicBezTo>
                    <a:pt x="2071" y="1826"/>
                    <a:pt x="2071" y="1826"/>
                    <a:pt x="2071" y="1826"/>
                  </a:cubicBezTo>
                  <a:cubicBezTo>
                    <a:pt x="2063" y="1826"/>
                    <a:pt x="2055" y="1818"/>
                    <a:pt x="2047" y="1802"/>
                  </a:cubicBezTo>
                  <a:cubicBezTo>
                    <a:pt x="2039" y="1795"/>
                    <a:pt x="2039" y="1795"/>
                    <a:pt x="2039" y="1787"/>
                  </a:cubicBezTo>
                  <a:cubicBezTo>
                    <a:pt x="2039" y="1787"/>
                    <a:pt x="2039" y="1795"/>
                    <a:pt x="2031" y="1795"/>
                  </a:cubicBezTo>
                  <a:cubicBezTo>
                    <a:pt x="2031" y="1802"/>
                    <a:pt x="2023" y="1810"/>
                    <a:pt x="2023" y="1818"/>
                  </a:cubicBezTo>
                  <a:cubicBezTo>
                    <a:pt x="2015" y="1834"/>
                    <a:pt x="2007" y="1850"/>
                    <a:pt x="1992" y="1866"/>
                  </a:cubicBezTo>
                  <a:cubicBezTo>
                    <a:pt x="1984" y="1881"/>
                    <a:pt x="1984" y="1881"/>
                    <a:pt x="1976" y="1881"/>
                  </a:cubicBezTo>
                  <a:close/>
                  <a:moveTo>
                    <a:pt x="1936" y="1708"/>
                  </a:moveTo>
                  <a:lnTo>
                    <a:pt x="1936" y="1708"/>
                  </a:lnTo>
                  <a:cubicBezTo>
                    <a:pt x="1944" y="1708"/>
                    <a:pt x="1944" y="1708"/>
                    <a:pt x="1944" y="1708"/>
                  </a:cubicBezTo>
                  <a:cubicBezTo>
                    <a:pt x="1944" y="1715"/>
                    <a:pt x="1944" y="1715"/>
                    <a:pt x="1944" y="1724"/>
                  </a:cubicBezTo>
                  <a:cubicBezTo>
                    <a:pt x="1944" y="1731"/>
                    <a:pt x="1944" y="1739"/>
                    <a:pt x="1952" y="1755"/>
                  </a:cubicBezTo>
                  <a:cubicBezTo>
                    <a:pt x="1960" y="1763"/>
                    <a:pt x="1968" y="1763"/>
                    <a:pt x="1976" y="1763"/>
                  </a:cubicBezTo>
                  <a:cubicBezTo>
                    <a:pt x="1976" y="1763"/>
                    <a:pt x="1984" y="1763"/>
                    <a:pt x="1992" y="1771"/>
                  </a:cubicBezTo>
                  <a:lnTo>
                    <a:pt x="1992" y="1779"/>
                  </a:lnTo>
                  <a:cubicBezTo>
                    <a:pt x="2000" y="1787"/>
                    <a:pt x="2007" y="1795"/>
                    <a:pt x="1992" y="1810"/>
                  </a:cubicBezTo>
                  <a:cubicBezTo>
                    <a:pt x="1992" y="1818"/>
                    <a:pt x="1992" y="1818"/>
                    <a:pt x="1984" y="1818"/>
                  </a:cubicBezTo>
                  <a:cubicBezTo>
                    <a:pt x="1976" y="1834"/>
                    <a:pt x="1968" y="1834"/>
                    <a:pt x="1976" y="1850"/>
                  </a:cubicBezTo>
                  <a:cubicBezTo>
                    <a:pt x="1976" y="1850"/>
                    <a:pt x="1976" y="1858"/>
                    <a:pt x="1976" y="1866"/>
                  </a:cubicBezTo>
                  <a:lnTo>
                    <a:pt x="1976" y="1874"/>
                  </a:lnTo>
                  <a:lnTo>
                    <a:pt x="1984" y="1866"/>
                  </a:lnTo>
                  <a:cubicBezTo>
                    <a:pt x="2000" y="1850"/>
                    <a:pt x="2007" y="1834"/>
                    <a:pt x="2015" y="1818"/>
                  </a:cubicBezTo>
                  <a:cubicBezTo>
                    <a:pt x="2015" y="1810"/>
                    <a:pt x="2023" y="1802"/>
                    <a:pt x="2023" y="1795"/>
                  </a:cubicBezTo>
                  <a:cubicBezTo>
                    <a:pt x="2031" y="1787"/>
                    <a:pt x="2039" y="1779"/>
                    <a:pt x="2039" y="1779"/>
                  </a:cubicBezTo>
                  <a:cubicBezTo>
                    <a:pt x="2047" y="1779"/>
                    <a:pt x="2047" y="1787"/>
                    <a:pt x="2055" y="1795"/>
                  </a:cubicBezTo>
                  <a:cubicBezTo>
                    <a:pt x="2055" y="1818"/>
                    <a:pt x="2063" y="1826"/>
                    <a:pt x="2071" y="1826"/>
                  </a:cubicBezTo>
                  <a:lnTo>
                    <a:pt x="2071" y="1818"/>
                  </a:lnTo>
                  <a:cubicBezTo>
                    <a:pt x="2078" y="1810"/>
                    <a:pt x="2078" y="1810"/>
                    <a:pt x="2087" y="1795"/>
                  </a:cubicBezTo>
                  <a:cubicBezTo>
                    <a:pt x="2087" y="1795"/>
                    <a:pt x="2087" y="1787"/>
                    <a:pt x="2087" y="1779"/>
                  </a:cubicBezTo>
                  <a:cubicBezTo>
                    <a:pt x="2094" y="1763"/>
                    <a:pt x="2094" y="1763"/>
                    <a:pt x="2102" y="1755"/>
                  </a:cubicBezTo>
                  <a:cubicBezTo>
                    <a:pt x="2102" y="1755"/>
                    <a:pt x="2110" y="1755"/>
                    <a:pt x="2110" y="1747"/>
                  </a:cubicBezTo>
                  <a:cubicBezTo>
                    <a:pt x="2118" y="1739"/>
                    <a:pt x="2126" y="1724"/>
                    <a:pt x="2118" y="1715"/>
                  </a:cubicBezTo>
                  <a:cubicBezTo>
                    <a:pt x="2118" y="1708"/>
                    <a:pt x="2110" y="1700"/>
                    <a:pt x="2102" y="1692"/>
                  </a:cubicBezTo>
                  <a:cubicBezTo>
                    <a:pt x="2087" y="1692"/>
                    <a:pt x="2087" y="1684"/>
                    <a:pt x="2078" y="1676"/>
                  </a:cubicBezTo>
                  <a:cubicBezTo>
                    <a:pt x="2071" y="1668"/>
                    <a:pt x="2071" y="1668"/>
                    <a:pt x="2047" y="1660"/>
                  </a:cubicBezTo>
                  <a:cubicBezTo>
                    <a:pt x="2039" y="1660"/>
                    <a:pt x="2031" y="1660"/>
                    <a:pt x="2023" y="1660"/>
                  </a:cubicBezTo>
                  <a:cubicBezTo>
                    <a:pt x="2007" y="1660"/>
                    <a:pt x="1992" y="1652"/>
                    <a:pt x="1968" y="1644"/>
                  </a:cubicBezTo>
                  <a:cubicBezTo>
                    <a:pt x="1952" y="1637"/>
                    <a:pt x="1944" y="1637"/>
                    <a:pt x="1936" y="1637"/>
                  </a:cubicBezTo>
                  <a:cubicBezTo>
                    <a:pt x="1913" y="1628"/>
                    <a:pt x="1905" y="1628"/>
                    <a:pt x="1881" y="1605"/>
                  </a:cubicBezTo>
                  <a:cubicBezTo>
                    <a:pt x="1873" y="1597"/>
                    <a:pt x="1857" y="1589"/>
                    <a:pt x="1849" y="1581"/>
                  </a:cubicBezTo>
                  <a:cubicBezTo>
                    <a:pt x="1834" y="1573"/>
                    <a:pt x="1826" y="1573"/>
                    <a:pt x="1834" y="1557"/>
                  </a:cubicBezTo>
                  <a:cubicBezTo>
                    <a:pt x="1834" y="1542"/>
                    <a:pt x="1857" y="1526"/>
                    <a:pt x="1881" y="1526"/>
                  </a:cubicBezTo>
                  <a:cubicBezTo>
                    <a:pt x="1881" y="1526"/>
                    <a:pt x="1881" y="1526"/>
                    <a:pt x="1889" y="1526"/>
                  </a:cubicBezTo>
                  <a:lnTo>
                    <a:pt x="1897" y="1526"/>
                  </a:lnTo>
                  <a:cubicBezTo>
                    <a:pt x="1913" y="1526"/>
                    <a:pt x="1913" y="1526"/>
                    <a:pt x="1920" y="1526"/>
                  </a:cubicBezTo>
                  <a:lnTo>
                    <a:pt x="1913" y="1526"/>
                  </a:lnTo>
                  <a:cubicBezTo>
                    <a:pt x="1905" y="1526"/>
                    <a:pt x="1897" y="1518"/>
                    <a:pt x="1889" y="1518"/>
                  </a:cubicBezTo>
                  <a:cubicBezTo>
                    <a:pt x="1873" y="1518"/>
                    <a:pt x="1865" y="1518"/>
                    <a:pt x="1857" y="1510"/>
                  </a:cubicBezTo>
                  <a:cubicBezTo>
                    <a:pt x="1857" y="1510"/>
                    <a:pt x="1857" y="1502"/>
                    <a:pt x="1865" y="1502"/>
                  </a:cubicBezTo>
                  <a:cubicBezTo>
                    <a:pt x="1873" y="1478"/>
                    <a:pt x="1889" y="1462"/>
                    <a:pt x="1913" y="1462"/>
                  </a:cubicBezTo>
                  <a:cubicBezTo>
                    <a:pt x="1920" y="1462"/>
                    <a:pt x="1928" y="1462"/>
                    <a:pt x="1936" y="1471"/>
                  </a:cubicBezTo>
                  <a:cubicBezTo>
                    <a:pt x="1944" y="1471"/>
                    <a:pt x="1944" y="1471"/>
                    <a:pt x="1952" y="1471"/>
                  </a:cubicBezTo>
                  <a:lnTo>
                    <a:pt x="1952" y="1471"/>
                  </a:lnTo>
                  <a:cubicBezTo>
                    <a:pt x="1960" y="1455"/>
                    <a:pt x="1960" y="1447"/>
                    <a:pt x="1952" y="1423"/>
                  </a:cubicBezTo>
                  <a:cubicBezTo>
                    <a:pt x="1952" y="1407"/>
                    <a:pt x="1944" y="1407"/>
                    <a:pt x="1936" y="1399"/>
                  </a:cubicBezTo>
                  <a:cubicBezTo>
                    <a:pt x="1928" y="1399"/>
                    <a:pt x="1920" y="1399"/>
                    <a:pt x="1920" y="1384"/>
                  </a:cubicBezTo>
                  <a:cubicBezTo>
                    <a:pt x="1920" y="1375"/>
                    <a:pt x="1920" y="1368"/>
                    <a:pt x="1920" y="1360"/>
                  </a:cubicBezTo>
                  <a:cubicBezTo>
                    <a:pt x="1920" y="1344"/>
                    <a:pt x="1920" y="1328"/>
                    <a:pt x="1913" y="1328"/>
                  </a:cubicBezTo>
                  <a:cubicBezTo>
                    <a:pt x="1913" y="1328"/>
                    <a:pt x="1913" y="1328"/>
                    <a:pt x="1905" y="1328"/>
                  </a:cubicBezTo>
                  <a:cubicBezTo>
                    <a:pt x="1897" y="1328"/>
                    <a:pt x="1881" y="1344"/>
                    <a:pt x="1881" y="1344"/>
                  </a:cubicBezTo>
                  <a:cubicBezTo>
                    <a:pt x="1873" y="1360"/>
                    <a:pt x="1865" y="1391"/>
                    <a:pt x="1865" y="1399"/>
                  </a:cubicBezTo>
                  <a:lnTo>
                    <a:pt x="1865" y="1399"/>
                  </a:lnTo>
                  <a:cubicBezTo>
                    <a:pt x="1865" y="1407"/>
                    <a:pt x="1865" y="1415"/>
                    <a:pt x="1857" y="1423"/>
                  </a:cubicBezTo>
                  <a:lnTo>
                    <a:pt x="1849" y="1423"/>
                  </a:lnTo>
                  <a:cubicBezTo>
                    <a:pt x="1841" y="1423"/>
                    <a:pt x="1834" y="1423"/>
                    <a:pt x="1834" y="1423"/>
                  </a:cubicBezTo>
                  <a:cubicBezTo>
                    <a:pt x="1826" y="1423"/>
                    <a:pt x="1826" y="1423"/>
                    <a:pt x="1826" y="1423"/>
                  </a:cubicBezTo>
                  <a:cubicBezTo>
                    <a:pt x="1818" y="1423"/>
                    <a:pt x="1810" y="1415"/>
                    <a:pt x="1810" y="1399"/>
                  </a:cubicBezTo>
                  <a:cubicBezTo>
                    <a:pt x="1810" y="1391"/>
                    <a:pt x="1802" y="1384"/>
                    <a:pt x="1794" y="1384"/>
                  </a:cubicBezTo>
                  <a:cubicBezTo>
                    <a:pt x="1786" y="1384"/>
                    <a:pt x="1778" y="1384"/>
                    <a:pt x="1778" y="1384"/>
                  </a:cubicBezTo>
                  <a:cubicBezTo>
                    <a:pt x="1778" y="1375"/>
                    <a:pt x="1778" y="1375"/>
                    <a:pt x="1778" y="1368"/>
                  </a:cubicBezTo>
                  <a:cubicBezTo>
                    <a:pt x="1786" y="1360"/>
                    <a:pt x="1794" y="1352"/>
                    <a:pt x="1810" y="1344"/>
                  </a:cubicBezTo>
                  <a:cubicBezTo>
                    <a:pt x="1810" y="1336"/>
                    <a:pt x="1818" y="1336"/>
                    <a:pt x="1818" y="1328"/>
                  </a:cubicBezTo>
                  <a:cubicBezTo>
                    <a:pt x="1826" y="1328"/>
                    <a:pt x="1826" y="1328"/>
                    <a:pt x="1826" y="1320"/>
                  </a:cubicBezTo>
                  <a:cubicBezTo>
                    <a:pt x="1818" y="1320"/>
                    <a:pt x="1810" y="1312"/>
                    <a:pt x="1802" y="1312"/>
                  </a:cubicBezTo>
                  <a:cubicBezTo>
                    <a:pt x="1794" y="1312"/>
                    <a:pt x="1794" y="1312"/>
                    <a:pt x="1786" y="1304"/>
                  </a:cubicBezTo>
                  <a:cubicBezTo>
                    <a:pt x="1778" y="1304"/>
                    <a:pt x="1762" y="1304"/>
                    <a:pt x="1747" y="1304"/>
                  </a:cubicBezTo>
                  <a:cubicBezTo>
                    <a:pt x="1739" y="1304"/>
                    <a:pt x="1731" y="1304"/>
                    <a:pt x="1731" y="1304"/>
                  </a:cubicBezTo>
                  <a:cubicBezTo>
                    <a:pt x="1715" y="1312"/>
                    <a:pt x="1699" y="1336"/>
                    <a:pt x="1699" y="1344"/>
                  </a:cubicBezTo>
                  <a:cubicBezTo>
                    <a:pt x="1699" y="1352"/>
                    <a:pt x="1699" y="1360"/>
                    <a:pt x="1699" y="1360"/>
                  </a:cubicBezTo>
                  <a:cubicBezTo>
                    <a:pt x="1715" y="1368"/>
                    <a:pt x="1739" y="1399"/>
                    <a:pt x="1731" y="1407"/>
                  </a:cubicBezTo>
                  <a:cubicBezTo>
                    <a:pt x="1731" y="1407"/>
                    <a:pt x="1731" y="1407"/>
                    <a:pt x="1723" y="1407"/>
                  </a:cubicBezTo>
                  <a:cubicBezTo>
                    <a:pt x="1723" y="1407"/>
                    <a:pt x="1715" y="1407"/>
                    <a:pt x="1707" y="1407"/>
                  </a:cubicBezTo>
                  <a:cubicBezTo>
                    <a:pt x="1691" y="1399"/>
                    <a:pt x="1675" y="1384"/>
                    <a:pt x="1667" y="1368"/>
                  </a:cubicBezTo>
                  <a:cubicBezTo>
                    <a:pt x="1660" y="1360"/>
                    <a:pt x="1652" y="1352"/>
                    <a:pt x="1644" y="1352"/>
                  </a:cubicBezTo>
                  <a:cubicBezTo>
                    <a:pt x="1636" y="1352"/>
                    <a:pt x="1636" y="1352"/>
                    <a:pt x="1628" y="1352"/>
                  </a:cubicBezTo>
                  <a:cubicBezTo>
                    <a:pt x="1620" y="1352"/>
                    <a:pt x="1620" y="1352"/>
                    <a:pt x="1612" y="1352"/>
                  </a:cubicBezTo>
                  <a:cubicBezTo>
                    <a:pt x="1612" y="1352"/>
                    <a:pt x="1604" y="1352"/>
                    <a:pt x="1596" y="1352"/>
                  </a:cubicBezTo>
                  <a:cubicBezTo>
                    <a:pt x="1588" y="1344"/>
                    <a:pt x="1581" y="1352"/>
                    <a:pt x="1573" y="1352"/>
                  </a:cubicBezTo>
                  <a:cubicBezTo>
                    <a:pt x="1573" y="1352"/>
                    <a:pt x="1565" y="1360"/>
                    <a:pt x="1557" y="1360"/>
                  </a:cubicBezTo>
                  <a:cubicBezTo>
                    <a:pt x="1541" y="1360"/>
                    <a:pt x="1533" y="1352"/>
                    <a:pt x="1533" y="1336"/>
                  </a:cubicBezTo>
                  <a:cubicBezTo>
                    <a:pt x="1525" y="1289"/>
                    <a:pt x="1565" y="1241"/>
                    <a:pt x="1581" y="1225"/>
                  </a:cubicBezTo>
                  <a:cubicBezTo>
                    <a:pt x="1581" y="1225"/>
                    <a:pt x="1581" y="1218"/>
                    <a:pt x="1588" y="1218"/>
                  </a:cubicBezTo>
                  <a:cubicBezTo>
                    <a:pt x="1588" y="1210"/>
                    <a:pt x="1588" y="1210"/>
                    <a:pt x="1588" y="1202"/>
                  </a:cubicBezTo>
                  <a:lnTo>
                    <a:pt x="1588" y="1194"/>
                  </a:lnTo>
                  <a:lnTo>
                    <a:pt x="1596" y="1194"/>
                  </a:lnTo>
                  <a:cubicBezTo>
                    <a:pt x="1596" y="1194"/>
                    <a:pt x="1604" y="1194"/>
                    <a:pt x="1628" y="1210"/>
                  </a:cubicBezTo>
                  <a:cubicBezTo>
                    <a:pt x="1652" y="1218"/>
                    <a:pt x="1667" y="1225"/>
                    <a:pt x="1667" y="1233"/>
                  </a:cubicBezTo>
                  <a:cubicBezTo>
                    <a:pt x="1675" y="1233"/>
                    <a:pt x="1683" y="1241"/>
                    <a:pt x="1715" y="1249"/>
                  </a:cubicBezTo>
                  <a:cubicBezTo>
                    <a:pt x="1739" y="1257"/>
                    <a:pt x="1747" y="1265"/>
                    <a:pt x="1754" y="1273"/>
                  </a:cubicBezTo>
                  <a:cubicBezTo>
                    <a:pt x="1770" y="1273"/>
                    <a:pt x="1770" y="1281"/>
                    <a:pt x="1794" y="1281"/>
                  </a:cubicBezTo>
                  <a:cubicBezTo>
                    <a:pt x="1802" y="1289"/>
                    <a:pt x="1802" y="1289"/>
                    <a:pt x="1802" y="1289"/>
                  </a:cubicBezTo>
                  <a:cubicBezTo>
                    <a:pt x="1826" y="1289"/>
                    <a:pt x="1841" y="1297"/>
                    <a:pt x="1857" y="1289"/>
                  </a:cubicBezTo>
                  <a:cubicBezTo>
                    <a:pt x="1865" y="1289"/>
                    <a:pt x="1873" y="1289"/>
                    <a:pt x="1881" y="1289"/>
                  </a:cubicBezTo>
                  <a:cubicBezTo>
                    <a:pt x="1881" y="1289"/>
                    <a:pt x="1881" y="1289"/>
                    <a:pt x="1889" y="1289"/>
                  </a:cubicBezTo>
                  <a:cubicBezTo>
                    <a:pt x="1889" y="1281"/>
                    <a:pt x="1881" y="1281"/>
                    <a:pt x="1873" y="1273"/>
                  </a:cubicBezTo>
                  <a:cubicBezTo>
                    <a:pt x="1857" y="1241"/>
                    <a:pt x="1818" y="1186"/>
                    <a:pt x="1810" y="1162"/>
                  </a:cubicBezTo>
                  <a:cubicBezTo>
                    <a:pt x="1802" y="1138"/>
                    <a:pt x="1794" y="1131"/>
                    <a:pt x="1778" y="1123"/>
                  </a:cubicBezTo>
                  <a:cubicBezTo>
                    <a:pt x="1770" y="1107"/>
                    <a:pt x="1754" y="1099"/>
                    <a:pt x="1739" y="1067"/>
                  </a:cubicBezTo>
                  <a:cubicBezTo>
                    <a:pt x="1691" y="1012"/>
                    <a:pt x="1747" y="957"/>
                    <a:pt x="1770" y="941"/>
                  </a:cubicBezTo>
                  <a:lnTo>
                    <a:pt x="1770" y="941"/>
                  </a:lnTo>
                  <a:cubicBezTo>
                    <a:pt x="1778" y="933"/>
                    <a:pt x="1770" y="933"/>
                    <a:pt x="1770" y="933"/>
                  </a:cubicBezTo>
                  <a:cubicBezTo>
                    <a:pt x="1770" y="925"/>
                    <a:pt x="1762" y="917"/>
                    <a:pt x="1747" y="917"/>
                  </a:cubicBezTo>
                  <a:cubicBezTo>
                    <a:pt x="1731" y="917"/>
                    <a:pt x="1098" y="957"/>
                    <a:pt x="1027" y="957"/>
                  </a:cubicBezTo>
                  <a:cubicBezTo>
                    <a:pt x="1019" y="957"/>
                    <a:pt x="1019" y="957"/>
                    <a:pt x="1019" y="957"/>
                  </a:cubicBezTo>
                  <a:cubicBezTo>
                    <a:pt x="1003" y="957"/>
                    <a:pt x="1003" y="949"/>
                    <a:pt x="1003" y="949"/>
                  </a:cubicBezTo>
                  <a:cubicBezTo>
                    <a:pt x="995" y="941"/>
                    <a:pt x="1003" y="941"/>
                    <a:pt x="1003" y="933"/>
                  </a:cubicBezTo>
                  <a:lnTo>
                    <a:pt x="1003" y="933"/>
                  </a:lnTo>
                  <a:cubicBezTo>
                    <a:pt x="1011" y="925"/>
                    <a:pt x="1003" y="901"/>
                    <a:pt x="988" y="885"/>
                  </a:cubicBezTo>
                  <a:cubicBezTo>
                    <a:pt x="988" y="878"/>
                    <a:pt x="980" y="870"/>
                    <a:pt x="988" y="862"/>
                  </a:cubicBezTo>
                  <a:cubicBezTo>
                    <a:pt x="988" y="846"/>
                    <a:pt x="1003" y="838"/>
                    <a:pt x="1011" y="838"/>
                  </a:cubicBezTo>
                  <a:cubicBezTo>
                    <a:pt x="1019" y="838"/>
                    <a:pt x="1019" y="830"/>
                    <a:pt x="1019" y="830"/>
                  </a:cubicBezTo>
                  <a:cubicBezTo>
                    <a:pt x="1027" y="814"/>
                    <a:pt x="1019" y="783"/>
                    <a:pt x="1019" y="775"/>
                  </a:cubicBezTo>
                  <a:cubicBezTo>
                    <a:pt x="1011" y="767"/>
                    <a:pt x="1011" y="759"/>
                    <a:pt x="1019" y="751"/>
                  </a:cubicBezTo>
                  <a:cubicBezTo>
                    <a:pt x="1019" y="743"/>
                    <a:pt x="1027" y="735"/>
                    <a:pt x="1035" y="735"/>
                  </a:cubicBezTo>
                  <a:cubicBezTo>
                    <a:pt x="1043" y="735"/>
                    <a:pt x="1035" y="712"/>
                    <a:pt x="1035" y="696"/>
                  </a:cubicBezTo>
                  <a:cubicBezTo>
                    <a:pt x="1035" y="688"/>
                    <a:pt x="1035" y="680"/>
                    <a:pt x="1035" y="672"/>
                  </a:cubicBezTo>
                  <a:cubicBezTo>
                    <a:pt x="1035" y="656"/>
                    <a:pt x="1059" y="648"/>
                    <a:pt x="1075" y="648"/>
                  </a:cubicBezTo>
                  <a:lnTo>
                    <a:pt x="1083" y="648"/>
                  </a:lnTo>
                  <a:cubicBezTo>
                    <a:pt x="1083" y="648"/>
                    <a:pt x="1083" y="640"/>
                    <a:pt x="1083" y="632"/>
                  </a:cubicBezTo>
                  <a:cubicBezTo>
                    <a:pt x="1083" y="625"/>
                    <a:pt x="1075" y="617"/>
                    <a:pt x="1075" y="609"/>
                  </a:cubicBezTo>
                  <a:cubicBezTo>
                    <a:pt x="1075" y="601"/>
                    <a:pt x="1075" y="593"/>
                    <a:pt x="1083" y="593"/>
                  </a:cubicBezTo>
                  <a:cubicBezTo>
                    <a:pt x="1083" y="585"/>
                    <a:pt x="1098" y="585"/>
                    <a:pt x="1106" y="585"/>
                  </a:cubicBezTo>
                  <a:cubicBezTo>
                    <a:pt x="1106" y="585"/>
                    <a:pt x="1106" y="585"/>
                    <a:pt x="1114" y="585"/>
                  </a:cubicBezTo>
                  <a:cubicBezTo>
                    <a:pt x="1122" y="585"/>
                    <a:pt x="1122" y="569"/>
                    <a:pt x="1114" y="545"/>
                  </a:cubicBezTo>
                  <a:cubicBezTo>
                    <a:pt x="1106" y="522"/>
                    <a:pt x="1122" y="522"/>
                    <a:pt x="1138" y="514"/>
                  </a:cubicBezTo>
                  <a:lnTo>
                    <a:pt x="1146" y="514"/>
                  </a:lnTo>
                  <a:cubicBezTo>
                    <a:pt x="1161" y="506"/>
                    <a:pt x="1193" y="443"/>
                    <a:pt x="1201" y="419"/>
                  </a:cubicBezTo>
                  <a:cubicBezTo>
                    <a:pt x="1201" y="403"/>
                    <a:pt x="1201" y="403"/>
                    <a:pt x="1185" y="395"/>
                  </a:cubicBezTo>
                  <a:cubicBezTo>
                    <a:pt x="1177" y="395"/>
                    <a:pt x="1161" y="387"/>
                    <a:pt x="1146" y="380"/>
                  </a:cubicBezTo>
                  <a:cubicBezTo>
                    <a:pt x="1146" y="380"/>
                    <a:pt x="1130" y="372"/>
                    <a:pt x="1138" y="364"/>
                  </a:cubicBezTo>
                  <a:cubicBezTo>
                    <a:pt x="1138" y="348"/>
                    <a:pt x="1170" y="340"/>
                    <a:pt x="1217" y="332"/>
                  </a:cubicBezTo>
                  <a:cubicBezTo>
                    <a:pt x="1225" y="332"/>
                    <a:pt x="1233" y="324"/>
                    <a:pt x="1233" y="324"/>
                  </a:cubicBezTo>
                  <a:cubicBezTo>
                    <a:pt x="1241" y="324"/>
                    <a:pt x="1241" y="324"/>
                    <a:pt x="1241" y="324"/>
                  </a:cubicBezTo>
                  <a:cubicBezTo>
                    <a:pt x="1241" y="316"/>
                    <a:pt x="1233" y="301"/>
                    <a:pt x="1201" y="292"/>
                  </a:cubicBezTo>
                  <a:cubicBezTo>
                    <a:pt x="1185" y="285"/>
                    <a:pt x="1177" y="277"/>
                    <a:pt x="1177" y="277"/>
                  </a:cubicBezTo>
                  <a:cubicBezTo>
                    <a:pt x="1177" y="269"/>
                    <a:pt x="1177" y="261"/>
                    <a:pt x="1185" y="261"/>
                  </a:cubicBezTo>
                  <a:cubicBezTo>
                    <a:pt x="1185" y="253"/>
                    <a:pt x="1185" y="253"/>
                    <a:pt x="1193" y="245"/>
                  </a:cubicBezTo>
                  <a:cubicBezTo>
                    <a:pt x="1193" y="229"/>
                    <a:pt x="1185" y="214"/>
                    <a:pt x="1177" y="214"/>
                  </a:cubicBezTo>
                  <a:cubicBezTo>
                    <a:pt x="1146" y="214"/>
                    <a:pt x="1146" y="182"/>
                    <a:pt x="1146" y="158"/>
                  </a:cubicBezTo>
                  <a:cubicBezTo>
                    <a:pt x="1146" y="150"/>
                    <a:pt x="1146" y="134"/>
                    <a:pt x="1146" y="127"/>
                  </a:cubicBezTo>
                  <a:cubicBezTo>
                    <a:pt x="1130" y="119"/>
                    <a:pt x="1146" y="103"/>
                    <a:pt x="1154" y="87"/>
                  </a:cubicBezTo>
                  <a:cubicBezTo>
                    <a:pt x="1161" y="79"/>
                    <a:pt x="1161" y="63"/>
                    <a:pt x="1161" y="55"/>
                  </a:cubicBezTo>
                  <a:lnTo>
                    <a:pt x="1154" y="48"/>
                  </a:lnTo>
                  <a:cubicBezTo>
                    <a:pt x="1146" y="40"/>
                    <a:pt x="1138" y="32"/>
                    <a:pt x="1138" y="8"/>
                  </a:cubicBezTo>
                  <a:cubicBezTo>
                    <a:pt x="7" y="40"/>
                    <a:pt x="7" y="40"/>
                    <a:pt x="7" y="40"/>
                  </a:cubicBezTo>
                  <a:cubicBezTo>
                    <a:pt x="15" y="522"/>
                    <a:pt x="15" y="522"/>
                    <a:pt x="15" y="522"/>
                  </a:cubicBezTo>
                  <a:cubicBezTo>
                    <a:pt x="23" y="530"/>
                    <a:pt x="47" y="545"/>
                    <a:pt x="63" y="561"/>
                  </a:cubicBezTo>
                  <a:cubicBezTo>
                    <a:pt x="63" y="569"/>
                    <a:pt x="71" y="577"/>
                    <a:pt x="78" y="585"/>
                  </a:cubicBezTo>
                  <a:cubicBezTo>
                    <a:pt x="94" y="601"/>
                    <a:pt x="110" y="617"/>
                    <a:pt x="118" y="640"/>
                  </a:cubicBezTo>
                  <a:cubicBezTo>
                    <a:pt x="126" y="664"/>
                    <a:pt x="126" y="680"/>
                    <a:pt x="118" y="688"/>
                  </a:cubicBezTo>
                  <a:cubicBezTo>
                    <a:pt x="118" y="696"/>
                    <a:pt x="118" y="704"/>
                    <a:pt x="110" y="712"/>
                  </a:cubicBezTo>
                  <a:cubicBezTo>
                    <a:pt x="110" y="727"/>
                    <a:pt x="118" y="727"/>
                    <a:pt x="126" y="735"/>
                  </a:cubicBezTo>
                  <a:cubicBezTo>
                    <a:pt x="134" y="735"/>
                    <a:pt x="134" y="735"/>
                    <a:pt x="142" y="743"/>
                  </a:cubicBezTo>
                  <a:cubicBezTo>
                    <a:pt x="158" y="759"/>
                    <a:pt x="181" y="783"/>
                    <a:pt x="173" y="830"/>
                  </a:cubicBezTo>
                  <a:cubicBezTo>
                    <a:pt x="173" y="854"/>
                    <a:pt x="181" y="854"/>
                    <a:pt x="189" y="862"/>
                  </a:cubicBezTo>
                  <a:cubicBezTo>
                    <a:pt x="197" y="862"/>
                    <a:pt x="213" y="862"/>
                    <a:pt x="221" y="878"/>
                  </a:cubicBezTo>
                  <a:cubicBezTo>
                    <a:pt x="237" y="909"/>
                    <a:pt x="237" y="949"/>
                    <a:pt x="237" y="972"/>
                  </a:cubicBezTo>
                  <a:cubicBezTo>
                    <a:pt x="229" y="996"/>
                    <a:pt x="229" y="1012"/>
                    <a:pt x="229" y="1028"/>
                  </a:cubicBezTo>
                  <a:cubicBezTo>
                    <a:pt x="229" y="1036"/>
                    <a:pt x="229" y="1036"/>
                    <a:pt x="237" y="1036"/>
                  </a:cubicBezTo>
                  <a:cubicBezTo>
                    <a:pt x="237" y="1051"/>
                    <a:pt x="237" y="1083"/>
                    <a:pt x="213" y="1131"/>
                  </a:cubicBezTo>
                  <a:cubicBezTo>
                    <a:pt x="205" y="1154"/>
                    <a:pt x="197" y="1154"/>
                    <a:pt x="181" y="1162"/>
                  </a:cubicBezTo>
                  <a:cubicBezTo>
                    <a:pt x="181" y="1170"/>
                    <a:pt x="173" y="1170"/>
                    <a:pt x="165" y="1186"/>
                  </a:cubicBezTo>
                  <a:cubicBezTo>
                    <a:pt x="158" y="1194"/>
                    <a:pt x="158" y="1194"/>
                    <a:pt x="158" y="1194"/>
                  </a:cubicBezTo>
                  <a:cubicBezTo>
                    <a:pt x="158" y="1202"/>
                    <a:pt x="158" y="1202"/>
                    <a:pt x="165" y="1202"/>
                  </a:cubicBezTo>
                  <a:cubicBezTo>
                    <a:pt x="173" y="1202"/>
                    <a:pt x="181" y="1210"/>
                    <a:pt x="181" y="1218"/>
                  </a:cubicBezTo>
                  <a:cubicBezTo>
                    <a:pt x="189" y="1225"/>
                    <a:pt x="189" y="1241"/>
                    <a:pt x="189" y="1249"/>
                  </a:cubicBezTo>
                  <a:cubicBezTo>
                    <a:pt x="181" y="1257"/>
                    <a:pt x="181" y="1257"/>
                    <a:pt x="173" y="1257"/>
                  </a:cubicBezTo>
                  <a:cubicBezTo>
                    <a:pt x="173" y="1257"/>
                    <a:pt x="165" y="1281"/>
                    <a:pt x="158" y="1289"/>
                  </a:cubicBezTo>
                  <a:cubicBezTo>
                    <a:pt x="158" y="1297"/>
                    <a:pt x="158" y="1297"/>
                    <a:pt x="158" y="1297"/>
                  </a:cubicBezTo>
                  <a:cubicBezTo>
                    <a:pt x="158" y="1312"/>
                    <a:pt x="165" y="1320"/>
                    <a:pt x="173" y="1336"/>
                  </a:cubicBezTo>
                  <a:cubicBezTo>
                    <a:pt x="173" y="1336"/>
                    <a:pt x="173" y="1344"/>
                    <a:pt x="181" y="1344"/>
                  </a:cubicBezTo>
                  <a:cubicBezTo>
                    <a:pt x="189" y="1368"/>
                    <a:pt x="189" y="1384"/>
                    <a:pt x="189" y="1399"/>
                  </a:cubicBezTo>
                  <a:lnTo>
                    <a:pt x="189" y="1407"/>
                  </a:lnTo>
                  <a:cubicBezTo>
                    <a:pt x="189" y="1423"/>
                    <a:pt x="181" y="1423"/>
                    <a:pt x="173" y="1431"/>
                  </a:cubicBezTo>
                  <a:cubicBezTo>
                    <a:pt x="173" y="1431"/>
                    <a:pt x="165" y="1431"/>
                    <a:pt x="165" y="1439"/>
                  </a:cubicBezTo>
                  <a:cubicBezTo>
                    <a:pt x="158" y="1447"/>
                    <a:pt x="158" y="1455"/>
                    <a:pt x="158" y="1462"/>
                  </a:cubicBezTo>
                  <a:cubicBezTo>
                    <a:pt x="158" y="1478"/>
                    <a:pt x="150" y="1486"/>
                    <a:pt x="142" y="1502"/>
                  </a:cubicBezTo>
                  <a:cubicBezTo>
                    <a:pt x="118" y="1518"/>
                    <a:pt x="110" y="1534"/>
                    <a:pt x="102" y="1549"/>
                  </a:cubicBezTo>
                  <a:cubicBezTo>
                    <a:pt x="94" y="1557"/>
                    <a:pt x="102" y="1565"/>
                    <a:pt x="110" y="1573"/>
                  </a:cubicBezTo>
                  <a:lnTo>
                    <a:pt x="110" y="1573"/>
                  </a:lnTo>
                  <a:cubicBezTo>
                    <a:pt x="126" y="1581"/>
                    <a:pt x="126" y="1589"/>
                    <a:pt x="134" y="1589"/>
                  </a:cubicBezTo>
                  <a:cubicBezTo>
                    <a:pt x="134" y="1589"/>
                    <a:pt x="142" y="1589"/>
                    <a:pt x="150" y="1581"/>
                  </a:cubicBezTo>
                  <a:cubicBezTo>
                    <a:pt x="158" y="1573"/>
                    <a:pt x="181" y="1565"/>
                    <a:pt x="213" y="1565"/>
                  </a:cubicBezTo>
                  <a:cubicBezTo>
                    <a:pt x="229" y="1565"/>
                    <a:pt x="244" y="1565"/>
                    <a:pt x="253" y="1565"/>
                  </a:cubicBezTo>
                  <a:cubicBezTo>
                    <a:pt x="284" y="1565"/>
                    <a:pt x="316" y="1565"/>
                    <a:pt x="316" y="1557"/>
                  </a:cubicBezTo>
                  <a:cubicBezTo>
                    <a:pt x="324" y="1542"/>
                    <a:pt x="308" y="1518"/>
                    <a:pt x="308" y="1510"/>
                  </a:cubicBezTo>
                  <a:cubicBezTo>
                    <a:pt x="300" y="1510"/>
                    <a:pt x="300" y="1510"/>
                    <a:pt x="300" y="1510"/>
                  </a:cubicBezTo>
                  <a:cubicBezTo>
                    <a:pt x="300" y="1502"/>
                    <a:pt x="308" y="1502"/>
                    <a:pt x="308" y="1502"/>
                  </a:cubicBezTo>
                  <a:cubicBezTo>
                    <a:pt x="316" y="1502"/>
                    <a:pt x="324" y="1502"/>
                    <a:pt x="324" y="1494"/>
                  </a:cubicBezTo>
                  <a:cubicBezTo>
                    <a:pt x="324" y="1486"/>
                    <a:pt x="324" y="1478"/>
                    <a:pt x="324" y="1478"/>
                  </a:cubicBezTo>
                  <a:cubicBezTo>
                    <a:pt x="324" y="1471"/>
                    <a:pt x="324" y="1462"/>
                    <a:pt x="324" y="1455"/>
                  </a:cubicBezTo>
                  <a:cubicBezTo>
                    <a:pt x="324" y="1447"/>
                    <a:pt x="324" y="1447"/>
                    <a:pt x="324" y="1439"/>
                  </a:cubicBezTo>
                  <a:cubicBezTo>
                    <a:pt x="331" y="1431"/>
                    <a:pt x="331" y="1423"/>
                    <a:pt x="339" y="1423"/>
                  </a:cubicBezTo>
                  <a:cubicBezTo>
                    <a:pt x="347" y="1423"/>
                    <a:pt x="347" y="1423"/>
                    <a:pt x="355" y="1431"/>
                  </a:cubicBezTo>
                  <a:cubicBezTo>
                    <a:pt x="355" y="1455"/>
                    <a:pt x="363" y="1462"/>
                    <a:pt x="371" y="1471"/>
                  </a:cubicBezTo>
                  <a:cubicBezTo>
                    <a:pt x="371" y="1471"/>
                    <a:pt x="371" y="1471"/>
                    <a:pt x="379" y="1478"/>
                  </a:cubicBezTo>
                  <a:cubicBezTo>
                    <a:pt x="379" y="1478"/>
                    <a:pt x="379" y="1486"/>
                    <a:pt x="379" y="1494"/>
                  </a:cubicBezTo>
                  <a:cubicBezTo>
                    <a:pt x="371" y="1502"/>
                    <a:pt x="371" y="1502"/>
                    <a:pt x="363" y="1502"/>
                  </a:cubicBezTo>
                  <a:cubicBezTo>
                    <a:pt x="355" y="1502"/>
                    <a:pt x="355" y="1502"/>
                    <a:pt x="355" y="1502"/>
                  </a:cubicBezTo>
                  <a:cubicBezTo>
                    <a:pt x="347" y="1510"/>
                    <a:pt x="339" y="1510"/>
                    <a:pt x="339" y="1510"/>
                  </a:cubicBezTo>
                  <a:cubicBezTo>
                    <a:pt x="339" y="1510"/>
                    <a:pt x="339" y="1518"/>
                    <a:pt x="339" y="1526"/>
                  </a:cubicBezTo>
                  <a:cubicBezTo>
                    <a:pt x="347" y="1534"/>
                    <a:pt x="347" y="1542"/>
                    <a:pt x="347" y="1549"/>
                  </a:cubicBezTo>
                  <a:cubicBezTo>
                    <a:pt x="347" y="1549"/>
                    <a:pt x="347" y="1549"/>
                    <a:pt x="355" y="1549"/>
                  </a:cubicBezTo>
                  <a:cubicBezTo>
                    <a:pt x="379" y="1557"/>
                    <a:pt x="561" y="1605"/>
                    <a:pt x="592" y="1621"/>
                  </a:cubicBezTo>
                  <a:cubicBezTo>
                    <a:pt x="608" y="1637"/>
                    <a:pt x="671" y="1644"/>
                    <a:pt x="727" y="1644"/>
                  </a:cubicBezTo>
                  <a:cubicBezTo>
                    <a:pt x="782" y="1644"/>
                    <a:pt x="821" y="1637"/>
                    <a:pt x="837" y="1621"/>
                  </a:cubicBezTo>
                  <a:cubicBezTo>
                    <a:pt x="845" y="1613"/>
                    <a:pt x="845" y="1605"/>
                    <a:pt x="845" y="1597"/>
                  </a:cubicBezTo>
                  <a:cubicBezTo>
                    <a:pt x="837" y="1557"/>
                    <a:pt x="821" y="1557"/>
                    <a:pt x="821" y="1549"/>
                  </a:cubicBezTo>
                  <a:cubicBezTo>
                    <a:pt x="814" y="1549"/>
                    <a:pt x="814" y="1549"/>
                    <a:pt x="814" y="1549"/>
                  </a:cubicBezTo>
                  <a:cubicBezTo>
                    <a:pt x="814" y="1542"/>
                    <a:pt x="814" y="1542"/>
                    <a:pt x="821" y="1542"/>
                  </a:cubicBezTo>
                  <a:cubicBezTo>
                    <a:pt x="821" y="1542"/>
                    <a:pt x="830" y="1542"/>
                    <a:pt x="830" y="1534"/>
                  </a:cubicBezTo>
                  <a:cubicBezTo>
                    <a:pt x="853" y="1526"/>
                    <a:pt x="861" y="1526"/>
                    <a:pt x="869" y="1526"/>
                  </a:cubicBezTo>
                  <a:cubicBezTo>
                    <a:pt x="869" y="1526"/>
                    <a:pt x="877" y="1526"/>
                    <a:pt x="885" y="1518"/>
                  </a:cubicBezTo>
                  <a:cubicBezTo>
                    <a:pt x="893" y="1510"/>
                    <a:pt x="908" y="1502"/>
                    <a:pt x="924" y="1502"/>
                  </a:cubicBezTo>
                  <a:cubicBezTo>
                    <a:pt x="932" y="1502"/>
                    <a:pt x="940" y="1502"/>
                    <a:pt x="940" y="1518"/>
                  </a:cubicBezTo>
                  <a:cubicBezTo>
                    <a:pt x="940" y="1534"/>
                    <a:pt x="940" y="1557"/>
                    <a:pt x="948" y="1557"/>
                  </a:cubicBezTo>
                  <a:lnTo>
                    <a:pt x="956" y="1557"/>
                  </a:lnTo>
                  <a:cubicBezTo>
                    <a:pt x="964" y="1549"/>
                    <a:pt x="972" y="1542"/>
                    <a:pt x="972" y="1534"/>
                  </a:cubicBezTo>
                  <a:cubicBezTo>
                    <a:pt x="972" y="1526"/>
                    <a:pt x="980" y="1526"/>
                    <a:pt x="980" y="1526"/>
                  </a:cubicBezTo>
                  <a:cubicBezTo>
                    <a:pt x="988" y="1526"/>
                    <a:pt x="995" y="1526"/>
                    <a:pt x="1003" y="1534"/>
                  </a:cubicBezTo>
                  <a:cubicBezTo>
                    <a:pt x="1011" y="1534"/>
                    <a:pt x="1019" y="1542"/>
                    <a:pt x="1019" y="1542"/>
                  </a:cubicBezTo>
                  <a:cubicBezTo>
                    <a:pt x="1043" y="1557"/>
                    <a:pt x="1051" y="1565"/>
                    <a:pt x="1059" y="1589"/>
                  </a:cubicBezTo>
                  <a:cubicBezTo>
                    <a:pt x="1067" y="1621"/>
                    <a:pt x="1067" y="1628"/>
                    <a:pt x="1090" y="1628"/>
                  </a:cubicBezTo>
                  <a:cubicBezTo>
                    <a:pt x="1114" y="1628"/>
                    <a:pt x="1161" y="1644"/>
                    <a:pt x="1177" y="1652"/>
                  </a:cubicBezTo>
                  <a:cubicBezTo>
                    <a:pt x="1193" y="1660"/>
                    <a:pt x="1201" y="1660"/>
                    <a:pt x="1217" y="1676"/>
                  </a:cubicBezTo>
                  <a:cubicBezTo>
                    <a:pt x="1233" y="1684"/>
                    <a:pt x="1233" y="1692"/>
                    <a:pt x="1233" y="1700"/>
                  </a:cubicBezTo>
                  <a:cubicBezTo>
                    <a:pt x="1225" y="1708"/>
                    <a:pt x="1217" y="1715"/>
                    <a:pt x="1209" y="1715"/>
                  </a:cubicBezTo>
                  <a:cubicBezTo>
                    <a:pt x="1193" y="1715"/>
                    <a:pt x="1177" y="1715"/>
                    <a:pt x="1177" y="1715"/>
                  </a:cubicBezTo>
                  <a:cubicBezTo>
                    <a:pt x="1177" y="1724"/>
                    <a:pt x="1177" y="1724"/>
                    <a:pt x="1177" y="1731"/>
                  </a:cubicBezTo>
                  <a:cubicBezTo>
                    <a:pt x="1177" y="1731"/>
                    <a:pt x="1177" y="1739"/>
                    <a:pt x="1185" y="1739"/>
                  </a:cubicBezTo>
                  <a:cubicBezTo>
                    <a:pt x="1193" y="1755"/>
                    <a:pt x="1193" y="1763"/>
                    <a:pt x="1217" y="1771"/>
                  </a:cubicBezTo>
                  <a:cubicBezTo>
                    <a:pt x="1225" y="1771"/>
                    <a:pt x="1241" y="1771"/>
                    <a:pt x="1248" y="1771"/>
                  </a:cubicBezTo>
                  <a:lnTo>
                    <a:pt x="1256" y="1763"/>
                  </a:lnTo>
                  <a:cubicBezTo>
                    <a:pt x="1264" y="1763"/>
                    <a:pt x="1272" y="1771"/>
                    <a:pt x="1288" y="1771"/>
                  </a:cubicBezTo>
                  <a:cubicBezTo>
                    <a:pt x="1304" y="1779"/>
                    <a:pt x="1304" y="1779"/>
                    <a:pt x="1312" y="1787"/>
                  </a:cubicBezTo>
                  <a:cubicBezTo>
                    <a:pt x="1312" y="1795"/>
                    <a:pt x="1320" y="1795"/>
                    <a:pt x="1343" y="1802"/>
                  </a:cubicBezTo>
                  <a:cubicBezTo>
                    <a:pt x="1359" y="1802"/>
                    <a:pt x="1391" y="1810"/>
                    <a:pt x="1414" y="1810"/>
                  </a:cubicBezTo>
                  <a:cubicBezTo>
                    <a:pt x="1438" y="1810"/>
                    <a:pt x="1454" y="1802"/>
                    <a:pt x="1454" y="1795"/>
                  </a:cubicBezTo>
                  <a:cubicBezTo>
                    <a:pt x="1462" y="1787"/>
                    <a:pt x="1462" y="1771"/>
                    <a:pt x="1454" y="1763"/>
                  </a:cubicBezTo>
                  <a:cubicBezTo>
                    <a:pt x="1454" y="1747"/>
                    <a:pt x="1454" y="1739"/>
                    <a:pt x="1462" y="1731"/>
                  </a:cubicBezTo>
                  <a:cubicBezTo>
                    <a:pt x="1478" y="1715"/>
                    <a:pt x="1501" y="1715"/>
                    <a:pt x="1517" y="1715"/>
                  </a:cubicBezTo>
                  <a:cubicBezTo>
                    <a:pt x="1533" y="1715"/>
                    <a:pt x="1557" y="1715"/>
                    <a:pt x="1565" y="1724"/>
                  </a:cubicBezTo>
                  <a:cubicBezTo>
                    <a:pt x="1565" y="1731"/>
                    <a:pt x="1573" y="1739"/>
                    <a:pt x="1581" y="1739"/>
                  </a:cubicBezTo>
                  <a:lnTo>
                    <a:pt x="1588" y="1739"/>
                  </a:lnTo>
                  <a:cubicBezTo>
                    <a:pt x="1596" y="1731"/>
                    <a:pt x="1604" y="1731"/>
                    <a:pt x="1604" y="1731"/>
                  </a:cubicBezTo>
                  <a:cubicBezTo>
                    <a:pt x="1612" y="1731"/>
                    <a:pt x="1612" y="1731"/>
                    <a:pt x="1612" y="1731"/>
                  </a:cubicBezTo>
                  <a:cubicBezTo>
                    <a:pt x="1612" y="1739"/>
                    <a:pt x="1620" y="1739"/>
                    <a:pt x="1612" y="1755"/>
                  </a:cubicBezTo>
                  <a:cubicBezTo>
                    <a:pt x="1612" y="1755"/>
                    <a:pt x="1612" y="1763"/>
                    <a:pt x="1612" y="1771"/>
                  </a:cubicBezTo>
                  <a:cubicBezTo>
                    <a:pt x="1604" y="1779"/>
                    <a:pt x="1604" y="1787"/>
                    <a:pt x="1604" y="1795"/>
                  </a:cubicBezTo>
                  <a:cubicBezTo>
                    <a:pt x="1612" y="1795"/>
                    <a:pt x="1612" y="1795"/>
                    <a:pt x="1620" y="1802"/>
                  </a:cubicBezTo>
                  <a:cubicBezTo>
                    <a:pt x="1620" y="1802"/>
                    <a:pt x="1628" y="1802"/>
                    <a:pt x="1636" y="1802"/>
                  </a:cubicBezTo>
                  <a:cubicBezTo>
                    <a:pt x="1644" y="1810"/>
                    <a:pt x="1652" y="1810"/>
                    <a:pt x="1660" y="1810"/>
                  </a:cubicBezTo>
                  <a:cubicBezTo>
                    <a:pt x="1667" y="1810"/>
                    <a:pt x="1675" y="1810"/>
                    <a:pt x="1675" y="1787"/>
                  </a:cubicBezTo>
                  <a:cubicBezTo>
                    <a:pt x="1683" y="1779"/>
                    <a:pt x="1683" y="1763"/>
                    <a:pt x="1683" y="1755"/>
                  </a:cubicBezTo>
                  <a:cubicBezTo>
                    <a:pt x="1683" y="1731"/>
                    <a:pt x="1691" y="1715"/>
                    <a:pt x="1699" y="1708"/>
                  </a:cubicBezTo>
                  <a:lnTo>
                    <a:pt x="1699" y="1708"/>
                  </a:lnTo>
                  <a:cubicBezTo>
                    <a:pt x="1707" y="1692"/>
                    <a:pt x="1707" y="1692"/>
                    <a:pt x="1699" y="1668"/>
                  </a:cubicBezTo>
                  <a:cubicBezTo>
                    <a:pt x="1691" y="1652"/>
                    <a:pt x="1691" y="1652"/>
                    <a:pt x="1675" y="1644"/>
                  </a:cubicBezTo>
                  <a:cubicBezTo>
                    <a:pt x="1675" y="1644"/>
                    <a:pt x="1667" y="1637"/>
                    <a:pt x="1660" y="1637"/>
                  </a:cubicBezTo>
                  <a:cubicBezTo>
                    <a:pt x="1636" y="1621"/>
                    <a:pt x="1612" y="1597"/>
                    <a:pt x="1620" y="1589"/>
                  </a:cubicBezTo>
                  <a:cubicBezTo>
                    <a:pt x="1620" y="1581"/>
                    <a:pt x="1620" y="1581"/>
                    <a:pt x="1628" y="1581"/>
                  </a:cubicBezTo>
                  <a:cubicBezTo>
                    <a:pt x="1628" y="1581"/>
                    <a:pt x="1628" y="1581"/>
                    <a:pt x="1636" y="1581"/>
                  </a:cubicBezTo>
                  <a:cubicBezTo>
                    <a:pt x="1652" y="1581"/>
                    <a:pt x="1652" y="1589"/>
                    <a:pt x="1667" y="1589"/>
                  </a:cubicBezTo>
                  <a:cubicBezTo>
                    <a:pt x="1675" y="1597"/>
                    <a:pt x="1683" y="1597"/>
                    <a:pt x="1691" y="1605"/>
                  </a:cubicBezTo>
                  <a:cubicBezTo>
                    <a:pt x="1715" y="1605"/>
                    <a:pt x="1731" y="1613"/>
                    <a:pt x="1739" y="1613"/>
                  </a:cubicBezTo>
                  <a:cubicBezTo>
                    <a:pt x="1754" y="1621"/>
                    <a:pt x="1770" y="1621"/>
                    <a:pt x="1778" y="1628"/>
                  </a:cubicBezTo>
                  <a:cubicBezTo>
                    <a:pt x="1794" y="1637"/>
                    <a:pt x="1810" y="1652"/>
                    <a:pt x="1810" y="1660"/>
                  </a:cubicBezTo>
                  <a:cubicBezTo>
                    <a:pt x="1810" y="1668"/>
                    <a:pt x="1810" y="1668"/>
                    <a:pt x="1802" y="1676"/>
                  </a:cubicBezTo>
                  <a:cubicBezTo>
                    <a:pt x="1786" y="1676"/>
                    <a:pt x="1786" y="1676"/>
                    <a:pt x="1786" y="1676"/>
                  </a:cubicBezTo>
                  <a:cubicBezTo>
                    <a:pt x="1786" y="1676"/>
                    <a:pt x="1786" y="1684"/>
                    <a:pt x="1794" y="1684"/>
                  </a:cubicBezTo>
                  <a:cubicBezTo>
                    <a:pt x="1802" y="1684"/>
                    <a:pt x="1818" y="1684"/>
                    <a:pt x="1826" y="1684"/>
                  </a:cubicBezTo>
                  <a:cubicBezTo>
                    <a:pt x="1834" y="1684"/>
                    <a:pt x="1834" y="1676"/>
                    <a:pt x="1841" y="1676"/>
                  </a:cubicBezTo>
                  <a:cubicBezTo>
                    <a:pt x="1841" y="1676"/>
                    <a:pt x="1849" y="1684"/>
                    <a:pt x="1857" y="1684"/>
                  </a:cubicBezTo>
                  <a:cubicBezTo>
                    <a:pt x="1857" y="1692"/>
                    <a:pt x="1857" y="1700"/>
                    <a:pt x="1857" y="1700"/>
                  </a:cubicBezTo>
                  <a:cubicBezTo>
                    <a:pt x="1857" y="1708"/>
                    <a:pt x="1857" y="1715"/>
                    <a:pt x="1873" y="1715"/>
                  </a:cubicBezTo>
                  <a:cubicBezTo>
                    <a:pt x="1881" y="1724"/>
                    <a:pt x="1905" y="1715"/>
                    <a:pt x="1913" y="1708"/>
                  </a:cubicBezTo>
                  <a:cubicBezTo>
                    <a:pt x="1920" y="1708"/>
                    <a:pt x="1928" y="1708"/>
                    <a:pt x="1936" y="1708"/>
                  </a:cubicBezTo>
                  <a:close/>
                </a:path>
              </a:pathLst>
            </a:custGeom>
            <a:grpFill/>
            <a:ln>
              <a:solidFill>
                <a:schemeClr val="bg1">
                  <a:lumMod val="95000"/>
                </a:schemeClr>
              </a:solidFill>
            </a:ln>
            <a:effectLst/>
          </p:spPr>
          <p:txBody>
            <a:bodyPr wrap="none" anchor="ctr"/>
            <a:lstStyle/>
            <a:p>
              <a:endParaRPr lang="en-US" sz="900"/>
            </a:p>
          </p:txBody>
        </p:sp>
        <p:sp>
          <p:nvSpPr>
            <p:cNvPr id="62" name="Freeform 508"/>
            <p:cNvSpPr>
              <a:spLocks noChangeArrowheads="1"/>
            </p:cNvSpPr>
            <p:nvPr/>
          </p:nvSpPr>
          <p:spPr bwMode="auto">
            <a:xfrm>
              <a:off x="12146447" y="3591604"/>
              <a:ext cx="1289534" cy="1463481"/>
            </a:xfrm>
            <a:custGeom>
              <a:avLst/>
              <a:gdLst>
                <a:gd name="T0" fmla="*/ 2055 w 2451"/>
                <a:gd name="T1" fmla="*/ 2712 h 2784"/>
                <a:gd name="T2" fmla="*/ 2055 w 2451"/>
                <a:gd name="T3" fmla="*/ 2712 h 2784"/>
                <a:gd name="T4" fmla="*/ 2023 w 2451"/>
                <a:gd name="T5" fmla="*/ 2601 h 2784"/>
                <a:gd name="T6" fmla="*/ 1936 w 2451"/>
                <a:gd name="T7" fmla="*/ 2475 h 2784"/>
                <a:gd name="T8" fmla="*/ 1778 w 2451"/>
                <a:gd name="T9" fmla="*/ 2316 h 2784"/>
                <a:gd name="T10" fmla="*/ 1691 w 2451"/>
                <a:gd name="T11" fmla="*/ 2293 h 2784"/>
                <a:gd name="T12" fmla="*/ 1659 w 2451"/>
                <a:gd name="T13" fmla="*/ 2277 h 2784"/>
                <a:gd name="T14" fmla="*/ 1596 w 2451"/>
                <a:gd name="T15" fmla="*/ 2229 h 2784"/>
                <a:gd name="T16" fmla="*/ 1509 w 2451"/>
                <a:gd name="T17" fmla="*/ 2174 h 2784"/>
                <a:gd name="T18" fmla="*/ 1470 w 2451"/>
                <a:gd name="T19" fmla="*/ 2071 h 2784"/>
                <a:gd name="T20" fmla="*/ 1494 w 2451"/>
                <a:gd name="T21" fmla="*/ 1969 h 2784"/>
                <a:gd name="T22" fmla="*/ 1494 w 2451"/>
                <a:gd name="T23" fmla="*/ 1889 h 2784"/>
                <a:gd name="T24" fmla="*/ 1485 w 2451"/>
                <a:gd name="T25" fmla="*/ 1787 h 2784"/>
                <a:gd name="T26" fmla="*/ 1438 w 2451"/>
                <a:gd name="T27" fmla="*/ 1724 h 2784"/>
                <a:gd name="T28" fmla="*/ 1485 w 2451"/>
                <a:gd name="T29" fmla="*/ 1613 h 2784"/>
                <a:gd name="T30" fmla="*/ 1612 w 2451"/>
                <a:gd name="T31" fmla="*/ 1542 h 2784"/>
                <a:gd name="T32" fmla="*/ 1612 w 2451"/>
                <a:gd name="T33" fmla="*/ 1360 h 2784"/>
                <a:gd name="T34" fmla="*/ 1604 w 2451"/>
                <a:gd name="T35" fmla="*/ 1249 h 2784"/>
                <a:gd name="T36" fmla="*/ 1675 w 2451"/>
                <a:gd name="T37" fmla="*/ 1186 h 2784"/>
                <a:gd name="T38" fmla="*/ 1691 w 2451"/>
                <a:gd name="T39" fmla="*/ 1154 h 2784"/>
                <a:gd name="T40" fmla="*/ 2071 w 2451"/>
                <a:gd name="T41" fmla="*/ 791 h 2784"/>
                <a:gd name="T42" fmla="*/ 2268 w 2451"/>
                <a:gd name="T43" fmla="*/ 672 h 2784"/>
                <a:gd name="T44" fmla="*/ 2450 w 2451"/>
                <a:gd name="T45" fmla="*/ 570 h 2784"/>
                <a:gd name="T46" fmla="*/ 2339 w 2451"/>
                <a:gd name="T47" fmla="*/ 577 h 2784"/>
                <a:gd name="T48" fmla="*/ 2268 w 2451"/>
                <a:gd name="T49" fmla="*/ 522 h 2784"/>
                <a:gd name="T50" fmla="*/ 2110 w 2451"/>
                <a:gd name="T51" fmla="*/ 546 h 2784"/>
                <a:gd name="T52" fmla="*/ 2062 w 2451"/>
                <a:gd name="T53" fmla="*/ 546 h 2784"/>
                <a:gd name="T54" fmla="*/ 2007 w 2451"/>
                <a:gd name="T55" fmla="*/ 475 h 2784"/>
                <a:gd name="T56" fmla="*/ 1865 w 2451"/>
                <a:gd name="T57" fmla="*/ 601 h 2784"/>
                <a:gd name="T58" fmla="*/ 1731 w 2451"/>
                <a:gd name="T59" fmla="*/ 538 h 2784"/>
                <a:gd name="T60" fmla="*/ 1620 w 2451"/>
                <a:gd name="T61" fmla="*/ 443 h 2784"/>
                <a:gd name="T62" fmla="*/ 1565 w 2451"/>
                <a:gd name="T63" fmla="*/ 506 h 2784"/>
                <a:gd name="T64" fmla="*/ 1501 w 2451"/>
                <a:gd name="T65" fmla="*/ 435 h 2784"/>
                <a:gd name="T66" fmla="*/ 1351 w 2451"/>
                <a:gd name="T67" fmla="*/ 332 h 2784"/>
                <a:gd name="T68" fmla="*/ 1154 w 2451"/>
                <a:gd name="T69" fmla="*/ 395 h 2784"/>
                <a:gd name="T70" fmla="*/ 1066 w 2451"/>
                <a:gd name="T71" fmla="*/ 388 h 2784"/>
                <a:gd name="T72" fmla="*/ 956 w 2451"/>
                <a:gd name="T73" fmla="*/ 356 h 2784"/>
                <a:gd name="T74" fmla="*/ 901 w 2451"/>
                <a:gd name="T75" fmla="*/ 332 h 2784"/>
                <a:gd name="T76" fmla="*/ 806 w 2451"/>
                <a:gd name="T77" fmla="*/ 301 h 2784"/>
                <a:gd name="T78" fmla="*/ 790 w 2451"/>
                <a:gd name="T79" fmla="*/ 166 h 2784"/>
                <a:gd name="T80" fmla="*/ 766 w 2451"/>
                <a:gd name="T81" fmla="*/ 48 h 2784"/>
                <a:gd name="T82" fmla="*/ 679 w 2451"/>
                <a:gd name="T83" fmla="*/ 0 h 2784"/>
                <a:gd name="T84" fmla="*/ 648 w 2451"/>
                <a:gd name="T85" fmla="*/ 119 h 2784"/>
                <a:gd name="T86" fmla="*/ 632 w 2451"/>
                <a:gd name="T87" fmla="*/ 151 h 2784"/>
                <a:gd name="T88" fmla="*/ 0 w 2451"/>
                <a:gd name="T89" fmla="*/ 182 h 2784"/>
                <a:gd name="T90" fmla="*/ 32 w 2451"/>
                <a:gd name="T91" fmla="*/ 293 h 2784"/>
                <a:gd name="T92" fmla="*/ 48 w 2451"/>
                <a:gd name="T93" fmla="*/ 372 h 2784"/>
                <a:gd name="T94" fmla="*/ 32 w 2451"/>
                <a:gd name="T95" fmla="*/ 585 h 2784"/>
                <a:gd name="T96" fmla="*/ 119 w 2451"/>
                <a:gd name="T97" fmla="*/ 830 h 2784"/>
                <a:gd name="T98" fmla="*/ 119 w 2451"/>
                <a:gd name="T99" fmla="*/ 1012 h 2784"/>
                <a:gd name="T100" fmla="*/ 127 w 2451"/>
                <a:gd name="T101" fmla="*/ 1162 h 2784"/>
                <a:gd name="T102" fmla="*/ 158 w 2451"/>
                <a:gd name="T103" fmla="*/ 1384 h 2784"/>
                <a:gd name="T104" fmla="*/ 205 w 2451"/>
                <a:gd name="T105" fmla="*/ 1439 h 2784"/>
                <a:gd name="T106" fmla="*/ 213 w 2451"/>
                <a:gd name="T107" fmla="*/ 1605 h 2784"/>
                <a:gd name="T108" fmla="*/ 158 w 2451"/>
                <a:gd name="T109" fmla="*/ 1739 h 2784"/>
                <a:gd name="T110" fmla="*/ 135 w 2451"/>
                <a:gd name="T111" fmla="*/ 1803 h 2784"/>
                <a:gd name="T112" fmla="*/ 158 w 2451"/>
                <a:gd name="T113" fmla="*/ 1858 h 2784"/>
                <a:gd name="T114" fmla="*/ 205 w 2451"/>
                <a:gd name="T115" fmla="*/ 1898 h 2784"/>
                <a:gd name="T116" fmla="*/ 260 w 2451"/>
                <a:gd name="T117" fmla="*/ 1913 h 2784"/>
                <a:gd name="T118" fmla="*/ 260 w 2451"/>
                <a:gd name="T119" fmla="*/ 2767 h 2784"/>
                <a:gd name="T120" fmla="*/ 2055 w 2451"/>
                <a:gd name="T121" fmla="*/ 2712 h 2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51" h="2784">
                  <a:moveTo>
                    <a:pt x="2055" y="2712"/>
                  </a:moveTo>
                  <a:lnTo>
                    <a:pt x="2055" y="2712"/>
                  </a:lnTo>
                  <a:cubicBezTo>
                    <a:pt x="2039" y="2680"/>
                    <a:pt x="2023" y="2641"/>
                    <a:pt x="2023" y="2601"/>
                  </a:cubicBezTo>
                  <a:cubicBezTo>
                    <a:pt x="2031" y="2538"/>
                    <a:pt x="1968" y="2475"/>
                    <a:pt x="1936" y="2475"/>
                  </a:cubicBezTo>
                  <a:cubicBezTo>
                    <a:pt x="1905" y="2467"/>
                    <a:pt x="1841" y="2380"/>
                    <a:pt x="1778" y="2316"/>
                  </a:cubicBezTo>
                  <a:cubicBezTo>
                    <a:pt x="1746" y="2285"/>
                    <a:pt x="1715" y="2293"/>
                    <a:pt x="1691" y="2293"/>
                  </a:cubicBezTo>
                  <a:cubicBezTo>
                    <a:pt x="1675" y="2293"/>
                    <a:pt x="1667" y="2293"/>
                    <a:pt x="1659" y="2277"/>
                  </a:cubicBezTo>
                  <a:cubicBezTo>
                    <a:pt x="1651" y="2238"/>
                    <a:pt x="1628" y="2253"/>
                    <a:pt x="1596" y="2229"/>
                  </a:cubicBezTo>
                  <a:cubicBezTo>
                    <a:pt x="1572" y="2214"/>
                    <a:pt x="1525" y="2214"/>
                    <a:pt x="1509" y="2174"/>
                  </a:cubicBezTo>
                  <a:cubicBezTo>
                    <a:pt x="1501" y="2143"/>
                    <a:pt x="1454" y="2143"/>
                    <a:pt x="1470" y="2071"/>
                  </a:cubicBezTo>
                  <a:cubicBezTo>
                    <a:pt x="1494" y="2008"/>
                    <a:pt x="1494" y="2016"/>
                    <a:pt x="1494" y="1969"/>
                  </a:cubicBezTo>
                  <a:cubicBezTo>
                    <a:pt x="1485" y="1929"/>
                    <a:pt x="1470" y="1921"/>
                    <a:pt x="1494" y="1889"/>
                  </a:cubicBezTo>
                  <a:cubicBezTo>
                    <a:pt x="1525" y="1866"/>
                    <a:pt x="1517" y="1811"/>
                    <a:pt x="1485" y="1787"/>
                  </a:cubicBezTo>
                  <a:cubicBezTo>
                    <a:pt x="1454" y="1771"/>
                    <a:pt x="1406" y="1771"/>
                    <a:pt x="1438" y="1724"/>
                  </a:cubicBezTo>
                  <a:cubicBezTo>
                    <a:pt x="1470" y="1668"/>
                    <a:pt x="1446" y="1652"/>
                    <a:pt x="1485" y="1613"/>
                  </a:cubicBezTo>
                  <a:cubicBezTo>
                    <a:pt x="1533" y="1581"/>
                    <a:pt x="1580" y="1597"/>
                    <a:pt x="1612" y="1542"/>
                  </a:cubicBezTo>
                  <a:cubicBezTo>
                    <a:pt x="1651" y="1487"/>
                    <a:pt x="1620" y="1399"/>
                    <a:pt x="1612" y="1360"/>
                  </a:cubicBezTo>
                  <a:cubicBezTo>
                    <a:pt x="1612" y="1321"/>
                    <a:pt x="1588" y="1257"/>
                    <a:pt x="1604" y="1249"/>
                  </a:cubicBezTo>
                  <a:cubicBezTo>
                    <a:pt x="1620" y="1249"/>
                    <a:pt x="1675" y="1186"/>
                    <a:pt x="1675" y="1186"/>
                  </a:cubicBezTo>
                  <a:cubicBezTo>
                    <a:pt x="1667" y="1178"/>
                    <a:pt x="1667" y="1178"/>
                    <a:pt x="1691" y="1154"/>
                  </a:cubicBezTo>
                  <a:cubicBezTo>
                    <a:pt x="1731" y="1131"/>
                    <a:pt x="2039" y="862"/>
                    <a:pt x="2071" y="791"/>
                  </a:cubicBezTo>
                  <a:cubicBezTo>
                    <a:pt x="2102" y="728"/>
                    <a:pt x="2205" y="696"/>
                    <a:pt x="2268" y="672"/>
                  </a:cubicBezTo>
                  <a:cubicBezTo>
                    <a:pt x="2300" y="664"/>
                    <a:pt x="2379" y="633"/>
                    <a:pt x="2450" y="570"/>
                  </a:cubicBezTo>
                  <a:cubicBezTo>
                    <a:pt x="2411" y="570"/>
                    <a:pt x="2363" y="577"/>
                    <a:pt x="2339" y="577"/>
                  </a:cubicBezTo>
                  <a:cubicBezTo>
                    <a:pt x="2316" y="577"/>
                    <a:pt x="2300" y="538"/>
                    <a:pt x="2268" y="522"/>
                  </a:cubicBezTo>
                  <a:cubicBezTo>
                    <a:pt x="2244" y="506"/>
                    <a:pt x="2142" y="538"/>
                    <a:pt x="2110" y="546"/>
                  </a:cubicBezTo>
                  <a:cubicBezTo>
                    <a:pt x="2078" y="554"/>
                    <a:pt x="2062" y="570"/>
                    <a:pt x="2062" y="546"/>
                  </a:cubicBezTo>
                  <a:cubicBezTo>
                    <a:pt x="2055" y="522"/>
                    <a:pt x="2039" y="490"/>
                    <a:pt x="2007" y="475"/>
                  </a:cubicBezTo>
                  <a:cubicBezTo>
                    <a:pt x="1976" y="451"/>
                    <a:pt x="1896" y="570"/>
                    <a:pt x="1865" y="601"/>
                  </a:cubicBezTo>
                  <a:cubicBezTo>
                    <a:pt x="1825" y="633"/>
                    <a:pt x="1754" y="577"/>
                    <a:pt x="1731" y="538"/>
                  </a:cubicBezTo>
                  <a:cubicBezTo>
                    <a:pt x="1707" y="498"/>
                    <a:pt x="1644" y="459"/>
                    <a:pt x="1620" y="443"/>
                  </a:cubicBezTo>
                  <a:cubicBezTo>
                    <a:pt x="1596" y="427"/>
                    <a:pt x="1596" y="498"/>
                    <a:pt x="1565" y="506"/>
                  </a:cubicBezTo>
                  <a:cubicBezTo>
                    <a:pt x="1533" y="514"/>
                    <a:pt x="1525" y="482"/>
                    <a:pt x="1501" y="435"/>
                  </a:cubicBezTo>
                  <a:cubicBezTo>
                    <a:pt x="1478" y="388"/>
                    <a:pt x="1422" y="364"/>
                    <a:pt x="1351" y="332"/>
                  </a:cubicBezTo>
                  <a:cubicBezTo>
                    <a:pt x="1280" y="301"/>
                    <a:pt x="1193" y="364"/>
                    <a:pt x="1154" y="395"/>
                  </a:cubicBezTo>
                  <a:cubicBezTo>
                    <a:pt x="1114" y="419"/>
                    <a:pt x="1090" y="427"/>
                    <a:pt x="1066" y="388"/>
                  </a:cubicBezTo>
                  <a:cubicBezTo>
                    <a:pt x="1043" y="356"/>
                    <a:pt x="972" y="364"/>
                    <a:pt x="956" y="356"/>
                  </a:cubicBezTo>
                  <a:cubicBezTo>
                    <a:pt x="932" y="348"/>
                    <a:pt x="956" y="309"/>
                    <a:pt x="901" y="332"/>
                  </a:cubicBezTo>
                  <a:cubicBezTo>
                    <a:pt x="845" y="356"/>
                    <a:pt x="837" y="324"/>
                    <a:pt x="806" y="301"/>
                  </a:cubicBezTo>
                  <a:cubicBezTo>
                    <a:pt x="766" y="285"/>
                    <a:pt x="806" y="182"/>
                    <a:pt x="790" y="166"/>
                  </a:cubicBezTo>
                  <a:cubicBezTo>
                    <a:pt x="782" y="151"/>
                    <a:pt x="766" y="87"/>
                    <a:pt x="766" y="48"/>
                  </a:cubicBezTo>
                  <a:cubicBezTo>
                    <a:pt x="758" y="16"/>
                    <a:pt x="719" y="0"/>
                    <a:pt x="679" y="0"/>
                  </a:cubicBezTo>
                  <a:cubicBezTo>
                    <a:pt x="640" y="0"/>
                    <a:pt x="648" y="79"/>
                    <a:pt x="648" y="119"/>
                  </a:cubicBezTo>
                  <a:cubicBezTo>
                    <a:pt x="655" y="151"/>
                    <a:pt x="632" y="151"/>
                    <a:pt x="632" y="151"/>
                  </a:cubicBezTo>
                  <a:cubicBezTo>
                    <a:pt x="426" y="166"/>
                    <a:pt x="213" y="174"/>
                    <a:pt x="0" y="182"/>
                  </a:cubicBezTo>
                  <a:cubicBezTo>
                    <a:pt x="0" y="222"/>
                    <a:pt x="16" y="277"/>
                    <a:pt x="32" y="293"/>
                  </a:cubicBezTo>
                  <a:cubicBezTo>
                    <a:pt x="56" y="324"/>
                    <a:pt x="56" y="348"/>
                    <a:pt x="48" y="372"/>
                  </a:cubicBezTo>
                  <a:cubicBezTo>
                    <a:pt x="40" y="388"/>
                    <a:pt x="0" y="490"/>
                    <a:pt x="32" y="585"/>
                  </a:cubicBezTo>
                  <a:cubicBezTo>
                    <a:pt x="63" y="680"/>
                    <a:pt x="103" y="799"/>
                    <a:pt x="119" y="830"/>
                  </a:cubicBezTo>
                  <a:cubicBezTo>
                    <a:pt x="143" y="862"/>
                    <a:pt x="127" y="941"/>
                    <a:pt x="119" y="1012"/>
                  </a:cubicBezTo>
                  <a:cubicBezTo>
                    <a:pt x="111" y="1083"/>
                    <a:pt x="127" y="1115"/>
                    <a:pt x="127" y="1162"/>
                  </a:cubicBezTo>
                  <a:cubicBezTo>
                    <a:pt x="127" y="1218"/>
                    <a:pt x="158" y="1344"/>
                    <a:pt x="158" y="1384"/>
                  </a:cubicBezTo>
                  <a:cubicBezTo>
                    <a:pt x="158" y="1415"/>
                    <a:pt x="190" y="1415"/>
                    <a:pt x="205" y="1439"/>
                  </a:cubicBezTo>
                  <a:cubicBezTo>
                    <a:pt x="221" y="1455"/>
                    <a:pt x="205" y="1558"/>
                    <a:pt x="213" y="1605"/>
                  </a:cubicBezTo>
                  <a:cubicBezTo>
                    <a:pt x="221" y="1645"/>
                    <a:pt x="182" y="1724"/>
                    <a:pt x="158" y="1739"/>
                  </a:cubicBezTo>
                  <a:cubicBezTo>
                    <a:pt x="127" y="1755"/>
                    <a:pt x="119" y="1787"/>
                    <a:pt x="135" y="1803"/>
                  </a:cubicBezTo>
                  <a:cubicBezTo>
                    <a:pt x="150" y="1818"/>
                    <a:pt x="158" y="1818"/>
                    <a:pt x="158" y="1858"/>
                  </a:cubicBezTo>
                  <a:cubicBezTo>
                    <a:pt x="158" y="1889"/>
                    <a:pt x="182" y="1898"/>
                    <a:pt x="205" y="1898"/>
                  </a:cubicBezTo>
                  <a:cubicBezTo>
                    <a:pt x="229" y="1898"/>
                    <a:pt x="260" y="1913"/>
                    <a:pt x="260" y="1913"/>
                  </a:cubicBezTo>
                  <a:cubicBezTo>
                    <a:pt x="260" y="2767"/>
                    <a:pt x="260" y="2767"/>
                    <a:pt x="260" y="2767"/>
                  </a:cubicBezTo>
                  <a:cubicBezTo>
                    <a:pt x="260" y="2767"/>
                    <a:pt x="1438" y="2783"/>
                    <a:pt x="2055" y="2712"/>
                  </a:cubicBezTo>
                </a:path>
              </a:pathLst>
            </a:custGeom>
            <a:solidFill>
              <a:schemeClr val="accent4"/>
            </a:solidFill>
            <a:ln>
              <a:solidFill>
                <a:schemeClr val="bg1">
                  <a:lumMod val="95000"/>
                </a:schemeClr>
              </a:solidFill>
            </a:ln>
            <a:effectLst/>
          </p:spPr>
          <p:txBody>
            <a:bodyPr wrap="none" anchor="ctr"/>
            <a:lstStyle/>
            <a:p>
              <a:endParaRPr lang="en-US" sz="900"/>
            </a:p>
          </p:txBody>
        </p:sp>
        <p:sp>
          <p:nvSpPr>
            <p:cNvPr id="63" name="Freeform 509"/>
            <p:cNvSpPr>
              <a:spLocks noChangeArrowheads="1"/>
            </p:cNvSpPr>
            <p:nvPr/>
          </p:nvSpPr>
          <p:spPr bwMode="auto">
            <a:xfrm>
              <a:off x="12144127" y="3591604"/>
              <a:ext cx="1296493" cy="1461163"/>
            </a:xfrm>
            <a:custGeom>
              <a:avLst/>
              <a:gdLst>
                <a:gd name="T0" fmla="*/ 260 w 2467"/>
                <a:gd name="T1" fmla="*/ 2767 h 2776"/>
                <a:gd name="T2" fmla="*/ 151 w 2467"/>
                <a:gd name="T3" fmla="*/ 1818 h 2776"/>
                <a:gd name="T4" fmla="*/ 221 w 2467"/>
                <a:gd name="T5" fmla="*/ 1605 h 2776"/>
                <a:gd name="T6" fmla="*/ 166 w 2467"/>
                <a:gd name="T7" fmla="*/ 1384 h 2776"/>
                <a:gd name="T8" fmla="*/ 127 w 2467"/>
                <a:gd name="T9" fmla="*/ 1012 h 2776"/>
                <a:gd name="T10" fmla="*/ 40 w 2467"/>
                <a:gd name="T11" fmla="*/ 301 h 2776"/>
                <a:gd name="T12" fmla="*/ 640 w 2467"/>
                <a:gd name="T13" fmla="*/ 151 h 2776"/>
                <a:gd name="T14" fmla="*/ 687 w 2467"/>
                <a:gd name="T15" fmla="*/ 0 h 2776"/>
                <a:gd name="T16" fmla="*/ 814 w 2467"/>
                <a:gd name="T17" fmla="*/ 301 h 2776"/>
                <a:gd name="T18" fmla="*/ 932 w 2467"/>
                <a:gd name="T19" fmla="*/ 324 h 2776"/>
                <a:gd name="T20" fmla="*/ 1082 w 2467"/>
                <a:gd name="T21" fmla="*/ 388 h 2776"/>
                <a:gd name="T22" fmla="*/ 1320 w 2467"/>
                <a:gd name="T23" fmla="*/ 317 h 2776"/>
                <a:gd name="T24" fmla="*/ 1565 w 2467"/>
                <a:gd name="T25" fmla="*/ 506 h 2776"/>
                <a:gd name="T26" fmla="*/ 1628 w 2467"/>
                <a:gd name="T27" fmla="*/ 435 h 2776"/>
                <a:gd name="T28" fmla="*/ 1873 w 2467"/>
                <a:gd name="T29" fmla="*/ 601 h 2776"/>
                <a:gd name="T30" fmla="*/ 2070 w 2467"/>
                <a:gd name="T31" fmla="*/ 546 h 2776"/>
                <a:gd name="T32" fmla="*/ 2142 w 2467"/>
                <a:gd name="T33" fmla="*/ 538 h 2776"/>
                <a:gd name="T34" fmla="*/ 2347 w 2467"/>
                <a:gd name="T35" fmla="*/ 570 h 2776"/>
                <a:gd name="T36" fmla="*/ 2276 w 2467"/>
                <a:gd name="T37" fmla="*/ 680 h 2776"/>
                <a:gd name="T38" fmla="*/ 1707 w 2467"/>
                <a:gd name="T39" fmla="*/ 1162 h 2776"/>
                <a:gd name="T40" fmla="*/ 1683 w 2467"/>
                <a:gd name="T41" fmla="*/ 1186 h 2776"/>
                <a:gd name="T42" fmla="*/ 1628 w 2467"/>
                <a:gd name="T43" fmla="*/ 1392 h 2776"/>
                <a:gd name="T44" fmla="*/ 1470 w 2467"/>
                <a:gd name="T45" fmla="*/ 1668 h 2776"/>
                <a:gd name="T46" fmla="*/ 1493 w 2467"/>
                <a:gd name="T47" fmla="*/ 1787 h 2776"/>
                <a:gd name="T48" fmla="*/ 1502 w 2467"/>
                <a:gd name="T49" fmla="*/ 1969 h 2776"/>
                <a:gd name="T50" fmla="*/ 1525 w 2467"/>
                <a:gd name="T51" fmla="*/ 2174 h 2776"/>
                <a:gd name="T52" fmla="*/ 1675 w 2467"/>
                <a:gd name="T53" fmla="*/ 2277 h 2776"/>
                <a:gd name="T54" fmla="*/ 1786 w 2467"/>
                <a:gd name="T55" fmla="*/ 2316 h 2776"/>
                <a:gd name="T56" fmla="*/ 2063 w 2467"/>
                <a:gd name="T57" fmla="*/ 2712 h 2776"/>
                <a:gd name="T58" fmla="*/ 268 w 2467"/>
                <a:gd name="T59" fmla="*/ 2759 h 2776"/>
                <a:gd name="T60" fmla="*/ 2031 w 2467"/>
                <a:gd name="T61" fmla="*/ 2601 h 2776"/>
                <a:gd name="T62" fmla="*/ 1715 w 2467"/>
                <a:gd name="T63" fmla="*/ 2293 h 2776"/>
                <a:gd name="T64" fmla="*/ 1628 w 2467"/>
                <a:gd name="T65" fmla="*/ 2245 h 2776"/>
                <a:gd name="T66" fmla="*/ 1493 w 2467"/>
                <a:gd name="T67" fmla="*/ 2151 h 2776"/>
                <a:gd name="T68" fmla="*/ 1486 w 2467"/>
                <a:gd name="T69" fmla="*/ 1937 h 2776"/>
                <a:gd name="T70" fmla="*/ 1462 w 2467"/>
                <a:gd name="T71" fmla="*/ 1779 h 2776"/>
                <a:gd name="T72" fmla="*/ 1493 w 2467"/>
                <a:gd name="T73" fmla="*/ 1613 h 2776"/>
                <a:gd name="T74" fmla="*/ 1620 w 2467"/>
                <a:gd name="T75" fmla="*/ 1360 h 2776"/>
                <a:gd name="T76" fmla="*/ 1699 w 2467"/>
                <a:gd name="T77" fmla="*/ 1154 h 2776"/>
                <a:gd name="T78" fmla="*/ 2276 w 2467"/>
                <a:gd name="T79" fmla="*/ 672 h 2776"/>
                <a:gd name="T80" fmla="*/ 2276 w 2467"/>
                <a:gd name="T81" fmla="*/ 530 h 2776"/>
                <a:gd name="T82" fmla="*/ 2094 w 2467"/>
                <a:gd name="T83" fmla="*/ 554 h 2776"/>
                <a:gd name="T84" fmla="*/ 2007 w 2467"/>
                <a:gd name="T85" fmla="*/ 475 h 2776"/>
                <a:gd name="T86" fmla="*/ 1739 w 2467"/>
                <a:gd name="T87" fmla="*/ 538 h 2776"/>
                <a:gd name="T88" fmla="*/ 1604 w 2467"/>
                <a:gd name="T89" fmla="*/ 467 h 2776"/>
                <a:gd name="T90" fmla="*/ 1502 w 2467"/>
                <a:gd name="T91" fmla="*/ 435 h 2776"/>
                <a:gd name="T92" fmla="*/ 1162 w 2467"/>
                <a:gd name="T93" fmla="*/ 395 h 2776"/>
                <a:gd name="T94" fmla="*/ 964 w 2467"/>
                <a:gd name="T95" fmla="*/ 356 h 2776"/>
                <a:gd name="T96" fmla="*/ 877 w 2467"/>
                <a:gd name="T97" fmla="*/ 348 h 2776"/>
                <a:gd name="T98" fmla="*/ 798 w 2467"/>
                <a:gd name="T99" fmla="*/ 166 h 2776"/>
                <a:gd name="T100" fmla="*/ 663 w 2467"/>
                <a:gd name="T101" fmla="*/ 119 h 2776"/>
                <a:gd name="T102" fmla="*/ 40 w 2467"/>
                <a:gd name="T103" fmla="*/ 293 h 2776"/>
                <a:gd name="T104" fmla="*/ 135 w 2467"/>
                <a:gd name="T105" fmla="*/ 1012 h 2776"/>
                <a:gd name="T106" fmla="*/ 174 w 2467"/>
                <a:gd name="T107" fmla="*/ 1384 h 2776"/>
                <a:gd name="T108" fmla="*/ 229 w 2467"/>
                <a:gd name="T109" fmla="*/ 1597 h 2776"/>
                <a:gd name="T110" fmla="*/ 158 w 2467"/>
                <a:gd name="T111" fmla="*/ 1811 h 2776"/>
                <a:gd name="T112" fmla="*/ 268 w 2467"/>
                <a:gd name="T113" fmla="*/ 1913 h 2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67" h="2776">
                  <a:moveTo>
                    <a:pt x="553" y="2775"/>
                  </a:moveTo>
                  <a:lnTo>
                    <a:pt x="553" y="2775"/>
                  </a:lnTo>
                  <a:cubicBezTo>
                    <a:pt x="379" y="2775"/>
                    <a:pt x="268" y="2767"/>
                    <a:pt x="268" y="2767"/>
                  </a:cubicBezTo>
                  <a:cubicBezTo>
                    <a:pt x="260" y="2767"/>
                    <a:pt x="260" y="2767"/>
                    <a:pt x="260" y="2767"/>
                  </a:cubicBezTo>
                  <a:cubicBezTo>
                    <a:pt x="260" y="1913"/>
                    <a:pt x="260" y="1913"/>
                    <a:pt x="260" y="1913"/>
                  </a:cubicBezTo>
                  <a:cubicBezTo>
                    <a:pt x="252" y="1913"/>
                    <a:pt x="229" y="1898"/>
                    <a:pt x="213" y="1898"/>
                  </a:cubicBezTo>
                  <a:cubicBezTo>
                    <a:pt x="190" y="1898"/>
                    <a:pt x="166" y="1889"/>
                    <a:pt x="166" y="1858"/>
                  </a:cubicBezTo>
                  <a:cubicBezTo>
                    <a:pt x="166" y="1834"/>
                    <a:pt x="158" y="1826"/>
                    <a:pt x="151" y="1818"/>
                  </a:cubicBezTo>
                  <a:lnTo>
                    <a:pt x="143" y="1811"/>
                  </a:lnTo>
                  <a:cubicBezTo>
                    <a:pt x="135" y="1795"/>
                    <a:pt x="135" y="1787"/>
                    <a:pt x="135" y="1771"/>
                  </a:cubicBezTo>
                  <a:cubicBezTo>
                    <a:pt x="135" y="1763"/>
                    <a:pt x="151" y="1747"/>
                    <a:pt x="158" y="1739"/>
                  </a:cubicBezTo>
                  <a:cubicBezTo>
                    <a:pt x="190" y="1724"/>
                    <a:pt x="229" y="1645"/>
                    <a:pt x="221" y="1605"/>
                  </a:cubicBezTo>
                  <a:cubicBezTo>
                    <a:pt x="213" y="1581"/>
                    <a:pt x="213" y="1550"/>
                    <a:pt x="221" y="1526"/>
                  </a:cubicBezTo>
                  <a:cubicBezTo>
                    <a:pt x="221" y="1487"/>
                    <a:pt x="221" y="1447"/>
                    <a:pt x="213" y="1439"/>
                  </a:cubicBezTo>
                  <a:cubicBezTo>
                    <a:pt x="205" y="1431"/>
                    <a:pt x="198" y="1431"/>
                    <a:pt x="198" y="1423"/>
                  </a:cubicBezTo>
                  <a:cubicBezTo>
                    <a:pt x="182" y="1415"/>
                    <a:pt x="166" y="1407"/>
                    <a:pt x="166" y="1384"/>
                  </a:cubicBezTo>
                  <a:cubicBezTo>
                    <a:pt x="166" y="1360"/>
                    <a:pt x="158" y="1328"/>
                    <a:pt x="151" y="1289"/>
                  </a:cubicBezTo>
                  <a:cubicBezTo>
                    <a:pt x="143" y="1241"/>
                    <a:pt x="135" y="1194"/>
                    <a:pt x="135" y="1162"/>
                  </a:cubicBezTo>
                  <a:cubicBezTo>
                    <a:pt x="135" y="1147"/>
                    <a:pt x="135" y="1131"/>
                    <a:pt x="127" y="1115"/>
                  </a:cubicBezTo>
                  <a:cubicBezTo>
                    <a:pt x="127" y="1083"/>
                    <a:pt x="119" y="1060"/>
                    <a:pt x="127" y="1012"/>
                  </a:cubicBezTo>
                  <a:cubicBezTo>
                    <a:pt x="135" y="949"/>
                    <a:pt x="143" y="862"/>
                    <a:pt x="127" y="830"/>
                  </a:cubicBezTo>
                  <a:cubicBezTo>
                    <a:pt x="111" y="799"/>
                    <a:pt x="64" y="672"/>
                    <a:pt x="40" y="585"/>
                  </a:cubicBezTo>
                  <a:cubicBezTo>
                    <a:pt x="0" y="482"/>
                    <a:pt x="48" y="372"/>
                    <a:pt x="48" y="364"/>
                  </a:cubicBezTo>
                  <a:cubicBezTo>
                    <a:pt x="64" y="340"/>
                    <a:pt x="56" y="317"/>
                    <a:pt x="40" y="301"/>
                  </a:cubicBezTo>
                  <a:cubicBezTo>
                    <a:pt x="24" y="277"/>
                    <a:pt x="8" y="222"/>
                    <a:pt x="8" y="182"/>
                  </a:cubicBezTo>
                  <a:cubicBezTo>
                    <a:pt x="8" y="174"/>
                    <a:pt x="8" y="174"/>
                    <a:pt x="8" y="174"/>
                  </a:cubicBezTo>
                  <a:lnTo>
                    <a:pt x="8" y="174"/>
                  </a:lnTo>
                  <a:cubicBezTo>
                    <a:pt x="229" y="174"/>
                    <a:pt x="442" y="158"/>
                    <a:pt x="640" y="151"/>
                  </a:cubicBezTo>
                  <a:cubicBezTo>
                    <a:pt x="640" y="151"/>
                    <a:pt x="648" y="151"/>
                    <a:pt x="648" y="142"/>
                  </a:cubicBezTo>
                  <a:cubicBezTo>
                    <a:pt x="656" y="142"/>
                    <a:pt x="656" y="135"/>
                    <a:pt x="656" y="119"/>
                  </a:cubicBezTo>
                  <a:cubicBezTo>
                    <a:pt x="648" y="64"/>
                    <a:pt x="648" y="24"/>
                    <a:pt x="663" y="8"/>
                  </a:cubicBezTo>
                  <a:cubicBezTo>
                    <a:pt x="671" y="0"/>
                    <a:pt x="679" y="0"/>
                    <a:pt x="687" y="0"/>
                  </a:cubicBezTo>
                  <a:cubicBezTo>
                    <a:pt x="743" y="0"/>
                    <a:pt x="774" y="16"/>
                    <a:pt x="774" y="48"/>
                  </a:cubicBezTo>
                  <a:cubicBezTo>
                    <a:pt x="782" y="95"/>
                    <a:pt x="790" y="151"/>
                    <a:pt x="806" y="166"/>
                  </a:cubicBezTo>
                  <a:cubicBezTo>
                    <a:pt x="814" y="174"/>
                    <a:pt x="806" y="190"/>
                    <a:pt x="806" y="214"/>
                  </a:cubicBezTo>
                  <a:cubicBezTo>
                    <a:pt x="798" y="245"/>
                    <a:pt x="790" y="285"/>
                    <a:pt x="814" y="301"/>
                  </a:cubicBezTo>
                  <a:cubicBezTo>
                    <a:pt x="822" y="301"/>
                    <a:pt x="829" y="309"/>
                    <a:pt x="837" y="317"/>
                  </a:cubicBezTo>
                  <a:cubicBezTo>
                    <a:pt x="853" y="324"/>
                    <a:pt x="861" y="340"/>
                    <a:pt x="877" y="340"/>
                  </a:cubicBezTo>
                  <a:cubicBezTo>
                    <a:pt x="885" y="340"/>
                    <a:pt x="893" y="332"/>
                    <a:pt x="909" y="332"/>
                  </a:cubicBezTo>
                  <a:cubicBezTo>
                    <a:pt x="916" y="324"/>
                    <a:pt x="924" y="324"/>
                    <a:pt x="932" y="324"/>
                  </a:cubicBezTo>
                  <a:cubicBezTo>
                    <a:pt x="948" y="324"/>
                    <a:pt x="956" y="332"/>
                    <a:pt x="956" y="340"/>
                  </a:cubicBezTo>
                  <a:cubicBezTo>
                    <a:pt x="956" y="348"/>
                    <a:pt x="956" y="348"/>
                    <a:pt x="964" y="348"/>
                  </a:cubicBezTo>
                  <a:cubicBezTo>
                    <a:pt x="972" y="356"/>
                    <a:pt x="980" y="356"/>
                    <a:pt x="987" y="356"/>
                  </a:cubicBezTo>
                  <a:cubicBezTo>
                    <a:pt x="1019" y="356"/>
                    <a:pt x="1067" y="356"/>
                    <a:pt x="1082" y="388"/>
                  </a:cubicBezTo>
                  <a:cubicBezTo>
                    <a:pt x="1090" y="404"/>
                    <a:pt x="1098" y="411"/>
                    <a:pt x="1114" y="411"/>
                  </a:cubicBezTo>
                  <a:cubicBezTo>
                    <a:pt x="1122" y="411"/>
                    <a:pt x="1138" y="404"/>
                    <a:pt x="1162" y="388"/>
                  </a:cubicBezTo>
                  <a:cubicBezTo>
                    <a:pt x="1169" y="388"/>
                    <a:pt x="1177" y="380"/>
                    <a:pt x="1185" y="372"/>
                  </a:cubicBezTo>
                  <a:cubicBezTo>
                    <a:pt x="1217" y="348"/>
                    <a:pt x="1264" y="317"/>
                    <a:pt x="1320" y="317"/>
                  </a:cubicBezTo>
                  <a:cubicBezTo>
                    <a:pt x="1335" y="317"/>
                    <a:pt x="1351" y="317"/>
                    <a:pt x="1359" y="324"/>
                  </a:cubicBezTo>
                  <a:cubicBezTo>
                    <a:pt x="1430" y="356"/>
                    <a:pt x="1486" y="388"/>
                    <a:pt x="1509" y="435"/>
                  </a:cubicBezTo>
                  <a:cubicBezTo>
                    <a:pt x="1517" y="443"/>
                    <a:pt x="1517" y="443"/>
                    <a:pt x="1517" y="451"/>
                  </a:cubicBezTo>
                  <a:cubicBezTo>
                    <a:pt x="1533" y="482"/>
                    <a:pt x="1541" y="506"/>
                    <a:pt x="1565" y="506"/>
                  </a:cubicBezTo>
                  <a:cubicBezTo>
                    <a:pt x="1565" y="506"/>
                    <a:pt x="1573" y="506"/>
                    <a:pt x="1573" y="498"/>
                  </a:cubicBezTo>
                  <a:cubicBezTo>
                    <a:pt x="1588" y="498"/>
                    <a:pt x="1596" y="482"/>
                    <a:pt x="1604" y="459"/>
                  </a:cubicBezTo>
                  <a:cubicBezTo>
                    <a:pt x="1604" y="451"/>
                    <a:pt x="1612" y="435"/>
                    <a:pt x="1620" y="435"/>
                  </a:cubicBezTo>
                  <a:cubicBezTo>
                    <a:pt x="1628" y="435"/>
                    <a:pt x="1628" y="435"/>
                    <a:pt x="1628" y="435"/>
                  </a:cubicBezTo>
                  <a:cubicBezTo>
                    <a:pt x="1636" y="443"/>
                    <a:pt x="1636" y="443"/>
                    <a:pt x="1644" y="443"/>
                  </a:cubicBezTo>
                  <a:cubicBezTo>
                    <a:pt x="1667" y="467"/>
                    <a:pt x="1723" y="498"/>
                    <a:pt x="1746" y="538"/>
                  </a:cubicBezTo>
                  <a:cubicBezTo>
                    <a:pt x="1762" y="562"/>
                    <a:pt x="1810" y="609"/>
                    <a:pt x="1849" y="609"/>
                  </a:cubicBezTo>
                  <a:cubicBezTo>
                    <a:pt x="1857" y="609"/>
                    <a:pt x="1865" y="601"/>
                    <a:pt x="1873" y="601"/>
                  </a:cubicBezTo>
                  <a:cubicBezTo>
                    <a:pt x="1881" y="593"/>
                    <a:pt x="1897" y="570"/>
                    <a:pt x="1913" y="546"/>
                  </a:cubicBezTo>
                  <a:cubicBezTo>
                    <a:pt x="1952" y="506"/>
                    <a:pt x="1984" y="467"/>
                    <a:pt x="2007" y="467"/>
                  </a:cubicBezTo>
                  <a:cubicBezTo>
                    <a:pt x="2015" y="467"/>
                    <a:pt x="2015" y="467"/>
                    <a:pt x="2015" y="467"/>
                  </a:cubicBezTo>
                  <a:cubicBezTo>
                    <a:pt x="2055" y="490"/>
                    <a:pt x="2070" y="522"/>
                    <a:pt x="2070" y="546"/>
                  </a:cubicBezTo>
                  <a:cubicBezTo>
                    <a:pt x="2070" y="554"/>
                    <a:pt x="2079" y="554"/>
                    <a:pt x="2079" y="554"/>
                  </a:cubicBezTo>
                  <a:cubicBezTo>
                    <a:pt x="2079" y="554"/>
                    <a:pt x="2086" y="554"/>
                    <a:pt x="2094" y="546"/>
                  </a:cubicBezTo>
                  <a:cubicBezTo>
                    <a:pt x="2102" y="546"/>
                    <a:pt x="2110" y="546"/>
                    <a:pt x="2118" y="546"/>
                  </a:cubicBezTo>
                  <a:cubicBezTo>
                    <a:pt x="2118" y="538"/>
                    <a:pt x="2126" y="538"/>
                    <a:pt x="2142" y="538"/>
                  </a:cubicBezTo>
                  <a:cubicBezTo>
                    <a:pt x="2173" y="530"/>
                    <a:pt x="2221" y="514"/>
                    <a:pt x="2252" y="514"/>
                  </a:cubicBezTo>
                  <a:cubicBezTo>
                    <a:pt x="2260" y="514"/>
                    <a:pt x="2268" y="514"/>
                    <a:pt x="2276" y="522"/>
                  </a:cubicBezTo>
                  <a:cubicBezTo>
                    <a:pt x="2292" y="530"/>
                    <a:pt x="2300" y="538"/>
                    <a:pt x="2308" y="546"/>
                  </a:cubicBezTo>
                  <a:cubicBezTo>
                    <a:pt x="2324" y="562"/>
                    <a:pt x="2332" y="570"/>
                    <a:pt x="2347" y="570"/>
                  </a:cubicBezTo>
                  <a:cubicBezTo>
                    <a:pt x="2371" y="570"/>
                    <a:pt x="2419" y="570"/>
                    <a:pt x="2450" y="570"/>
                  </a:cubicBezTo>
                  <a:cubicBezTo>
                    <a:pt x="2466" y="570"/>
                    <a:pt x="2466" y="570"/>
                    <a:pt x="2466" y="570"/>
                  </a:cubicBezTo>
                  <a:cubicBezTo>
                    <a:pt x="2458" y="570"/>
                    <a:pt x="2458" y="570"/>
                    <a:pt x="2458" y="570"/>
                  </a:cubicBezTo>
                  <a:cubicBezTo>
                    <a:pt x="2387" y="641"/>
                    <a:pt x="2308" y="664"/>
                    <a:pt x="2276" y="680"/>
                  </a:cubicBezTo>
                  <a:cubicBezTo>
                    <a:pt x="2260" y="680"/>
                    <a:pt x="2260" y="680"/>
                    <a:pt x="2260" y="680"/>
                  </a:cubicBezTo>
                  <a:cubicBezTo>
                    <a:pt x="2205" y="704"/>
                    <a:pt x="2110" y="735"/>
                    <a:pt x="2079" y="799"/>
                  </a:cubicBezTo>
                  <a:cubicBezTo>
                    <a:pt x="2055" y="854"/>
                    <a:pt x="1841" y="1044"/>
                    <a:pt x="1707" y="1154"/>
                  </a:cubicBezTo>
                  <a:cubicBezTo>
                    <a:pt x="1707" y="1162"/>
                    <a:pt x="1707" y="1162"/>
                    <a:pt x="1707" y="1162"/>
                  </a:cubicBezTo>
                  <a:cubicBezTo>
                    <a:pt x="1699" y="1170"/>
                    <a:pt x="1683" y="1178"/>
                    <a:pt x="1683" y="1178"/>
                  </a:cubicBezTo>
                  <a:lnTo>
                    <a:pt x="1683" y="1178"/>
                  </a:lnTo>
                  <a:cubicBezTo>
                    <a:pt x="1683" y="1186"/>
                    <a:pt x="1683" y="1186"/>
                    <a:pt x="1683" y="1186"/>
                  </a:cubicBezTo>
                  <a:lnTo>
                    <a:pt x="1683" y="1186"/>
                  </a:lnTo>
                  <a:cubicBezTo>
                    <a:pt x="1675" y="1194"/>
                    <a:pt x="1628" y="1249"/>
                    <a:pt x="1612" y="1257"/>
                  </a:cubicBezTo>
                  <a:cubicBezTo>
                    <a:pt x="1604" y="1257"/>
                    <a:pt x="1612" y="1297"/>
                    <a:pt x="1620" y="1321"/>
                  </a:cubicBezTo>
                  <a:cubicBezTo>
                    <a:pt x="1620" y="1336"/>
                    <a:pt x="1620" y="1344"/>
                    <a:pt x="1628" y="1360"/>
                  </a:cubicBezTo>
                  <a:cubicBezTo>
                    <a:pt x="1628" y="1368"/>
                    <a:pt x="1628" y="1376"/>
                    <a:pt x="1628" y="1392"/>
                  </a:cubicBezTo>
                  <a:cubicBezTo>
                    <a:pt x="1636" y="1431"/>
                    <a:pt x="1652" y="1502"/>
                    <a:pt x="1620" y="1542"/>
                  </a:cubicBezTo>
                  <a:cubicBezTo>
                    <a:pt x="1604" y="1574"/>
                    <a:pt x="1580" y="1581"/>
                    <a:pt x="1557" y="1589"/>
                  </a:cubicBezTo>
                  <a:cubicBezTo>
                    <a:pt x="1533" y="1597"/>
                    <a:pt x="1517" y="1605"/>
                    <a:pt x="1502" y="1621"/>
                  </a:cubicBezTo>
                  <a:cubicBezTo>
                    <a:pt x="1478" y="1637"/>
                    <a:pt x="1470" y="1652"/>
                    <a:pt x="1470" y="1668"/>
                  </a:cubicBezTo>
                  <a:cubicBezTo>
                    <a:pt x="1470" y="1684"/>
                    <a:pt x="1462" y="1700"/>
                    <a:pt x="1446" y="1724"/>
                  </a:cubicBezTo>
                  <a:cubicBezTo>
                    <a:pt x="1438" y="1739"/>
                    <a:pt x="1438" y="1747"/>
                    <a:pt x="1438" y="1755"/>
                  </a:cubicBezTo>
                  <a:cubicBezTo>
                    <a:pt x="1446" y="1763"/>
                    <a:pt x="1454" y="1771"/>
                    <a:pt x="1470" y="1771"/>
                  </a:cubicBezTo>
                  <a:cubicBezTo>
                    <a:pt x="1478" y="1779"/>
                    <a:pt x="1486" y="1779"/>
                    <a:pt x="1493" y="1787"/>
                  </a:cubicBezTo>
                  <a:cubicBezTo>
                    <a:pt x="1517" y="1795"/>
                    <a:pt x="1525" y="1818"/>
                    <a:pt x="1525" y="1842"/>
                  </a:cubicBezTo>
                  <a:cubicBezTo>
                    <a:pt x="1525" y="1866"/>
                    <a:pt x="1517" y="1882"/>
                    <a:pt x="1509" y="1898"/>
                  </a:cubicBezTo>
                  <a:cubicBezTo>
                    <a:pt x="1486" y="1913"/>
                    <a:pt x="1493" y="1921"/>
                    <a:pt x="1493" y="1937"/>
                  </a:cubicBezTo>
                  <a:cubicBezTo>
                    <a:pt x="1502" y="1945"/>
                    <a:pt x="1502" y="1961"/>
                    <a:pt x="1502" y="1969"/>
                  </a:cubicBezTo>
                  <a:cubicBezTo>
                    <a:pt x="1509" y="2008"/>
                    <a:pt x="1509" y="2008"/>
                    <a:pt x="1493" y="2048"/>
                  </a:cubicBezTo>
                  <a:cubicBezTo>
                    <a:pt x="1493" y="2056"/>
                    <a:pt x="1486" y="2064"/>
                    <a:pt x="1486" y="2071"/>
                  </a:cubicBezTo>
                  <a:cubicBezTo>
                    <a:pt x="1470" y="2119"/>
                    <a:pt x="1486" y="2127"/>
                    <a:pt x="1502" y="2143"/>
                  </a:cubicBezTo>
                  <a:cubicBezTo>
                    <a:pt x="1509" y="2151"/>
                    <a:pt x="1517" y="2166"/>
                    <a:pt x="1525" y="2174"/>
                  </a:cubicBezTo>
                  <a:cubicBezTo>
                    <a:pt x="1533" y="2198"/>
                    <a:pt x="1557" y="2206"/>
                    <a:pt x="1580" y="2214"/>
                  </a:cubicBezTo>
                  <a:cubicBezTo>
                    <a:pt x="1588" y="2222"/>
                    <a:pt x="1596" y="2222"/>
                    <a:pt x="1604" y="2229"/>
                  </a:cubicBezTo>
                  <a:cubicBezTo>
                    <a:pt x="1620" y="2238"/>
                    <a:pt x="1628" y="2238"/>
                    <a:pt x="1636" y="2238"/>
                  </a:cubicBezTo>
                  <a:cubicBezTo>
                    <a:pt x="1652" y="2245"/>
                    <a:pt x="1667" y="2245"/>
                    <a:pt x="1675" y="2277"/>
                  </a:cubicBezTo>
                  <a:cubicBezTo>
                    <a:pt x="1675" y="2285"/>
                    <a:pt x="1683" y="2285"/>
                    <a:pt x="1691" y="2285"/>
                  </a:cubicBezTo>
                  <a:lnTo>
                    <a:pt x="1699" y="2285"/>
                  </a:lnTo>
                  <a:cubicBezTo>
                    <a:pt x="1707" y="2285"/>
                    <a:pt x="1715" y="2285"/>
                    <a:pt x="1715" y="2285"/>
                  </a:cubicBezTo>
                  <a:cubicBezTo>
                    <a:pt x="1731" y="2285"/>
                    <a:pt x="1762" y="2293"/>
                    <a:pt x="1786" y="2316"/>
                  </a:cubicBezTo>
                  <a:cubicBezTo>
                    <a:pt x="1810" y="2340"/>
                    <a:pt x="1833" y="2364"/>
                    <a:pt x="1857" y="2388"/>
                  </a:cubicBezTo>
                  <a:cubicBezTo>
                    <a:pt x="1897" y="2427"/>
                    <a:pt x="1928" y="2467"/>
                    <a:pt x="1944" y="2467"/>
                  </a:cubicBezTo>
                  <a:cubicBezTo>
                    <a:pt x="1984" y="2475"/>
                    <a:pt x="2039" y="2538"/>
                    <a:pt x="2039" y="2601"/>
                  </a:cubicBezTo>
                  <a:cubicBezTo>
                    <a:pt x="2031" y="2641"/>
                    <a:pt x="2047" y="2680"/>
                    <a:pt x="2063" y="2712"/>
                  </a:cubicBezTo>
                  <a:lnTo>
                    <a:pt x="2063" y="2712"/>
                  </a:lnTo>
                  <a:cubicBezTo>
                    <a:pt x="2063" y="2720"/>
                    <a:pt x="2063" y="2720"/>
                    <a:pt x="2063" y="2720"/>
                  </a:cubicBezTo>
                  <a:cubicBezTo>
                    <a:pt x="1636" y="2767"/>
                    <a:pt x="932" y="2775"/>
                    <a:pt x="553" y="2775"/>
                  </a:cubicBezTo>
                  <a:lnTo>
                    <a:pt x="268" y="2759"/>
                  </a:lnTo>
                  <a:lnTo>
                    <a:pt x="268" y="2759"/>
                  </a:lnTo>
                  <a:cubicBezTo>
                    <a:pt x="292" y="2767"/>
                    <a:pt x="394" y="2767"/>
                    <a:pt x="553" y="2767"/>
                  </a:cubicBezTo>
                  <a:cubicBezTo>
                    <a:pt x="932" y="2767"/>
                    <a:pt x="1628" y="2759"/>
                    <a:pt x="2055" y="2712"/>
                  </a:cubicBezTo>
                  <a:cubicBezTo>
                    <a:pt x="2039" y="2672"/>
                    <a:pt x="2023" y="2641"/>
                    <a:pt x="2031" y="2601"/>
                  </a:cubicBezTo>
                  <a:cubicBezTo>
                    <a:pt x="2031" y="2546"/>
                    <a:pt x="1976" y="2482"/>
                    <a:pt x="1944" y="2475"/>
                  </a:cubicBezTo>
                  <a:cubicBezTo>
                    <a:pt x="1928" y="2475"/>
                    <a:pt x="1889" y="2435"/>
                    <a:pt x="1849" y="2396"/>
                  </a:cubicBezTo>
                  <a:cubicBezTo>
                    <a:pt x="1826" y="2372"/>
                    <a:pt x="1802" y="2340"/>
                    <a:pt x="1786" y="2324"/>
                  </a:cubicBezTo>
                  <a:cubicBezTo>
                    <a:pt x="1754" y="2301"/>
                    <a:pt x="1731" y="2293"/>
                    <a:pt x="1715" y="2293"/>
                  </a:cubicBezTo>
                  <a:cubicBezTo>
                    <a:pt x="1715" y="2293"/>
                    <a:pt x="1707" y="2293"/>
                    <a:pt x="1699" y="2293"/>
                  </a:cubicBezTo>
                  <a:lnTo>
                    <a:pt x="1691" y="2293"/>
                  </a:lnTo>
                  <a:cubicBezTo>
                    <a:pt x="1683" y="2293"/>
                    <a:pt x="1667" y="2293"/>
                    <a:pt x="1667" y="2277"/>
                  </a:cubicBezTo>
                  <a:cubicBezTo>
                    <a:pt x="1659" y="2253"/>
                    <a:pt x="1652" y="2253"/>
                    <a:pt x="1628" y="2245"/>
                  </a:cubicBezTo>
                  <a:cubicBezTo>
                    <a:pt x="1620" y="2245"/>
                    <a:pt x="1612" y="2245"/>
                    <a:pt x="1604" y="2238"/>
                  </a:cubicBezTo>
                  <a:cubicBezTo>
                    <a:pt x="1596" y="2229"/>
                    <a:pt x="1588" y="2229"/>
                    <a:pt x="1573" y="2222"/>
                  </a:cubicBezTo>
                  <a:cubicBezTo>
                    <a:pt x="1549" y="2214"/>
                    <a:pt x="1525" y="2206"/>
                    <a:pt x="1517" y="2182"/>
                  </a:cubicBezTo>
                  <a:cubicBezTo>
                    <a:pt x="1509" y="2166"/>
                    <a:pt x="1502" y="2158"/>
                    <a:pt x="1493" y="2151"/>
                  </a:cubicBezTo>
                  <a:cubicBezTo>
                    <a:pt x="1478" y="2135"/>
                    <a:pt x="1462" y="2119"/>
                    <a:pt x="1478" y="2071"/>
                  </a:cubicBezTo>
                  <a:cubicBezTo>
                    <a:pt x="1478" y="2064"/>
                    <a:pt x="1486" y="2048"/>
                    <a:pt x="1486" y="2040"/>
                  </a:cubicBezTo>
                  <a:cubicBezTo>
                    <a:pt x="1502" y="2008"/>
                    <a:pt x="1502" y="2008"/>
                    <a:pt x="1493" y="1969"/>
                  </a:cubicBezTo>
                  <a:cubicBezTo>
                    <a:pt x="1493" y="1961"/>
                    <a:pt x="1493" y="1953"/>
                    <a:pt x="1486" y="1937"/>
                  </a:cubicBezTo>
                  <a:cubicBezTo>
                    <a:pt x="1486" y="1921"/>
                    <a:pt x="1478" y="1905"/>
                    <a:pt x="1502" y="1889"/>
                  </a:cubicBezTo>
                  <a:cubicBezTo>
                    <a:pt x="1517" y="1874"/>
                    <a:pt x="1517" y="1858"/>
                    <a:pt x="1517" y="1842"/>
                  </a:cubicBezTo>
                  <a:cubicBezTo>
                    <a:pt x="1517" y="1818"/>
                    <a:pt x="1509" y="1803"/>
                    <a:pt x="1493" y="1795"/>
                  </a:cubicBezTo>
                  <a:cubicBezTo>
                    <a:pt x="1486" y="1787"/>
                    <a:pt x="1478" y="1787"/>
                    <a:pt x="1462" y="1779"/>
                  </a:cubicBezTo>
                  <a:cubicBezTo>
                    <a:pt x="1454" y="1771"/>
                    <a:pt x="1438" y="1771"/>
                    <a:pt x="1430" y="1755"/>
                  </a:cubicBezTo>
                  <a:cubicBezTo>
                    <a:pt x="1430" y="1747"/>
                    <a:pt x="1430" y="1739"/>
                    <a:pt x="1446" y="1724"/>
                  </a:cubicBezTo>
                  <a:cubicBezTo>
                    <a:pt x="1454" y="1700"/>
                    <a:pt x="1462" y="1684"/>
                    <a:pt x="1462" y="1668"/>
                  </a:cubicBezTo>
                  <a:cubicBezTo>
                    <a:pt x="1462" y="1652"/>
                    <a:pt x="1470" y="1637"/>
                    <a:pt x="1493" y="1613"/>
                  </a:cubicBezTo>
                  <a:cubicBezTo>
                    <a:pt x="1517" y="1597"/>
                    <a:pt x="1533" y="1589"/>
                    <a:pt x="1549" y="1589"/>
                  </a:cubicBezTo>
                  <a:cubicBezTo>
                    <a:pt x="1573" y="1574"/>
                    <a:pt x="1596" y="1574"/>
                    <a:pt x="1620" y="1542"/>
                  </a:cubicBezTo>
                  <a:cubicBezTo>
                    <a:pt x="1644" y="1502"/>
                    <a:pt x="1628" y="1431"/>
                    <a:pt x="1620" y="1392"/>
                  </a:cubicBezTo>
                  <a:cubicBezTo>
                    <a:pt x="1620" y="1376"/>
                    <a:pt x="1620" y="1368"/>
                    <a:pt x="1620" y="1360"/>
                  </a:cubicBezTo>
                  <a:cubicBezTo>
                    <a:pt x="1612" y="1352"/>
                    <a:pt x="1612" y="1336"/>
                    <a:pt x="1612" y="1321"/>
                  </a:cubicBezTo>
                  <a:cubicBezTo>
                    <a:pt x="1604" y="1281"/>
                    <a:pt x="1596" y="1257"/>
                    <a:pt x="1612" y="1249"/>
                  </a:cubicBezTo>
                  <a:cubicBezTo>
                    <a:pt x="1620" y="1241"/>
                    <a:pt x="1659" y="1210"/>
                    <a:pt x="1675" y="1186"/>
                  </a:cubicBezTo>
                  <a:cubicBezTo>
                    <a:pt x="1675" y="1178"/>
                    <a:pt x="1683" y="1170"/>
                    <a:pt x="1699" y="1154"/>
                  </a:cubicBezTo>
                  <a:cubicBezTo>
                    <a:pt x="1707" y="1147"/>
                    <a:pt x="1707" y="1147"/>
                    <a:pt x="1707" y="1147"/>
                  </a:cubicBezTo>
                  <a:cubicBezTo>
                    <a:pt x="1920" y="957"/>
                    <a:pt x="2055" y="830"/>
                    <a:pt x="2070" y="791"/>
                  </a:cubicBezTo>
                  <a:cubicBezTo>
                    <a:pt x="2102" y="728"/>
                    <a:pt x="2197" y="696"/>
                    <a:pt x="2260" y="672"/>
                  </a:cubicBezTo>
                  <a:cubicBezTo>
                    <a:pt x="2276" y="672"/>
                    <a:pt x="2276" y="672"/>
                    <a:pt x="2276" y="672"/>
                  </a:cubicBezTo>
                  <a:cubicBezTo>
                    <a:pt x="2300" y="664"/>
                    <a:pt x="2379" y="633"/>
                    <a:pt x="2442" y="577"/>
                  </a:cubicBezTo>
                  <a:cubicBezTo>
                    <a:pt x="2410" y="577"/>
                    <a:pt x="2371" y="577"/>
                    <a:pt x="2347" y="577"/>
                  </a:cubicBezTo>
                  <a:cubicBezTo>
                    <a:pt x="2332" y="577"/>
                    <a:pt x="2316" y="562"/>
                    <a:pt x="2300" y="554"/>
                  </a:cubicBezTo>
                  <a:cubicBezTo>
                    <a:pt x="2292" y="546"/>
                    <a:pt x="2284" y="530"/>
                    <a:pt x="2276" y="530"/>
                  </a:cubicBezTo>
                  <a:cubicBezTo>
                    <a:pt x="2268" y="522"/>
                    <a:pt x="2260" y="522"/>
                    <a:pt x="2252" y="522"/>
                  </a:cubicBezTo>
                  <a:cubicBezTo>
                    <a:pt x="2221" y="522"/>
                    <a:pt x="2173" y="538"/>
                    <a:pt x="2142" y="546"/>
                  </a:cubicBezTo>
                  <a:cubicBezTo>
                    <a:pt x="2134" y="546"/>
                    <a:pt x="2126" y="546"/>
                    <a:pt x="2118" y="546"/>
                  </a:cubicBezTo>
                  <a:cubicBezTo>
                    <a:pt x="2110" y="554"/>
                    <a:pt x="2102" y="554"/>
                    <a:pt x="2094" y="554"/>
                  </a:cubicBezTo>
                  <a:cubicBezTo>
                    <a:pt x="2086" y="554"/>
                    <a:pt x="2086" y="562"/>
                    <a:pt x="2079" y="562"/>
                  </a:cubicBezTo>
                  <a:cubicBezTo>
                    <a:pt x="2070" y="562"/>
                    <a:pt x="2063" y="554"/>
                    <a:pt x="2063" y="546"/>
                  </a:cubicBezTo>
                  <a:cubicBezTo>
                    <a:pt x="2063" y="530"/>
                    <a:pt x="2055" y="498"/>
                    <a:pt x="2015" y="475"/>
                  </a:cubicBezTo>
                  <a:lnTo>
                    <a:pt x="2007" y="475"/>
                  </a:lnTo>
                  <a:cubicBezTo>
                    <a:pt x="1984" y="475"/>
                    <a:pt x="1952" y="514"/>
                    <a:pt x="1920" y="554"/>
                  </a:cubicBezTo>
                  <a:cubicBezTo>
                    <a:pt x="1904" y="577"/>
                    <a:pt x="1889" y="593"/>
                    <a:pt x="1873" y="609"/>
                  </a:cubicBezTo>
                  <a:cubicBezTo>
                    <a:pt x="1865" y="609"/>
                    <a:pt x="1857" y="617"/>
                    <a:pt x="1849" y="617"/>
                  </a:cubicBezTo>
                  <a:cubicBezTo>
                    <a:pt x="1810" y="617"/>
                    <a:pt x="1754" y="570"/>
                    <a:pt x="1739" y="538"/>
                  </a:cubicBezTo>
                  <a:cubicBezTo>
                    <a:pt x="1715" y="506"/>
                    <a:pt x="1667" y="475"/>
                    <a:pt x="1636" y="451"/>
                  </a:cubicBezTo>
                  <a:lnTo>
                    <a:pt x="1628" y="443"/>
                  </a:lnTo>
                  <a:cubicBezTo>
                    <a:pt x="1620" y="443"/>
                    <a:pt x="1620" y="443"/>
                    <a:pt x="1620" y="443"/>
                  </a:cubicBezTo>
                  <a:cubicBezTo>
                    <a:pt x="1620" y="443"/>
                    <a:pt x="1612" y="459"/>
                    <a:pt x="1604" y="467"/>
                  </a:cubicBezTo>
                  <a:cubicBezTo>
                    <a:pt x="1604" y="482"/>
                    <a:pt x="1596" y="506"/>
                    <a:pt x="1573" y="506"/>
                  </a:cubicBezTo>
                  <a:lnTo>
                    <a:pt x="1565" y="514"/>
                  </a:lnTo>
                  <a:cubicBezTo>
                    <a:pt x="1541" y="514"/>
                    <a:pt x="1525" y="490"/>
                    <a:pt x="1509" y="451"/>
                  </a:cubicBezTo>
                  <a:cubicBezTo>
                    <a:pt x="1509" y="451"/>
                    <a:pt x="1509" y="443"/>
                    <a:pt x="1502" y="435"/>
                  </a:cubicBezTo>
                  <a:cubicBezTo>
                    <a:pt x="1478" y="395"/>
                    <a:pt x="1430" y="364"/>
                    <a:pt x="1359" y="332"/>
                  </a:cubicBezTo>
                  <a:cubicBezTo>
                    <a:pt x="1343" y="324"/>
                    <a:pt x="1335" y="324"/>
                    <a:pt x="1320" y="324"/>
                  </a:cubicBezTo>
                  <a:cubicBezTo>
                    <a:pt x="1272" y="324"/>
                    <a:pt x="1225" y="356"/>
                    <a:pt x="1185" y="380"/>
                  </a:cubicBezTo>
                  <a:cubicBezTo>
                    <a:pt x="1177" y="388"/>
                    <a:pt x="1169" y="395"/>
                    <a:pt x="1162" y="395"/>
                  </a:cubicBezTo>
                  <a:cubicBezTo>
                    <a:pt x="1146" y="411"/>
                    <a:pt x="1130" y="419"/>
                    <a:pt x="1114" y="419"/>
                  </a:cubicBezTo>
                  <a:cubicBezTo>
                    <a:pt x="1098" y="419"/>
                    <a:pt x="1090" y="411"/>
                    <a:pt x="1074" y="388"/>
                  </a:cubicBezTo>
                  <a:cubicBezTo>
                    <a:pt x="1059" y="364"/>
                    <a:pt x="1019" y="364"/>
                    <a:pt x="987" y="364"/>
                  </a:cubicBezTo>
                  <a:cubicBezTo>
                    <a:pt x="980" y="364"/>
                    <a:pt x="964" y="364"/>
                    <a:pt x="964" y="356"/>
                  </a:cubicBezTo>
                  <a:cubicBezTo>
                    <a:pt x="956" y="356"/>
                    <a:pt x="948" y="348"/>
                    <a:pt x="948" y="340"/>
                  </a:cubicBezTo>
                  <a:cubicBezTo>
                    <a:pt x="948" y="332"/>
                    <a:pt x="940" y="332"/>
                    <a:pt x="932" y="332"/>
                  </a:cubicBezTo>
                  <a:cubicBezTo>
                    <a:pt x="932" y="332"/>
                    <a:pt x="916" y="332"/>
                    <a:pt x="909" y="340"/>
                  </a:cubicBezTo>
                  <a:cubicBezTo>
                    <a:pt x="901" y="340"/>
                    <a:pt x="885" y="348"/>
                    <a:pt x="877" y="348"/>
                  </a:cubicBezTo>
                  <a:cubicBezTo>
                    <a:pt x="861" y="348"/>
                    <a:pt x="845" y="332"/>
                    <a:pt x="829" y="324"/>
                  </a:cubicBezTo>
                  <a:cubicBezTo>
                    <a:pt x="822" y="317"/>
                    <a:pt x="814" y="309"/>
                    <a:pt x="806" y="309"/>
                  </a:cubicBezTo>
                  <a:cubicBezTo>
                    <a:pt x="782" y="293"/>
                    <a:pt x="790" y="253"/>
                    <a:pt x="798" y="214"/>
                  </a:cubicBezTo>
                  <a:cubicBezTo>
                    <a:pt x="798" y="198"/>
                    <a:pt x="806" y="174"/>
                    <a:pt x="798" y="166"/>
                  </a:cubicBezTo>
                  <a:cubicBezTo>
                    <a:pt x="782" y="151"/>
                    <a:pt x="774" y="87"/>
                    <a:pt x="774" y="48"/>
                  </a:cubicBezTo>
                  <a:cubicBezTo>
                    <a:pt x="766" y="8"/>
                    <a:pt x="703" y="8"/>
                    <a:pt x="687" y="8"/>
                  </a:cubicBezTo>
                  <a:cubicBezTo>
                    <a:pt x="679" y="8"/>
                    <a:pt x="671" y="8"/>
                    <a:pt x="671" y="8"/>
                  </a:cubicBezTo>
                  <a:cubicBezTo>
                    <a:pt x="663" y="24"/>
                    <a:pt x="656" y="48"/>
                    <a:pt x="663" y="119"/>
                  </a:cubicBezTo>
                  <a:cubicBezTo>
                    <a:pt x="663" y="135"/>
                    <a:pt x="663" y="142"/>
                    <a:pt x="656" y="151"/>
                  </a:cubicBezTo>
                  <a:cubicBezTo>
                    <a:pt x="648" y="158"/>
                    <a:pt x="640" y="158"/>
                    <a:pt x="640" y="158"/>
                  </a:cubicBezTo>
                  <a:cubicBezTo>
                    <a:pt x="442" y="166"/>
                    <a:pt x="229" y="174"/>
                    <a:pt x="16" y="182"/>
                  </a:cubicBezTo>
                  <a:cubicBezTo>
                    <a:pt x="16" y="222"/>
                    <a:pt x="24" y="277"/>
                    <a:pt x="40" y="293"/>
                  </a:cubicBezTo>
                  <a:cubicBezTo>
                    <a:pt x="71" y="324"/>
                    <a:pt x="64" y="348"/>
                    <a:pt x="56" y="372"/>
                  </a:cubicBezTo>
                  <a:cubicBezTo>
                    <a:pt x="56" y="372"/>
                    <a:pt x="8" y="482"/>
                    <a:pt x="48" y="585"/>
                  </a:cubicBezTo>
                  <a:cubicBezTo>
                    <a:pt x="71" y="672"/>
                    <a:pt x="119" y="791"/>
                    <a:pt x="135" y="830"/>
                  </a:cubicBezTo>
                  <a:cubicBezTo>
                    <a:pt x="151" y="862"/>
                    <a:pt x="143" y="941"/>
                    <a:pt x="135" y="1012"/>
                  </a:cubicBezTo>
                  <a:cubicBezTo>
                    <a:pt x="127" y="1060"/>
                    <a:pt x="135" y="1083"/>
                    <a:pt x="135" y="1107"/>
                  </a:cubicBezTo>
                  <a:cubicBezTo>
                    <a:pt x="143" y="1131"/>
                    <a:pt x="143" y="1147"/>
                    <a:pt x="143" y="1162"/>
                  </a:cubicBezTo>
                  <a:cubicBezTo>
                    <a:pt x="143" y="1194"/>
                    <a:pt x="151" y="1241"/>
                    <a:pt x="158" y="1289"/>
                  </a:cubicBezTo>
                  <a:cubicBezTo>
                    <a:pt x="166" y="1328"/>
                    <a:pt x="174" y="1360"/>
                    <a:pt x="174" y="1384"/>
                  </a:cubicBezTo>
                  <a:cubicBezTo>
                    <a:pt x="174" y="1407"/>
                    <a:pt x="182" y="1415"/>
                    <a:pt x="198" y="1423"/>
                  </a:cubicBezTo>
                  <a:cubicBezTo>
                    <a:pt x="206" y="1423"/>
                    <a:pt x="213" y="1431"/>
                    <a:pt x="213" y="1431"/>
                  </a:cubicBezTo>
                  <a:cubicBezTo>
                    <a:pt x="229" y="1447"/>
                    <a:pt x="229" y="1478"/>
                    <a:pt x="229" y="1526"/>
                  </a:cubicBezTo>
                  <a:cubicBezTo>
                    <a:pt x="221" y="1550"/>
                    <a:pt x="221" y="1581"/>
                    <a:pt x="229" y="1597"/>
                  </a:cubicBezTo>
                  <a:cubicBezTo>
                    <a:pt x="237" y="1645"/>
                    <a:pt x="198" y="1724"/>
                    <a:pt x="166" y="1747"/>
                  </a:cubicBezTo>
                  <a:cubicBezTo>
                    <a:pt x="151" y="1755"/>
                    <a:pt x="143" y="1763"/>
                    <a:pt x="143" y="1779"/>
                  </a:cubicBezTo>
                  <a:cubicBezTo>
                    <a:pt x="135" y="1787"/>
                    <a:pt x="143" y="1795"/>
                    <a:pt x="143" y="1803"/>
                  </a:cubicBezTo>
                  <a:cubicBezTo>
                    <a:pt x="151" y="1811"/>
                    <a:pt x="151" y="1811"/>
                    <a:pt x="158" y="1811"/>
                  </a:cubicBezTo>
                  <a:cubicBezTo>
                    <a:pt x="166" y="1818"/>
                    <a:pt x="174" y="1826"/>
                    <a:pt x="174" y="1858"/>
                  </a:cubicBezTo>
                  <a:cubicBezTo>
                    <a:pt x="174" y="1889"/>
                    <a:pt x="190" y="1889"/>
                    <a:pt x="213" y="1889"/>
                  </a:cubicBezTo>
                  <a:cubicBezTo>
                    <a:pt x="237" y="1889"/>
                    <a:pt x="268" y="1913"/>
                    <a:pt x="268" y="1913"/>
                  </a:cubicBezTo>
                  <a:lnTo>
                    <a:pt x="268" y="1913"/>
                  </a:lnTo>
                  <a:cubicBezTo>
                    <a:pt x="268" y="2759"/>
                    <a:pt x="268" y="2759"/>
                    <a:pt x="268" y="2759"/>
                  </a:cubicBezTo>
                  <a:lnTo>
                    <a:pt x="553" y="2775"/>
                  </a:lnTo>
                </a:path>
              </a:pathLst>
            </a:custGeom>
            <a:grpFill/>
            <a:ln>
              <a:solidFill>
                <a:schemeClr val="bg1">
                  <a:lumMod val="95000"/>
                </a:schemeClr>
              </a:solidFill>
            </a:ln>
            <a:effectLst/>
          </p:spPr>
          <p:txBody>
            <a:bodyPr wrap="none" anchor="ctr"/>
            <a:lstStyle/>
            <a:p>
              <a:endParaRPr lang="en-US" sz="900"/>
            </a:p>
          </p:txBody>
        </p:sp>
        <p:sp>
          <p:nvSpPr>
            <p:cNvPr id="64" name="Freeform 510"/>
            <p:cNvSpPr>
              <a:spLocks noChangeArrowheads="1"/>
            </p:cNvSpPr>
            <p:nvPr/>
          </p:nvSpPr>
          <p:spPr bwMode="auto">
            <a:xfrm>
              <a:off x="12239219" y="5017977"/>
              <a:ext cx="1215316" cy="786245"/>
            </a:xfrm>
            <a:custGeom>
              <a:avLst/>
              <a:gdLst>
                <a:gd name="T0" fmla="*/ 1794 w 2309"/>
                <a:gd name="T1" fmla="*/ 1391 h 1495"/>
                <a:gd name="T2" fmla="*/ 1794 w 2309"/>
                <a:gd name="T3" fmla="*/ 1391 h 1495"/>
                <a:gd name="T4" fmla="*/ 1888 w 2309"/>
                <a:gd name="T5" fmla="*/ 1494 h 1495"/>
                <a:gd name="T6" fmla="*/ 1888 w 2309"/>
                <a:gd name="T7" fmla="*/ 1486 h 1495"/>
                <a:gd name="T8" fmla="*/ 1904 w 2309"/>
                <a:gd name="T9" fmla="*/ 1423 h 1495"/>
                <a:gd name="T10" fmla="*/ 1897 w 2309"/>
                <a:gd name="T11" fmla="*/ 1391 h 1495"/>
                <a:gd name="T12" fmla="*/ 1999 w 2309"/>
                <a:gd name="T13" fmla="*/ 1312 h 1495"/>
                <a:gd name="T14" fmla="*/ 2007 w 2309"/>
                <a:gd name="T15" fmla="*/ 1249 h 1495"/>
                <a:gd name="T16" fmla="*/ 2047 w 2309"/>
                <a:gd name="T17" fmla="*/ 1138 h 1495"/>
                <a:gd name="T18" fmla="*/ 1999 w 2309"/>
                <a:gd name="T19" fmla="*/ 1083 h 1495"/>
                <a:gd name="T20" fmla="*/ 1999 w 2309"/>
                <a:gd name="T21" fmla="*/ 988 h 1495"/>
                <a:gd name="T22" fmla="*/ 2055 w 2309"/>
                <a:gd name="T23" fmla="*/ 988 h 1495"/>
                <a:gd name="T24" fmla="*/ 2110 w 2309"/>
                <a:gd name="T25" fmla="*/ 980 h 1495"/>
                <a:gd name="T26" fmla="*/ 2181 w 2309"/>
                <a:gd name="T27" fmla="*/ 933 h 1495"/>
                <a:gd name="T28" fmla="*/ 2244 w 2309"/>
                <a:gd name="T29" fmla="*/ 869 h 1495"/>
                <a:gd name="T30" fmla="*/ 2292 w 2309"/>
                <a:gd name="T31" fmla="*/ 782 h 1495"/>
                <a:gd name="T32" fmla="*/ 2284 w 2309"/>
                <a:gd name="T33" fmla="*/ 648 h 1495"/>
                <a:gd name="T34" fmla="*/ 2213 w 2309"/>
                <a:gd name="T35" fmla="*/ 585 h 1495"/>
                <a:gd name="T36" fmla="*/ 2118 w 2309"/>
                <a:gd name="T37" fmla="*/ 482 h 1495"/>
                <a:gd name="T38" fmla="*/ 1991 w 2309"/>
                <a:gd name="T39" fmla="*/ 387 h 1495"/>
                <a:gd name="T40" fmla="*/ 1952 w 2309"/>
                <a:gd name="T41" fmla="*/ 308 h 1495"/>
                <a:gd name="T42" fmla="*/ 1912 w 2309"/>
                <a:gd name="T43" fmla="*/ 245 h 1495"/>
                <a:gd name="T44" fmla="*/ 1936 w 2309"/>
                <a:gd name="T45" fmla="*/ 126 h 1495"/>
                <a:gd name="T46" fmla="*/ 1897 w 2309"/>
                <a:gd name="T47" fmla="*/ 55 h 1495"/>
                <a:gd name="T48" fmla="*/ 1881 w 2309"/>
                <a:gd name="T49" fmla="*/ 0 h 1495"/>
                <a:gd name="T50" fmla="*/ 86 w 2309"/>
                <a:gd name="T51" fmla="*/ 55 h 1495"/>
                <a:gd name="T52" fmla="*/ 47 w 2309"/>
                <a:gd name="T53" fmla="*/ 71 h 1495"/>
                <a:gd name="T54" fmla="*/ 47 w 2309"/>
                <a:gd name="T55" fmla="*/ 150 h 1495"/>
                <a:gd name="T56" fmla="*/ 62 w 2309"/>
                <a:gd name="T57" fmla="*/ 197 h 1495"/>
                <a:gd name="T58" fmla="*/ 94 w 2309"/>
                <a:gd name="T59" fmla="*/ 245 h 1495"/>
                <a:gd name="T60" fmla="*/ 78 w 2309"/>
                <a:gd name="T61" fmla="*/ 316 h 1495"/>
                <a:gd name="T62" fmla="*/ 24 w 2309"/>
                <a:gd name="T63" fmla="*/ 395 h 1495"/>
                <a:gd name="T64" fmla="*/ 78 w 2309"/>
                <a:gd name="T65" fmla="*/ 482 h 1495"/>
                <a:gd name="T66" fmla="*/ 118 w 2309"/>
                <a:gd name="T67" fmla="*/ 585 h 1495"/>
                <a:gd name="T68" fmla="*/ 134 w 2309"/>
                <a:gd name="T69" fmla="*/ 664 h 1495"/>
                <a:gd name="T70" fmla="*/ 165 w 2309"/>
                <a:gd name="T71" fmla="*/ 735 h 1495"/>
                <a:gd name="T72" fmla="*/ 205 w 2309"/>
                <a:gd name="T73" fmla="*/ 822 h 1495"/>
                <a:gd name="T74" fmla="*/ 221 w 2309"/>
                <a:gd name="T75" fmla="*/ 972 h 1495"/>
                <a:gd name="T76" fmla="*/ 236 w 2309"/>
                <a:gd name="T77" fmla="*/ 988 h 1495"/>
                <a:gd name="T78" fmla="*/ 268 w 2309"/>
                <a:gd name="T79" fmla="*/ 1012 h 1495"/>
                <a:gd name="T80" fmla="*/ 268 w 2309"/>
                <a:gd name="T81" fmla="*/ 1051 h 1495"/>
                <a:gd name="T82" fmla="*/ 292 w 2309"/>
                <a:gd name="T83" fmla="*/ 1083 h 1495"/>
                <a:gd name="T84" fmla="*/ 300 w 2309"/>
                <a:gd name="T85" fmla="*/ 1130 h 1495"/>
                <a:gd name="T86" fmla="*/ 300 w 2309"/>
                <a:gd name="T87" fmla="*/ 1193 h 1495"/>
                <a:gd name="T88" fmla="*/ 315 w 2309"/>
                <a:gd name="T89" fmla="*/ 1249 h 1495"/>
                <a:gd name="T90" fmla="*/ 300 w 2309"/>
                <a:gd name="T91" fmla="*/ 1391 h 1495"/>
                <a:gd name="T92" fmla="*/ 331 w 2309"/>
                <a:gd name="T93" fmla="*/ 1399 h 1495"/>
                <a:gd name="T94" fmla="*/ 347 w 2309"/>
                <a:gd name="T95" fmla="*/ 1439 h 1495"/>
                <a:gd name="T96" fmla="*/ 1762 w 2309"/>
                <a:gd name="T97" fmla="*/ 1375 h 1495"/>
                <a:gd name="T98" fmla="*/ 1794 w 2309"/>
                <a:gd name="T99" fmla="*/ 1391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09" h="1495">
                  <a:moveTo>
                    <a:pt x="1794" y="1391"/>
                  </a:moveTo>
                  <a:lnTo>
                    <a:pt x="1794" y="1391"/>
                  </a:lnTo>
                  <a:cubicBezTo>
                    <a:pt x="1802" y="1407"/>
                    <a:pt x="1857" y="1454"/>
                    <a:pt x="1888" y="1494"/>
                  </a:cubicBezTo>
                  <a:cubicBezTo>
                    <a:pt x="1888" y="1486"/>
                    <a:pt x="1888" y="1486"/>
                    <a:pt x="1888" y="1486"/>
                  </a:cubicBezTo>
                  <a:cubicBezTo>
                    <a:pt x="1912" y="1462"/>
                    <a:pt x="1912" y="1446"/>
                    <a:pt x="1904" y="1423"/>
                  </a:cubicBezTo>
                  <a:cubicBezTo>
                    <a:pt x="1897" y="1407"/>
                    <a:pt x="1865" y="1399"/>
                    <a:pt x="1897" y="1391"/>
                  </a:cubicBezTo>
                  <a:cubicBezTo>
                    <a:pt x="1920" y="1375"/>
                    <a:pt x="1999" y="1351"/>
                    <a:pt x="1999" y="1312"/>
                  </a:cubicBezTo>
                  <a:cubicBezTo>
                    <a:pt x="1999" y="1265"/>
                    <a:pt x="1991" y="1257"/>
                    <a:pt x="2007" y="1249"/>
                  </a:cubicBezTo>
                  <a:cubicBezTo>
                    <a:pt x="2031" y="1233"/>
                    <a:pt x="2055" y="1170"/>
                    <a:pt x="2047" y="1138"/>
                  </a:cubicBezTo>
                  <a:cubicBezTo>
                    <a:pt x="2039" y="1114"/>
                    <a:pt x="1999" y="1114"/>
                    <a:pt x="1999" y="1083"/>
                  </a:cubicBezTo>
                  <a:cubicBezTo>
                    <a:pt x="1999" y="1051"/>
                    <a:pt x="1960" y="996"/>
                    <a:pt x="1999" y="988"/>
                  </a:cubicBezTo>
                  <a:cubicBezTo>
                    <a:pt x="2015" y="988"/>
                    <a:pt x="2039" y="988"/>
                    <a:pt x="2055" y="988"/>
                  </a:cubicBezTo>
                  <a:cubicBezTo>
                    <a:pt x="2078" y="988"/>
                    <a:pt x="2102" y="988"/>
                    <a:pt x="2110" y="980"/>
                  </a:cubicBezTo>
                  <a:cubicBezTo>
                    <a:pt x="2134" y="956"/>
                    <a:pt x="2150" y="956"/>
                    <a:pt x="2181" y="933"/>
                  </a:cubicBezTo>
                  <a:cubicBezTo>
                    <a:pt x="2213" y="917"/>
                    <a:pt x="2244" y="925"/>
                    <a:pt x="2244" y="869"/>
                  </a:cubicBezTo>
                  <a:cubicBezTo>
                    <a:pt x="2244" y="814"/>
                    <a:pt x="2276" y="814"/>
                    <a:pt x="2292" y="782"/>
                  </a:cubicBezTo>
                  <a:cubicBezTo>
                    <a:pt x="2308" y="743"/>
                    <a:pt x="2308" y="664"/>
                    <a:pt x="2284" y="648"/>
                  </a:cubicBezTo>
                  <a:cubicBezTo>
                    <a:pt x="2268" y="632"/>
                    <a:pt x="2213" y="624"/>
                    <a:pt x="2213" y="585"/>
                  </a:cubicBezTo>
                  <a:cubicBezTo>
                    <a:pt x="2205" y="553"/>
                    <a:pt x="2126" y="498"/>
                    <a:pt x="2118" y="482"/>
                  </a:cubicBezTo>
                  <a:cubicBezTo>
                    <a:pt x="2110" y="458"/>
                    <a:pt x="2102" y="387"/>
                    <a:pt x="1991" y="387"/>
                  </a:cubicBezTo>
                  <a:cubicBezTo>
                    <a:pt x="1873" y="379"/>
                    <a:pt x="1960" y="348"/>
                    <a:pt x="1952" y="308"/>
                  </a:cubicBezTo>
                  <a:cubicBezTo>
                    <a:pt x="1944" y="276"/>
                    <a:pt x="1904" y="316"/>
                    <a:pt x="1912" y="245"/>
                  </a:cubicBezTo>
                  <a:cubicBezTo>
                    <a:pt x="1920" y="174"/>
                    <a:pt x="1912" y="182"/>
                    <a:pt x="1936" y="126"/>
                  </a:cubicBezTo>
                  <a:cubicBezTo>
                    <a:pt x="1952" y="71"/>
                    <a:pt x="1904" y="87"/>
                    <a:pt x="1897" y="55"/>
                  </a:cubicBezTo>
                  <a:cubicBezTo>
                    <a:pt x="1897" y="39"/>
                    <a:pt x="1888" y="23"/>
                    <a:pt x="1881" y="0"/>
                  </a:cubicBezTo>
                  <a:cubicBezTo>
                    <a:pt x="1264" y="71"/>
                    <a:pt x="86" y="55"/>
                    <a:pt x="86" y="55"/>
                  </a:cubicBezTo>
                  <a:cubicBezTo>
                    <a:pt x="86" y="55"/>
                    <a:pt x="62" y="47"/>
                    <a:pt x="47" y="71"/>
                  </a:cubicBezTo>
                  <a:cubicBezTo>
                    <a:pt x="31" y="95"/>
                    <a:pt x="78" y="134"/>
                    <a:pt x="47" y="150"/>
                  </a:cubicBezTo>
                  <a:cubicBezTo>
                    <a:pt x="16" y="166"/>
                    <a:pt x="39" y="182"/>
                    <a:pt x="62" y="197"/>
                  </a:cubicBezTo>
                  <a:cubicBezTo>
                    <a:pt x="94" y="213"/>
                    <a:pt x="110" y="221"/>
                    <a:pt x="94" y="245"/>
                  </a:cubicBezTo>
                  <a:cubicBezTo>
                    <a:pt x="78" y="269"/>
                    <a:pt x="86" y="269"/>
                    <a:pt x="78" y="316"/>
                  </a:cubicBezTo>
                  <a:cubicBezTo>
                    <a:pt x="70" y="371"/>
                    <a:pt x="39" y="356"/>
                    <a:pt x="24" y="395"/>
                  </a:cubicBezTo>
                  <a:cubicBezTo>
                    <a:pt x="0" y="443"/>
                    <a:pt x="47" y="427"/>
                    <a:pt x="78" y="482"/>
                  </a:cubicBezTo>
                  <a:cubicBezTo>
                    <a:pt x="102" y="537"/>
                    <a:pt x="110" y="569"/>
                    <a:pt x="118" y="585"/>
                  </a:cubicBezTo>
                  <a:cubicBezTo>
                    <a:pt x="126" y="601"/>
                    <a:pt x="118" y="632"/>
                    <a:pt x="134" y="664"/>
                  </a:cubicBezTo>
                  <a:cubicBezTo>
                    <a:pt x="149" y="696"/>
                    <a:pt x="141" y="703"/>
                    <a:pt x="165" y="735"/>
                  </a:cubicBezTo>
                  <a:cubicBezTo>
                    <a:pt x="181" y="759"/>
                    <a:pt x="173" y="790"/>
                    <a:pt x="205" y="822"/>
                  </a:cubicBezTo>
                  <a:cubicBezTo>
                    <a:pt x="228" y="854"/>
                    <a:pt x="221" y="949"/>
                    <a:pt x="221" y="972"/>
                  </a:cubicBezTo>
                  <a:cubicBezTo>
                    <a:pt x="221" y="988"/>
                    <a:pt x="221" y="988"/>
                    <a:pt x="236" y="988"/>
                  </a:cubicBezTo>
                  <a:cubicBezTo>
                    <a:pt x="260" y="980"/>
                    <a:pt x="268" y="1012"/>
                    <a:pt x="268" y="1012"/>
                  </a:cubicBezTo>
                  <a:cubicBezTo>
                    <a:pt x="268" y="1012"/>
                    <a:pt x="276" y="1035"/>
                    <a:pt x="268" y="1051"/>
                  </a:cubicBezTo>
                  <a:cubicBezTo>
                    <a:pt x="268" y="1075"/>
                    <a:pt x="300" y="1067"/>
                    <a:pt x="292" y="1083"/>
                  </a:cubicBezTo>
                  <a:cubicBezTo>
                    <a:pt x="292" y="1107"/>
                    <a:pt x="292" y="1122"/>
                    <a:pt x="300" y="1130"/>
                  </a:cubicBezTo>
                  <a:cubicBezTo>
                    <a:pt x="315" y="1138"/>
                    <a:pt x="315" y="1170"/>
                    <a:pt x="300" y="1193"/>
                  </a:cubicBezTo>
                  <a:cubicBezTo>
                    <a:pt x="284" y="1217"/>
                    <a:pt x="292" y="1217"/>
                    <a:pt x="315" y="1249"/>
                  </a:cubicBezTo>
                  <a:cubicBezTo>
                    <a:pt x="347" y="1288"/>
                    <a:pt x="300" y="1367"/>
                    <a:pt x="300" y="1391"/>
                  </a:cubicBezTo>
                  <a:cubicBezTo>
                    <a:pt x="300" y="1415"/>
                    <a:pt x="315" y="1399"/>
                    <a:pt x="331" y="1399"/>
                  </a:cubicBezTo>
                  <a:cubicBezTo>
                    <a:pt x="339" y="1399"/>
                    <a:pt x="339" y="1423"/>
                    <a:pt x="347" y="1439"/>
                  </a:cubicBezTo>
                  <a:cubicBezTo>
                    <a:pt x="466" y="1439"/>
                    <a:pt x="1438" y="1423"/>
                    <a:pt x="1762" y="1375"/>
                  </a:cubicBezTo>
                  <a:cubicBezTo>
                    <a:pt x="1762" y="1375"/>
                    <a:pt x="1770" y="1360"/>
                    <a:pt x="1794" y="1391"/>
                  </a:cubicBezTo>
                </a:path>
              </a:pathLst>
            </a:custGeom>
            <a:grpFill/>
            <a:ln>
              <a:solidFill>
                <a:schemeClr val="bg1">
                  <a:lumMod val="95000"/>
                </a:schemeClr>
              </a:solidFill>
            </a:ln>
            <a:effectLst/>
          </p:spPr>
          <p:txBody>
            <a:bodyPr wrap="none" anchor="ctr"/>
            <a:lstStyle/>
            <a:p>
              <a:endParaRPr lang="en-US" sz="900"/>
            </a:p>
          </p:txBody>
        </p:sp>
        <p:sp>
          <p:nvSpPr>
            <p:cNvPr id="65" name="Freeform 511"/>
            <p:cNvSpPr>
              <a:spLocks noChangeArrowheads="1"/>
            </p:cNvSpPr>
            <p:nvPr/>
          </p:nvSpPr>
          <p:spPr bwMode="auto">
            <a:xfrm>
              <a:off x="12243858" y="5017977"/>
              <a:ext cx="1212996" cy="786245"/>
            </a:xfrm>
            <a:custGeom>
              <a:avLst/>
              <a:gdLst>
                <a:gd name="T0" fmla="*/ 1778 w 2308"/>
                <a:gd name="T1" fmla="*/ 1391 h 1495"/>
                <a:gd name="T2" fmla="*/ 1754 w 2308"/>
                <a:gd name="T3" fmla="*/ 1375 h 1495"/>
                <a:gd name="T4" fmla="*/ 331 w 2308"/>
                <a:gd name="T5" fmla="*/ 1423 h 1495"/>
                <a:gd name="T6" fmla="*/ 292 w 2308"/>
                <a:gd name="T7" fmla="*/ 1391 h 1495"/>
                <a:gd name="T8" fmla="*/ 292 w 2308"/>
                <a:gd name="T9" fmla="*/ 1193 h 1495"/>
                <a:gd name="T10" fmla="*/ 260 w 2308"/>
                <a:gd name="T11" fmla="*/ 1051 h 1495"/>
                <a:gd name="T12" fmla="*/ 220 w 2308"/>
                <a:gd name="T13" fmla="*/ 988 h 1495"/>
                <a:gd name="T14" fmla="*/ 165 w 2308"/>
                <a:gd name="T15" fmla="*/ 767 h 1495"/>
                <a:gd name="T16" fmla="*/ 110 w 2308"/>
                <a:gd name="T17" fmla="*/ 616 h 1495"/>
                <a:gd name="T18" fmla="*/ 23 w 2308"/>
                <a:gd name="T19" fmla="*/ 434 h 1495"/>
                <a:gd name="T20" fmla="*/ 70 w 2308"/>
                <a:gd name="T21" fmla="*/ 276 h 1495"/>
                <a:gd name="T22" fmla="*/ 54 w 2308"/>
                <a:gd name="T23" fmla="*/ 205 h 1495"/>
                <a:gd name="T24" fmla="*/ 39 w 2308"/>
                <a:gd name="T25" fmla="*/ 110 h 1495"/>
                <a:gd name="T26" fmla="*/ 1865 w 2308"/>
                <a:gd name="T27" fmla="*/ 0 h 1495"/>
                <a:gd name="T28" fmla="*/ 1912 w 2308"/>
                <a:gd name="T29" fmla="*/ 79 h 1495"/>
                <a:gd name="T30" fmla="*/ 1928 w 2308"/>
                <a:gd name="T31" fmla="*/ 284 h 1495"/>
                <a:gd name="T32" fmla="*/ 1983 w 2308"/>
                <a:gd name="T33" fmla="*/ 379 h 1495"/>
                <a:gd name="T34" fmla="*/ 2205 w 2308"/>
                <a:gd name="T35" fmla="*/ 585 h 1495"/>
                <a:gd name="T36" fmla="*/ 2260 w 2308"/>
                <a:gd name="T37" fmla="*/ 814 h 1495"/>
                <a:gd name="T38" fmla="*/ 2149 w 2308"/>
                <a:gd name="T39" fmla="*/ 949 h 1495"/>
                <a:gd name="T40" fmla="*/ 2023 w 2308"/>
                <a:gd name="T41" fmla="*/ 988 h 1495"/>
                <a:gd name="T42" fmla="*/ 1991 w 2308"/>
                <a:gd name="T43" fmla="*/ 1083 h 1495"/>
                <a:gd name="T44" fmla="*/ 1991 w 2308"/>
                <a:gd name="T45" fmla="*/ 1273 h 1495"/>
                <a:gd name="T46" fmla="*/ 1880 w 2308"/>
                <a:gd name="T47" fmla="*/ 1399 h 1495"/>
                <a:gd name="T48" fmla="*/ 1880 w 2308"/>
                <a:gd name="T49" fmla="*/ 1494 h 1495"/>
                <a:gd name="T50" fmla="*/ 1786 w 2308"/>
                <a:gd name="T51" fmla="*/ 1391 h 1495"/>
                <a:gd name="T52" fmla="*/ 1873 w 2308"/>
                <a:gd name="T53" fmla="*/ 1399 h 1495"/>
                <a:gd name="T54" fmla="*/ 1983 w 2308"/>
                <a:gd name="T55" fmla="*/ 1280 h 1495"/>
                <a:gd name="T56" fmla="*/ 1983 w 2308"/>
                <a:gd name="T57" fmla="*/ 1083 h 1495"/>
                <a:gd name="T58" fmla="*/ 2023 w 2308"/>
                <a:gd name="T59" fmla="*/ 980 h 1495"/>
                <a:gd name="T60" fmla="*/ 2149 w 2308"/>
                <a:gd name="T61" fmla="*/ 949 h 1495"/>
                <a:gd name="T62" fmla="*/ 2260 w 2308"/>
                <a:gd name="T63" fmla="*/ 806 h 1495"/>
                <a:gd name="T64" fmla="*/ 2197 w 2308"/>
                <a:gd name="T65" fmla="*/ 585 h 1495"/>
                <a:gd name="T66" fmla="*/ 1983 w 2308"/>
                <a:gd name="T67" fmla="*/ 387 h 1495"/>
                <a:gd name="T68" fmla="*/ 1920 w 2308"/>
                <a:gd name="T69" fmla="*/ 292 h 1495"/>
                <a:gd name="T70" fmla="*/ 1912 w 2308"/>
                <a:gd name="T71" fmla="*/ 87 h 1495"/>
                <a:gd name="T72" fmla="*/ 363 w 2308"/>
                <a:gd name="T73" fmla="*/ 63 h 1495"/>
                <a:gd name="T74" fmla="*/ 47 w 2308"/>
                <a:gd name="T75" fmla="*/ 71 h 1495"/>
                <a:gd name="T76" fmla="*/ 54 w 2308"/>
                <a:gd name="T77" fmla="*/ 190 h 1495"/>
                <a:gd name="T78" fmla="*/ 86 w 2308"/>
                <a:gd name="T79" fmla="*/ 245 h 1495"/>
                <a:gd name="T80" fmla="*/ 16 w 2308"/>
                <a:gd name="T81" fmla="*/ 403 h 1495"/>
                <a:gd name="T82" fmla="*/ 110 w 2308"/>
                <a:gd name="T83" fmla="*/ 585 h 1495"/>
                <a:gd name="T84" fmla="*/ 157 w 2308"/>
                <a:gd name="T85" fmla="*/ 727 h 1495"/>
                <a:gd name="T86" fmla="*/ 213 w 2308"/>
                <a:gd name="T87" fmla="*/ 972 h 1495"/>
                <a:gd name="T88" fmla="*/ 268 w 2308"/>
                <a:gd name="T89" fmla="*/ 1012 h 1495"/>
                <a:gd name="T90" fmla="*/ 292 w 2308"/>
                <a:gd name="T91" fmla="*/ 1083 h 1495"/>
                <a:gd name="T92" fmla="*/ 315 w 2308"/>
                <a:gd name="T93" fmla="*/ 1249 h 1495"/>
                <a:gd name="T94" fmla="*/ 307 w 2308"/>
                <a:gd name="T95" fmla="*/ 1399 h 1495"/>
                <a:gd name="T96" fmla="*/ 1754 w 2308"/>
                <a:gd name="T97" fmla="*/ 1367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08" h="1495">
                  <a:moveTo>
                    <a:pt x="1880" y="1494"/>
                  </a:moveTo>
                  <a:lnTo>
                    <a:pt x="1880" y="1494"/>
                  </a:lnTo>
                  <a:lnTo>
                    <a:pt x="1880" y="1494"/>
                  </a:lnTo>
                  <a:cubicBezTo>
                    <a:pt x="1841" y="1454"/>
                    <a:pt x="1794" y="1407"/>
                    <a:pt x="1778" y="1391"/>
                  </a:cubicBezTo>
                  <a:cubicBezTo>
                    <a:pt x="1770" y="1375"/>
                    <a:pt x="1762" y="1375"/>
                    <a:pt x="1762" y="1375"/>
                  </a:cubicBezTo>
                  <a:lnTo>
                    <a:pt x="1762" y="1375"/>
                  </a:lnTo>
                  <a:lnTo>
                    <a:pt x="1762" y="1375"/>
                  </a:lnTo>
                  <a:cubicBezTo>
                    <a:pt x="1754" y="1375"/>
                    <a:pt x="1754" y="1375"/>
                    <a:pt x="1754" y="1375"/>
                  </a:cubicBezTo>
                  <a:cubicBezTo>
                    <a:pt x="1430" y="1431"/>
                    <a:pt x="450" y="1446"/>
                    <a:pt x="339" y="1446"/>
                  </a:cubicBezTo>
                  <a:cubicBezTo>
                    <a:pt x="331" y="1446"/>
                    <a:pt x="331" y="1446"/>
                    <a:pt x="331" y="1446"/>
                  </a:cubicBezTo>
                  <a:cubicBezTo>
                    <a:pt x="331" y="1439"/>
                    <a:pt x="331" y="1439"/>
                    <a:pt x="331" y="1439"/>
                  </a:cubicBezTo>
                  <a:cubicBezTo>
                    <a:pt x="331" y="1439"/>
                    <a:pt x="331" y="1431"/>
                    <a:pt x="331" y="1423"/>
                  </a:cubicBezTo>
                  <a:cubicBezTo>
                    <a:pt x="331" y="1415"/>
                    <a:pt x="331" y="1407"/>
                    <a:pt x="323" y="1407"/>
                  </a:cubicBezTo>
                  <a:lnTo>
                    <a:pt x="315" y="1407"/>
                  </a:lnTo>
                  <a:cubicBezTo>
                    <a:pt x="307" y="1407"/>
                    <a:pt x="307" y="1407"/>
                    <a:pt x="300" y="1407"/>
                  </a:cubicBezTo>
                  <a:cubicBezTo>
                    <a:pt x="292" y="1407"/>
                    <a:pt x="292" y="1391"/>
                    <a:pt x="292" y="1391"/>
                  </a:cubicBezTo>
                  <a:cubicBezTo>
                    <a:pt x="292" y="1383"/>
                    <a:pt x="300" y="1367"/>
                    <a:pt x="300" y="1351"/>
                  </a:cubicBezTo>
                  <a:cubicBezTo>
                    <a:pt x="307" y="1320"/>
                    <a:pt x="323" y="1280"/>
                    <a:pt x="307" y="1257"/>
                  </a:cubicBezTo>
                  <a:cubicBezTo>
                    <a:pt x="300" y="1249"/>
                    <a:pt x="300" y="1241"/>
                    <a:pt x="300" y="1241"/>
                  </a:cubicBezTo>
                  <a:cubicBezTo>
                    <a:pt x="276" y="1217"/>
                    <a:pt x="276" y="1217"/>
                    <a:pt x="292" y="1193"/>
                  </a:cubicBezTo>
                  <a:cubicBezTo>
                    <a:pt x="300" y="1170"/>
                    <a:pt x="300" y="1146"/>
                    <a:pt x="292" y="1138"/>
                  </a:cubicBezTo>
                  <a:cubicBezTo>
                    <a:pt x="276" y="1130"/>
                    <a:pt x="276" y="1107"/>
                    <a:pt x="284" y="1083"/>
                  </a:cubicBezTo>
                  <a:cubicBezTo>
                    <a:pt x="284" y="1075"/>
                    <a:pt x="284" y="1075"/>
                    <a:pt x="276" y="1075"/>
                  </a:cubicBezTo>
                  <a:cubicBezTo>
                    <a:pt x="268" y="1067"/>
                    <a:pt x="252" y="1067"/>
                    <a:pt x="260" y="1051"/>
                  </a:cubicBezTo>
                  <a:cubicBezTo>
                    <a:pt x="260" y="1035"/>
                    <a:pt x="260" y="1012"/>
                    <a:pt x="260" y="1012"/>
                  </a:cubicBezTo>
                  <a:cubicBezTo>
                    <a:pt x="252" y="1004"/>
                    <a:pt x="244" y="988"/>
                    <a:pt x="236" y="988"/>
                  </a:cubicBezTo>
                  <a:lnTo>
                    <a:pt x="228" y="988"/>
                  </a:lnTo>
                  <a:cubicBezTo>
                    <a:pt x="220" y="988"/>
                    <a:pt x="220" y="988"/>
                    <a:pt x="220" y="988"/>
                  </a:cubicBezTo>
                  <a:cubicBezTo>
                    <a:pt x="204" y="988"/>
                    <a:pt x="204" y="980"/>
                    <a:pt x="204" y="972"/>
                  </a:cubicBezTo>
                  <a:cubicBezTo>
                    <a:pt x="204" y="964"/>
                    <a:pt x="204" y="956"/>
                    <a:pt x="204" y="956"/>
                  </a:cubicBezTo>
                  <a:cubicBezTo>
                    <a:pt x="213" y="917"/>
                    <a:pt x="213" y="854"/>
                    <a:pt x="189" y="822"/>
                  </a:cubicBezTo>
                  <a:cubicBezTo>
                    <a:pt x="173" y="806"/>
                    <a:pt x="173" y="790"/>
                    <a:pt x="165" y="767"/>
                  </a:cubicBezTo>
                  <a:cubicBezTo>
                    <a:pt x="165" y="759"/>
                    <a:pt x="165" y="743"/>
                    <a:pt x="149" y="735"/>
                  </a:cubicBezTo>
                  <a:cubicBezTo>
                    <a:pt x="141" y="711"/>
                    <a:pt x="133" y="703"/>
                    <a:pt x="133" y="687"/>
                  </a:cubicBezTo>
                  <a:cubicBezTo>
                    <a:pt x="126" y="687"/>
                    <a:pt x="126" y="680"/>
                    <a:pt x="118" y="664"/>
                  </a:cubicBezTo>
                  <a:cubicBezTo>
                    <a:pt x="110" y="648"/>
                    <a:pt x="110" y="632"/>
                    <a:pt x="110" y="616"/>
                  </a:cubicBezTo>
                  <a:cubicBezTo>
                    <a:pt x="110" y="609"/>
                    <a:pt x="110" y="593"/>
                    <a:pt x="102" y="593"/>
                  </a:cubicBezTo>
                  <a:cubicBezTo>
                    <a:pt x="102" y="585"/>
                    <a:pt x="102" y="569"/>
                    <a:pt x="94" y="561"/>
                  </a:cubicBezTo>
                  <a:cubicBezTo>
                    <a:pt x="86" y="537"/>
                    <a:pt x="78" y="514"/>
                    <a:pt x="62" y="482"/>
                  </a:cubicBezTo>
                  <a:cubicBezTo>
                    <a:pt x="54" y="458"/>
                    <a:pt x="39" y="443"/>
                    <a:pt x="23" y="434"/>
                  </a:cubicBezTo>
                  <a:cubicBezTo>
                    <a:pt x="8" y="427"/>
                    <a:pt x="0" y="419"/>
                    <a:pt x="8" y="395"/>
                  </a:cubicBezTo>
                  <a:cubicBezTo>
                    <a:pt x="16" y="379"/>
                    <a:pt x="31" y="371"/>
                    <a:pt x="39" y="363"/>
                  </a:cubicBezTo>
                  <a:cubicBezTo>
                    <a:pt x="54" y="348"/>
                    <a:pt x="62" y="340"/>
                    <a:pt x="70" y="316"/>
                  </a:cubicBezTo>
                  <a:cubicBezTo>
                    <a:pt x="70" y="292"/>
                    <a:pt x="70" y="284"/>
                    <a:pt x="70" y="276"/>
                  </a:cubicBezTo>
                  <a:cubicBezTo>
                    <a:pt x="70" y="261"/>
                    <a:pt x="70" y="253"/>
                    <a:pt x="78" y="245"/>
                  </a:cubicBezTo>
                  <a:cubicBezTo>
                    <a:pt x="86" y="237"/>
                    <a:pt x="86" y="229"/>
                    <a:pt x="86" y="229"/>
                  </a:cubicBezTo>
                  <a:cubicBezTo>
                    <a:pt x="86" y="221"/>
                    <a:pt x="78" y="213"/>
                    <a:pt x="62" y="205"/>
                  </a:cubicBezTo>
                  <a:cubicBezTo>
                    <a:pt x="54" y="205"/>
                    <a:pt x="54" y="205"/>
                    <a:pt x="54" y="205"/>
                  </a:cubicBezTo>
                  <a:cubicBezTo>
                    <a:pt x="54" y="197"/>
                    <a:pt x="54" y="197"/>
                    <a:pt x="47" y="197"/>
                  </a:cubicBezTo>
                  <a:cubicBezTo>
                    <a:pt x="31" y="190"/>
                    <a:pt x="23" y="182"/>
                    <a:pt x="23" y="166"/>
                  </a:cubicBezTo>
                  <a:cubicBezTo>
                    <a:pt x="23" y="158"/>
                    <a:pt x="23" y="158"/>
                    <a:pt x="39" y="150"/>
                  </a:cubicBezTo>
                  <a:cubicBezTo>
                    <a:pt x="47" y="142"/>
                    <a:pt x="47" y="134"/>
                    <a:pt x="39" y="110"/>
                  </a:cubicBezTo>
                  <a:cubicBezTo>
                    <a:pt x="31" y="95"/>
                    <a:pt x="31" y="79"/>
                    <a:pt x="39" y="71"/>
                  </a:cubicBezTo>
                  <a:cubicBezTo>
                    <a:pt x="54" y="47"/>
                    <a:pt x="70" y="47"/>
                    <a:pt x="78" y="47"/>
                  </a:cubicBezTo>
                  <a:cubicBezTo>
                    <a:pt x="86" y="47"/>
                    <a:pt x="197" y="55"/>
                    <a:pt x="363" y="55"/>
                  </a:cubicBezTo>
                  <a:cubicBezTo>
                    <a:pt x="742" y="55"/>
                    <a:pt x="1446" y="47"/>
                    <a:pt x="1865" y="0"/>
                  </a:cubicBezTo>
                  <a:cubicBezTo>
                    <a:pt x="1873" y="0"/>
                    <a:pt x="1873" y="0"/>
                    <a:pt x="1873" y="0"/>
                  </a:cubicBezTo>
                  <a:cubicBezTo>
                    <a:pt x="1873" y="8"/>
                    <a:pt x="1873" y="8"/>
                    <a:pt x="1873" y="8"/>
                  </a:cubicBezTo>
                  <a:cubicBezTo>
                    <a:pt x="1880" y="23"/>
                    <a:pt x="1889" y="39"/>
                    <a:pt x="1896" y="55"/>
                  </a:cubicBezTo>
                  <a:cubicBezTo>
                    <a:pt x="1896" y="71"/>
                    <a:pt x="1904" y="71"/>
                    <a:pt x="1912" y="79"/>
                  </a:cubicBezTo>
                  <a:cubicBezTo>
                    <a:pt x="1928" y="87"/>
                    <a:pt x="1944" y="95"/>
                    <a:pt x="1928" y="126"/>
                  </a:cubicBezTo>
                  <a:cubicBezTo>
                    <a:pt x="1920" y="166"/>
                    <a:pt x="1920" y="174"/>
                    <a:pt x="1912" y="190"/>
                  </a:cubicBezTo>
                  <a:cubicBezTo>
                    <a:pt x="1912" y="205"/>
                    <a:pt x="1912" y="221"/>
                    <a:pt x="1912" y="245"/>
                  </a:cubicBezTo>
                  <a:cubicBezTo>
                    <a:pt x="1904" y="284"/>
                    <a:pt x="1912" y="284"/>
                    <a:pt x="1928" y="284"/>
                  </a:cubicBezTo>
                  <a:cubicBezTo>
                    <a:pt x="1936" y="292"/>
                    <a:pt x="1944" y="292"/>
                    <a:pt x="1952" y="308"/>
                  </a:cubicBezTo>
                  <a:cubicBezTo>
                    <a:pt x="1952" y="324"/>
                    <a:pt x="1944" y="340"/>
                    <a:pt x="1936" y="348"/>
                  </a:cubicBezTo>
                  <a:cubicBezTo>
                    <a:pt x="1928" y="356"/>
                    <a:pt x="1920" y="363"/>
                    <a:pt x="1928" y="371"/>
                  </a:cubicBezTo>
                  <a:cubicBezTo>
                    <a:pt x="1928" y="379"/>
                    <a:pt x="1952" y="379"/>
                    <a:pt x="1983" y="379"/>
                  </a:cubicBezTo>
                  <a:cubicBezTo>
                    <a:pt x="2086" y="387"/>
                    <a:pt x="2102" y="443"/>
                    <a:pt x="2110" y="474"/>
                  </a:cubicBezTo>
                  <a:lnTo>
                    <a:pt x="2110" y="474"/>
                  </a:lnTo>
                  <a:cubicBezTo>
                    <a:pt x="2118" y="482"/>
                    <a:pt x="2134" y="498"/>
                    <a:pt x="2149" y="514"/>
                  </a:cubicBezTo>
                  <a:cubicBezTo>
                    <a:pt x="2173" y="537"/>
                    <a:pt x="2205" y="561"/>
                    <a:pt x="2205" y="585"/>
                  </a:cubicBezTo>
                  <a:cubicBezTo>
                    <a:pt x="2205" y="609"/>
                    <a:pt x="2229" y="616"/>
                    <a:pt x="2252" y="632"/>
                  </a:cubicBezTo>
                  <a:cubicBezTo>
                    <a:pt x="2260" y="632"/>
                    <a:pt x="2276" y="640"/>
                    <a:pt x="2284" y="648"/>
                  </a:cubicBezTo>
                  <a:cubicBezTo>
                    <a:pt x="2300" y="664"/>
                    <a:pt x="2307" y="743"/>
                    <a:pt x="2284" y="782"/>
                  </a:cubicBezTo>
                  <a:cubicBezTo>
                    <a:pt x="2284" y="798"/>
                    <a:pt x="2268" y="806"/>
                    <a:pt x="2260" y="814"/>
                  </a:cubicBezTo>
                  <a:cubicBezTo>
                    <a:pt x="2252" y="822"/>
                    <a:pt x="2236" y="830"/>
                    <a:pt x="2236" y="869"/>
                  </a:cubicBezTo>
                  <a:cubicBezTo>
                    <a:pt x="2236" y="909"/>
                    <a:pt x="2220" y="925"/>
                    <a:pt x="2197" y="933"/>
                  </a:cubicBezTo>
                  <a:cubicBezTo>
                    <a:pt x="2189" y="933"/>
                    <a:pt x="2181" y="933"/>
                    <a:pt x="2181" y="940"/>
                  </a:cubicBezTo>
                  <a:cubicBezTo>
                    <a:pt x="2165" y="949"/>
                    <a:pt x="2157" y="949"/>
                    <a:pt x="2149" y="949"/>
                  </a:cubicBezTo>
                  <a:cubicBezTo>
                    <a:pt x="2134" y="956"/>
                    <a:pt x="2126" y="964"/>
                    <a:pt x="2110" y="980"/>
                  </a:cubicBezTo>
                  <a:cubicBezTo>
                    <a:pt x="2094" y="988"/>
                    <a:pt x="2078" y="996"/>
                    <a:pt x="2062" y="996"/>
                  </a:cubicBezTo>
                  <a:cubicBezTo>
                    <a:pt x="2062" y="996"/>
                    <a:pt x="2054" y="988"/>
                    <a:pt x="2047" y="988"/>
                  </a:cubicBezTo>
                  <a:cubicBezTo>
                    <a:pt x="2039" y="988"/>
                    <a:pt x="2031" y="988"/>
                    <a:pt x="2023" y="988"/>
                  </a:cubicBezTo>
                  <a:cubicBezTo>
                    <a:pt x="2007" y="988"/>
                    <a:pt x="1999" y="988"/>
                    <a:pt x="1999" y="996"/>
                  </a:cubicBezTo>
                  <a:cubicBezTo>
                    <a:pt x="1991" y="996"/>
                    <a:pt x="1983" y="996"/>
                    <a:pt x="1983" y="1004"/>
                  </a:cubicBezTo>
                  <a:cubicBezTo>
                    <a:pt x="1976" y="1012"/>
                    <a:pt x="1983" y="1027"/>
                    <a:pt x="1983" y="1051"/>
                  </a:cubicBezTo>
                  <a:cubicBezTo>
                    <a:pt x="1991" y="1059"/>
                    <a:pt x="1991" y="1075"/>
                    <a:pt x="1991" y="1083"/>
                  </a:cubicBezTo>
                  <a:cubicBezTo>
                    <a:pt x="1991" y="1099"/>
                    <a:pt x="1999" y="1107"/>
                    <a:pt x="2015" y="1114"/>
                  </a:cubicBezTo>
                  <a:cubicBezTo>
                    <a:pt x="2023" y="1122"/>
                    <a:pt x="2039" y="1130"/>
                    <a:pt x="2039" y="1138"/>
                  </a:cubicBezTo>
                  <a:cubicBezTo>
                    <a:pt x="2047" y="1170"/>
                    <a:pt x="2023" y="1233"/>
                    <a:pt x="1999" y="1249"/>
                  </a:cubicBezTo>
                  <a:cubicBezTo>
                    <a:pt x="1991" y="1257"/>
                    <a:pt x="1991" y="1265"/>
                    <a:pt x="1991" y="1273"/>
                  </a:cubicBezTo>
                  <a:cubicBezTo>
                    <a:pt x="1991" y="1280"/>
                    <a:pt x="1999" y="1296"/>
                    <a:pt x="1999" y="1312"/>
                  </a:cubicBezTo>
                  <a:cubicBezTo>
                    <a:pt x="1999" y="1344"/>
                    <a:pt x="1944" y="1367"/>
                    <a:pt x="1912" y="1383"/>
                  </a:cubicBezTo>
                  <a:cubicBezTo>
                    <a:pt x="1904" y="1383"/>
                    <a:pt x="1896" y="1391"/>
                    <a:pt x="1889" y="1391"/>
                  </a:cubicBezTo>
                  <a:cubicBezTo>
                    <a:pt x="1880" y="1399"/>
                    <a:pt x="1880" y="1399"/>
                    <a:pt x="1880" y="1399"/>
                  </a:cubicBezTo>
                  <a:cubicBezTo>
                    <a:pt x="1880" y="1399"/>
                    <a:pt x="1880" y="1407"/>
                    <a:pt x="1889" y="1407"/>
                  </a:cubicBezTo>
                  <a:cubicBezTo>
                    <a:pt x="1889" y="1415"/>
                    <a:pt x="1896" y="1415"/>
                    <a:pt x="1896" y="1423"/>
                  </a:cubicBezTo>
                  <a:cubicBezTo>
                    <a:pt x="1904" y="1439"/>
                    <a:pt x="1912" y="1462"/>
                    <a:pt x="1880" y="1486"/>
                  </a:cubicBezTo>
                  <a:cubicBezTo>
                    <a:pt x="1880" y="1494"/>
                    <a:pt x="1880" y="1494"/>
                    <a:pt x="1880" y="1494"/>
                  </a:cubicBezTo>
                  <a:lnTo>
                    <a:pt x="1880" y="1494"/>
                  </a:lnTo>
                  <a:lnTo>
                    <a:pt x="1762" y="1367"/>
                  </a:lnTo>
                  <a:lnTo>
                    <a:pt x="1762" y="1367"/>
                  </a:lnTo>
                  <a:cubicBezTo>
                    <a:pt x="1770" y="1367"/>
                    <a:pt x="1778" y="1375"/>
                    <a:pt x="1786" y="1391"/>
                  </a:cubicBezTo>
                  <a:cubicBezTo>
                    <a:pt x="1802" y="1407"/>
                    <a:pt x="1849" y="1454"/>
                    <a:pt x="1880" y="1486"/>
                  </a:cubicBezTo>
                  <a:cubicBezTo>
                    <a:pt x="1896" y="1462"/>
                    <a:pt x="1904" y="1446"/>
                    <a:pt x="1896" y="1431"/>
                  </a:cubicBezTo>
                  <a:cubicBezTo>
                    <a:pt x="1889" y="1423"/>
                    <a:pt x="1889" y="1415"/>
                    <a:pt x="1880" y="1415"/>
                  </a:cubicBezTo>
                  <a:cubicBezTo>
                    <a:pt x="1873" y="1407"/>
                    <a:pt x="1873" y="1407"/>
                    <a:pt x="1873" y="1399"/>
                  </a:cubicBezTo>
                  <a:cubicBezTo>
                    <a:pt x="1873" y="1391"/>
                    <a:pt x="1873" y="1391"/>
                    <a:pt x="1880" y="1383"/>
                  </a:cubicBezTo>
                  <a:cubicBezTo>
                    <a:pt x="1889" y="1383"/>
                    <a:pt x="1896" y="1375"/>
                    <a:pt x="1904" y="1375"/>
                  </a:cubicBezTo>
                  <a:cubicBezTo>
                    <a:pt x="1944" y="1360"/>
                    <a:pt x="1991" y="1344"/>
                    <a:pt x="1991" y="1312"/>
                  </a:cubicBezTo>
                  <a:cubicBezTo>
                    <a:pt x="1991" y="1296"/>
                    <a:pt x="1991" y="1288"/>
                    <a:pt x="1983" y="1280"/>
                  </a:cubicBezTo>
                  <a:cubicBezTo>
                    <a:pt x="1983" y="1265"/>
                    <a:pt x="1983" y="1257"/>
                    <a:pt x="1999" y="1241"/>
                  </a:cubicBezTo>
                  <a:cubicBezTo>
                    <a:pt x="2015" y="1233"/>
                    <a:pt x="2039" y="1170"/>
                    <a:pt x="2031" y="1146"/>
                  </a:cubicBezTo>
                  <a:cubicBezTo>
                    <a:pt x="2031" y="1130"/>
                    <a:pt x="2023" y="1122"/>
                    <a:pt x="2007" y="1114"/>
                  </a:cubicBezTo>
                  <a:cubicBezTo>
                    <a:pt x="1999" y="1107"/>
                    <a:pt x="1983" y="1099"/>
                    <a:pt x="1983" y="1083"/>
                  </a:cubicBezTo>
                  <a:cubicBezTo>
                    <a:pt x="1983" y="1075"/>
                    <a:pt x="1983" y="1059"/>
                    <a:pt x="1976" y="1051"/>
                  </a:cubicBezTo>
                  <a:cubicBezTo>
                    <a:pt x="1976" y="1027"/>
                    <a:pt x="1967" y="1012"/>
                    <a:pt x="1976" y="996"/>
                  </a:cubicBezTo>
                  <a:cubicBezTo>
                    <a:pt x="1976" y="988"/>
                    <a:pt x="1983" y="988"/>
                    <a:pt x="1991" y="988"/>
                  </a:cubicBezTo>
                  <a:cubicBezTo>
                    <a:pt x="1999" y="980"/>
                    <a:pt x="2007" y="980"/>
                    <a:pt x="2023" y="980"/>
                  </a:cubicBezTo>
                  <a:cubicBezTo>
                    <a:pt x="2031" y="980"/>
                    <a:pt x="2039" y="980"/>
                    <a:pt x="2047" y="988"/>
                  </a:cubicBezTo>
                  <a:cubicBezTo>
                    <a:pt x="2054" y="988"/>
                    <a:pt x="2062" y="988"/>
                    <a:pt x="2062" y="988"/>
                  </a:cubicBezTo>
                  <a:cubicBezTo>
                    <a:pt x="2086" y="988"/>
                    <a:pt x="2094" y="980"/>
                    <a:pt x="2102" y="972"/>
                  </a:cubicBezTo>
                  <a:cubicBezTo>
                    <a:pt x="2118" y="956"/>
                    <a:pt x="2134" y="949"/>
                    <a:pt x="2149" y="949"/>
                  </a:cubicBezTo>
                  <a:cubicBezTo>
                    <a:pt x="2157" y="940"/>
                    <a:pt x="2165" y="940"/>
                    <a:pt x="2173" y="933"/>
                  </a:cubicBezTo>
                  <a:cubicBezTo>
                    <a:pt x="2181" y="933"/>
                    <a:pt x="2189" y="925"/>
                    <a:pt x="2189" y="925"/>
                  </a:cubicBezTo>
                  <a:cubicBezTo>
                    <a:pt x="2213" y="917"/>
                    <a:pt x="2229" y="909"/>
                    <a:pt x="2229" y="869"/>
                  </a:cubicBezTo>
                  <a:cubicBezTo>
                    <a:pt x="2229" y="830"/>
                    <a:pt x="2244" y="822"/>
                    <a:pt x="2260" y="806"/>
                  </a:cubicBezTo>
                  <a:cubicBezTo>
                    <a:pt x="2268" y="798"/>
                    <a:pt x="2276" y="790"/>
                    <a:pt x="2284" y="782"/>
                  </a:cubicBezTo>
                  <a:cubicBezTo>
                    <a:pt x="2300" y="743"/>
                    <a:pt x="2292" y="664"/>
                    <a:pt x="2276" y="648"/>
                  </a:cubicBezTo>
                  <a:cubicBezTo>
                    <a:pt x="2268" y="648"/>
                    <a:pt x="2260" y="640"/>
                    <a:pt x="2252" y="640"/>
                  </a:cubicBezTo>
                  <a:cubicBezTo>
                    <a:pt x="2229" y="624"/>
                    <a:pt x="2197" y="609"/>
                    <a:pt x="2197" y="585"/>
                  </a:cubicBezTo>
                  <a:cubicBezTo>
                    <a:pt x="2197" y="569"/>
                    <a:pt x="2165" y="537"/>
                    <a:pt x="2142" y="514"/>
                  </a:cubicBezTo>
                  <a:cubicBezTo>
                    <a:pt x="2126" y="498"/>
                    <a:pt x="2110" y="490"/>
                    <a:pt x="2110" y="482"/>
                  </a:cubicBezTo>
                  <a:cubicBezTo>
                    <a:pt x="2102" y="474"/>
                    <a:pt x="2102" y="474"/>
                    <a:pt x="2102" y="474"/>
                  </a:cubicBezTo>
                  <a:cubicBezTo>
                    <a:pt x="2094" y="450"/>
                    <a:pt x="2086" y="387"/>
                    <a:pt x="1983" y="387"/>
                  </a:cubicBezTo>
                  <a:cubicBezTo>
                    <a:pt x="1944" y="387"/>
                    <a:pt x="1928" y="387"/>
                    <a:pt x="1920" y="371"/>
                  </a:cubicBezTo>
                  <a:cubicBezTo>
                    <a:pt x="1912" y="363"/>
                    <a:pt x="1920" y="356"/>
                    <a:pt x="1928" y="348"/>
                  </a:cubicBezTo>
                  <a:cubicBezTo>
                    <a:pt x="1936" y="340"/>
                    <a:pt x="1944" y="324"/>
                    <a:pt x="1944" y="308"/>
                  </a:cubicBezTo>
                  <a:cubicBezTo>
                    <a:pt x="1936" y="300"/>
                    <a:pt x="1936" y="300"/>
                    <a:pt x="1920" y="292"/>
                  </a:cubicBezTo>
                  <a:cubicBezTo>
                    <a:pt x="1904" y="292"/>
                    <a:pt x="1896" y="284"/>
                    <a:pt x="1904" y="245"/>
                  </a:cubicBezTo>
                  <a:cubicBezTo>
                    <a:pt x="1904" y="221"/>
                    <a:pt x="1904" y="205"/>
                    <a:pt x="1904" y="190"/>
                  </a:cubicBezTo>
                  <a:cubicBezTo>
                    <a:pt x="1912" y="174"/>
                    <a:pt x="1912" y="166"/>
                    <a:pt x="1920" y="126"/>
                  </a:cubicBezTo>
                  <a:cubicBezTo>
                    <a:pt x="1936" y="95"/>
                    <a:pt x="1920" y="95"/>
                    <a:pt x="1912" y="87"/>
                  </a:cubicBezTo>
                  <a:cubicBezTo>
                    <a:pt x="1904" y="79"/>
                    <a:pt x="1889" y="71"/>
                    <a:pt x="1889" y="55"/>
                  </a:cubicBezTo>
                  <a:cubicBezTo>
                    <a:pt x="1889" y="39"/>
                    <a:pt x="1880" y="32"/>
                    <a:pt x="1873" y="8"/>
                  </a:cubicBezTo>
                  <a:cubicBezTo>
                    <a:pt x="1865" y="8"/>
                    <a:pt x="1865" y="8"/>
                    <a:pt x="1865" y="8"/>
                  </a:cubicBezTo>
                  <a:cubicBezTo>
                    <a:pt x="1446" y="55"/>
                    <a:pt x="742" y="63"/>
                    <a:pt x="363" y="63"/>
                  </a:cubicBezTo>
                  <a:cubicBezTo>
                    <a:pt x="189" y="63"/>
                    <a:pt x="78" y="55"/>
                    <a:pt x="78" y="55"/>
                  </a:cubicBezTo>
                  <a:cubicBezTo>
                    <a:pt x="70" y="55"/>
                    <a:pt x="70" y="55"/>
                    <a:pt x="70" y="55"/>
                  </a:cubicBezTo>
                  <a:lnTo>
                    <a:pt x="70" y="55"/>
                  </a:lnTo>
                  <a:cubicBezTo>
                    <a:pt x="62" y="55"/>
                    <a:pt x="54" y="63"/>
                    <a:pt x="47" y="71"/>
                  </a:cubicBezTo>
                  <a:cubicBezTo>
                    <a:pt x="39" y="87"/>
                    <a:pt x="39" y="95"/>
                    <a:pt x="47" y="110"/>
                  </a:cubicBezTo>
                  <a:cubicBezTo>
                    <a:pt x="54" y="126"/>
                    <a:pt x="54" y="142"/>
                    <a:pt x="39" y="158"/>
                  </a:cubicBezTo>
                  <a:cubicBezTo>
                    <a:pt x="31" y="158"/>
                    <a:pt x="31" y="166"/>
                    <a:pt x="31" y="166"/>
                  </a:cubicBezTo>
                  <a:cubicBezTo>
                    <a:pt x="31" y="174"/>
                    <a:pt x="39" y="182"/>
                    <a:pt x="54" y="190"/>
                  </a:cubicBezTo>
                  <a:cubicBezTo>
                    <a:pt x="54" y="190"/>
                    <a:pt x="54" y="197"/>
                    <a:pt x="62" y="197"/>
                  </a:cubicBezTo>
                  <a:lnTo>
                    <a:pt x="62" y="197"/>
                  </a:lnTo>
                  <a:cubicBezTo>
                    <a:pt x="78" y="213"/>
                    <a:pt x="94" y="213"/>
                    <a:pt x="94" y="229"/>
                  </a:cubicBezTo>
                  <a:cubicBezTo>
                    <a:pt x="94" y="237"/>
                    <a:pt x="94" y="237"/>
                    <a:pt x="86" y="245"/>
                  </a:cubicBezTo>
                  <a:cubicBezTo>
                    <a:pt x="78" y="261"/>
                    <a:pt x="78" y="261"/>
                    <a:pt x="78" y="276"/>
                  </a:cubicBezTo>
                  <a:cubicBezTo>
                    <a:pt x="78" y="284"/>
                    <a:pt x="78" y="292"/>
                    <a:pt x="78" y="316"/>
                  </a:cubicBezTo>
                  <a:cubicBezTo>
                    <a:pt x="70" y="348"/>
                    <a:pt x="54" y="356"/>
                    <a:pt x="47" y="363"/>
                  </a:cubicBezTo>
                  <a:cubicBezTo>
                    <a:pt x="31" y="371"/>
                    <a:pt x="23" y="379"/>
                    <a:pt x="16" y="403"/>
                  </a:cubicBezTo>
                  <a:cubicBezTo>
                    <a:pt x="8" y="419"/>
                    <a:pt x="16" y="427"/>
                    <a:pt x="31" y="434"/>
                  </a:cubicBezTo>
                  <a:cubicBezTo>
                    <a:pt x="39" y="443"/>
                    <a:pt x="54" y="450"/>
                    <a:pt x="70" y="474"/>
                  </a:cubicBezTo>
                  <a:cubicBezTo>
                    <a:pt x="86" y="514"/>
                    <a:pt x="94" y="537"/>
                    <a:pt x="102" y="561"/>
                  </a:cubicBezTo>
                  <a:cubicBezTo>
                    <a:pt x="102" y="569"/>
                    <a:pt x="110" y="577"/>
                    <a:pt x="110" y="585"/>
                  </a:cubicBezTo>
                  <a:cubicBezTo>
                    <a:pt x="118" y="593"/>
                    <a:pt x="118" y="601"/>
                    <a:pt x="118" y="616"/>
                  </a:cubicBezTo>
                  <a:cubicBezTo>
                    <a:pt x="118" y="624"/>
                    <a:pt x="118" y="640"/>
                    <a:pt x="126" y="664"/>
                  </a:cubicBezTo>
                  <a:cubicBezTo>
                    <a:pt x="133" y="672"/>
                    <a:pt x="133" y="680"/>
                    <a:pt x="141" y="687"/>
                  </a:cubicBezTo>
                  <a:cubicBezTo>
                    <a:pt x="141" y="703"/>
                    <a:pt x="149" y="711"/>
                    <a:pt x="157" y="727"/>
                  </a:cubicBezTo>
                  <a:cubicBezTo>
                    <a:pt x="165" y="743"/>
                    <a:pt x="173" y="759"/>
                    <a:pt x="173" y="767"/>
                  </a:cubicBezTo>
                  <a:cubicBezTo>
                    <a:pt x="181" y="782"/>
                    <a:pt x="181" y="798"/>
                    <a:pt x="197" y="822"/>
                  </a:cubicBezTo>
                  <a:cubicBezTo>
                    <a:pt x="220" y="846"/>
                    <a:pt x="213" y="917"/>
                    <a:pt x="213" y="956"/>
                  </a:cubicBezTo>
                  <a:cubicBezTo>
                    <a:pt x="213" y="964"/>
                    <a:pt x="213" y="964"/>
                    <a:pt x="213" y="972"/>
                  </a:cubicBezTo>
                  <a:cubicBezTo>
                    <a:pt x="213" y="980"/>
                    <a:pt x="213" y="988"/>
                    <a:pt x="220" y="988"/>
                  </a:cubicBezTo>
                  <a:lnTo>
                    <a:pt x="228" y="980"/>
                  </a:lnTo>
                  <a:lnTo>
                    <a:pt x="236" y="980"/>
                  </a:lnTo>
                  <a:cubicBezTo>
                    <a:pt x="252" y="980"/>
                    <a:pt x="268" y="1012"/>
                    <a:pt x="268" y="1012"/>
                  </a:cubicBezTo>
                  <a:lnTo>
                    <a:pt x="268" y="1012"/>
                  </a:lnTo>
                  <a:cubicBezTo>
                    <a:pt x="268" y="1012"/>
                    <a:pt x="268" y="1035"/>
                    <a:pt x="268" y="1051"/>
                  </a:cubicBezTo>
                  <a:cubicBezTo>
                    <a:pt x="260" y="1059"/>
                    <a:pt x="268" y="1059"/>
                    <a:pt x="276" y="1067"/>
                  </a:cubicBezTo>
                  <a:cubicBezTo>
                    <a:pt x="284" y="1067"/>
                    <a:pt x="292" y="1075"/>
                    <a:pt x="292" y="1083"/>
                  </a:cubicBezTo>
                  <a:cubicBezTo>
                    <a:pt x="284" y="1107"/>
                    <a:pt x="284" y="1122"/>
                    <a:pt x="292" y="1130"/>
                  </a:cubicBezTo>
                  <a:cubicBezTo>
                    <a:pt x="307" y="1138"/>
                    <a:pt x="307" y="1170"/>
                    <a:pt x="292" y="1193"/>
                  </a:cubicBezTo>
                  <a:cubicBezTo>
                    <a:pt x="284" y="1217"/>
                    <a:pt x="284" y="1217"/>
                    <a:pt x="300" y="1233"/>
                  </a:cubicBezTo>
                  <a:cubicBezTo>
                    <a:pt x="307" y="1241"/>
                    <a:pt x="307" y="1241"/>
                    <a:pt x="315" y="1249"/>
                  </a:cubicBezTo>
                  <a:cubicBezTo>
                    <a:pt x="331" y="1273"/>
                    <a:pt x="315" y="1320"/>
                    <a:pt x="307" y="1351"/>
                  </a:cubicBezTo>
                  <a:cubicBezTo>
                    <a:pt x="300" y="1367"/>
                    <a:pt x="300" y="1383"/>
                    <a:pt x="300" y="1391"/>
                  </a:cubicBezTo>
                  <a:cubicBezTo>
                    <a:pt x="300" y="1399"/>
                    <a:pt x="300" y="1399"/>
                    <a:pt x="300" y="1399"/>
                  </a:cubicBezTo>
                  <a:cubicBezTo>
                    <a:pt x="307" y="1399"/>
                    <a:pt x="307" y="1399"/>
                    <a:pt x="307" y="1399"/>
                  </a:cubicBezTo>
                  <a:cubicBezTo>
                    <a:pt x="315" y="1399"/>
                    <a:pt x="315" y="1399"/>
                    <a:pt x="323" y="1399"/>
                  </a:cubicBezTo>
                  <a:cubicBezTo>
                    <a:pt x="331" y="1399"/>
                    <a:pt x="339" y="1407"/>
                    <a:pt x="339" y="1423"/>
                  </a:cubicBezTo>
                  <a:cubicBezTo>
                    <a:pt x="339" y="1431"/>
                    <a:pt x="339" y="1431"/>
                    <a:pt x="339" y="1439"/>
                  </a:cubicBezTo>
                  <a:cubicBezTo>
                    <a:pt x="466" y="1439"/>
                    <a:pt x="1430" y="1423"/>
                    <a:pt x="1754" y="1367"/>
                  </a:cubicBezTo>
                  <a:lnTo>
                    <a:pt x="1762" y="1367"/>
                  </a:lnTo>
                  <a:lnTo>
                    <a:pt x="1880" y="1494"/>
                  </a:lnTo>
                </a:path>
              </a:pathLst>
            </a:custGeom>
            <a:grpFill/>
            <a:ln>
              <a:solidFill>
                <a:schemeClr val="bg1">
                  <a:lumMod val="95000"/>
                </a:schemeClr>
              </a:solidFill>
            </a:ln>
            <a:effectLst/>
          </p:spPr>
          <p:txBody>
            <a:bodyPr wrap="none" anchor="ctr"/>
            <a:lstStyle/>
            <a:p>
              <a:endParaRPr lang="en-US" sz="900"/>
            </a:p>
          </p:txBody>
        </p:sp>
        <p:sp>
          <p:nvSpPr>
            <p:cNvPr id="66" name="Freeform 512"/>
            <p:cNvSpPr>
              <a:spLocks noChangeArrowheads="1"/>
            </p:cNvSpPr>
            <p:nvPr/>
          </p:nvSpPr>
          <p:spPr bwMode="auto">
            <a:xfrm>
              <a:off x="12659013" y="6755138"/>
              <a:ext cx="985706" cy="902209"/>
            </a:xfrm>
            <a:custGeom>
              <a:avLst/>
              <a:gdLst>
                <a:gd name="T0" fmla="*/ 1644 w 1874"/>
                <a:gd name="T1" fmla="*/ 198 h 1717"/>
                <a:gd name="T2" fmla="*/ 1644 w 1874"/>
                <a:gd name="T3" fmla="*/ 198 h 1717"/>
                <a:gd name="T4" fmla="*/ 1715 w 1874"/>
                <a:gd name="T5" fmla="*/ 79 h 1717"/>
                <a:gd name="T6" fmla="*/ 1644 w 1874"/>
                <a:gd name="T7" fmla="*/ 0 h 1717"/>
                <a:gd name="T8" fmla="*/ 0 w 1874"/>
                <a:gd name="T9" fmla="*/ 79 h 1717"/>
                <a:gd name="T10" fmla="*/ 79 w 1874"/>
                <a:gd name="T11" fmla="*/ 514 h 1717"/>
                <a:gd name="T12" fmla="*/ 87 w 1874"/>
                <a:gd name="T13" fmla="*/ 1399 h 1717"/>
                <a:gd name="T14" fmla="*/ 94 w 1874"/>
                <a:gd name="T15" fmla="*/ 1399 h 1717"/>
                <a:gd name="T16" fmla="*/ 134 w 1874"/>
                <a:gd name="T17" fmla="*/ 1463 h 1717"/>
                <a:gd name="T18" fmla="*/ 166 w 1874"/>
                <a:gd name="T19" fmla="*/ 1431 h 1717"/>
                <a:gd name="T20" fmla="*/ 229 w 1874"/>
                <a:gd name="T21" fmla="*/ 1439 h 1717"/>
                <a:gd name="T22" fmla="*/ 269 w 1874"/>
                <a:gd name="T23" fmla="*/ 1463 h 1717"/>
                <a:gd name="T24" fmla="*/ 269 w 1874"/>
                <a:gd name="T25" fmla="*/ 1716 h 1717"/>
                <a:gd name="T26" fmla="*/ 1407 w 1874"/>
                <a:gd name="T27" fmla="*/ 1684 h 1717"/>
                <a:gd name="T28" fmla="*/ 1407 w 1874"/>
                <a:gd name="T29" fmla="*/ 1668 h 1717"/>
                <a:gd name="T30" fmla="*/ 1407 w 1874"/>
                <a:gd name="T31" fmla="*/ 1613 h 1717"/>
                <a:gd name="T32" fmla="*/ 1415 w 1874"/>
                <a:gd name="T33" fmla="*/ 1557 h 1717"/>
                <a:gd name="T34" fmla="*/ 1391 w 1874"/>
                <a:gd name="T35" fmla="*/ 1494 h 1717"/>
                <a:gd name="T36" fmla="*/ 1375 w 1874"/>
                <a:gd name="T37" fmla="*/ 1431 h 1717"/>
                <a:gd name="T38" fmla="*/ 1375 w 1874"/>
                <a:gd name="T39" fmla="*/ 1360 h 1717"/>
                <a:gd name="T40" fmla="*/ 1399 w 1874"/>
                <a:gd name="T41" fmla="*/ 1297 h 1717"/>
                <a:gd name="T42" fmla="*/ 1399 w 1874"/>
                <a:gd name="T43" fmla="*/ 1218 h 1717"/>
                <a:gd name="T44" fmla="*/ 1439 w 1874"/>
                <a:gd name="T45" fmla="*/ 1186 h 1717"/>
                <a:gd name="T46" fmla="*/ 1462 w 1874"/>
                <a:gd name="T47" fmla="*/ 1154 h 1717"/>
                <a:gd name="T48" fmla="*/ 1462 w 1874"/>
                <a:gd name="T49" fmla="*/ 1123 h 1717"/>
                <a:gd name="T50" fmla="*/ 1462 w 1874"/>
                <a:gd name="T51" fmla="*/ 1083 h 1717"/>
                <a:gd name="T52" fmla="*/ 1533 w 1874"/>
                <a:gd name="T53" fmla="*/ 1020 h 1717"/>
                <a:gd name="T54" fmla="*/ 1573 w 1874"/>
                <a:gd name="T55" fmla="*/ 973 h 1717"/>
                <a:gd name="T56" fmla="*/ 1589 w 1874"/>
                <a:gd name="T57" fmla="*/ 901 h 1717"/>
                <a:gd name="T58" fmla="*/ 1612 w 1874"/>
                <a:gd name="T59" fmla="*/ 799 h 1717"/>
                <a:gd name="T60" fmla="*/ 1660 w 1874"/>
                <a:gd name="T61" fmla="*/ 767 h 1717"/>
                <a:gd name="T62" fmla="*/ 1676 w 1874"/>
                <a:gd name="T63" fmla="*/ 735 h 1717"/>
                <a:gd name="T64" fmla="*/ 1699 w 1874"/>
                <a:gd name="T65" fmla="*/ 688 h 1717"/>
                <a:gd name="T66" fmla="*/ 1739 w 1874"/>
                <a:gd name="T67" fmla="*/ 640 h 1717"/>
                <a:gd name="T68" fmla="*/ 1778 w 1874"/>
                <a:gd name="T69" fmla="*/ 585 h 1717"/>
                <a:gd name="T70" fmla="*/ 1723 w 1874"/>
                <a:gd name="T71" fmla="*/ 530 h 1717"/>
                <a:gd name="T72" fmla="*/ 1747 w 1874"/>
                <a:gd name="T73" fmla="*/ 474 h 1717"/>
                <a:gd name="T74" fmla="*/ 1778 w 1874"/>
                <a:gd name="T75" fmla="*/ 419 h 1717"/>
                <a:gd name="T76" fmla="*/ 1802 w 1874"/>
                <a:gd name="T77" fmla="*/ 396 h 1717"/>
                <a:gd name="T78" fmla="*/ 1810 w 1874"/>
                <a:gd name="T79" fmla="*/ 340 h 1717"/>
                <a:gd name="T80" fmla="*/ 1873 w 1874"/>
                <a:gd name="T81" fmla="*/ 229 h 1717"/>
                <a:gd name="T82" fmla="*/ 1676 w 1874"/>
                <a:gd name="T83" fmla="*/ 245 h 1717"/>
                <a:gd name="T84" fmla="*/ 1644 w 1874"/>
                <a:gd name="T85" fmla="*/ 198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74" h="1717">
                  <a:moveTo>
                    <a:pt x="1644" y="198"/>
                  </a:moveTo>
                  <a:lnTo>
                    <a:pt x="1644" y="198"/>
                  </a:lnTo>
                  <a:cubicBezTo>
                    <a:pt x="1668" y="166"/>
                    <a:pt x="1699" y="150"/>
                    <a:pt x="1715" y="79"/>
                  </a:cubicBezTo>
                  <a:cubicBezTo>
                    <a:pt x="1739" y="16"/>
                    <a:pt x="1644" y="0"/>
                    <a:pt x="1644" y="0"/>
                  </a:cubicBezTo>
                  <a:cubicBezTo>
                    <a:pt x="1383" y="32"/>
                    <a:pt x="213" y="71"/>
                    <a:pt x="0" y="79"/>
                  </a:cubicBezTo>
                  <a:cubicBezTo>
                    <a:pt x="16" y="198"/>
                    <a:pt x="39" y="348"/>
                    <a:pt x="79" y="514"/>
                  </a:cubicBezTo>
                  <a:cubicBezTo>
                    <a:pt x="87" y="1399"/>
                    <a:pt x="87" y="1399"/>
                    <a:pt x="87" y="1399"/>
                  </a:cubicBezTo>
                  <a:cubicBezTo>
                    <a:pt x="87" y="1399"/>
                    <a:pt x="87" y="1399"/>
                    <a:pt x="94" y="1399"/>
                  </a:cubicBezTo>
                  <a:cubicBezTo>
                    <a:pt x="126" y="1407"/>
                    <a:pt x="110" y="1447"/>
                    <a:pt x="134" y="1463"/>
                  </a:cubicBezTo>
                  <a:cubicBezTo>
                    <a:pt x="158" y="1486"/>
                    <a:pt x="150" y="1439"/>
                    <a:pt x="166" y="1431"/>
                  </a:cubicBezTo>
                  <a:cubicBezTo>
                    <a:pt x="174" y="1431"/>
                    <a:pt x="197" y="1439"/>
                    <a:pt x="229" y="1439"/>
                  </a:cubicBezTo>
                  <a:cubicBezTo>
                    <a:pt x="253" y="1439"/>
                    <a:pt x="269" y="1463"/>
                    <a:pt x="269" y="1463"/>
                  </a:cubicBezTo>
                  <a:cubicBezTo>
                    <a:pt x="269" y="1716"/>
                    <a:pt x="269" y="1716"/>
                    <a:pt x="269" y="1716"/>
                  </a:cubicBezTo>
                  <a:cubicBezTo>
                    <a:pt x="1407" y="1684"/>
                    <a:pt x="1407" y="1684"/>
                    <a:pt x="1407" y="1684"/>
                  </a:cubicBezTo>
                  <a:cubicBezTo>
                    <a:pt x="1407" y="1676"/>
                    <a:pt x="1407" y="1676"/>
                    <a:pt x="1407" y="1668"/>
                  </a:cubicBezTo>
                  <a:cubicBezTo>
                    <a:pt x="1391" y="1621"/>
                    <a:pt x="1423" y="1637"/>
                    <a:pt x="1407" y="1613"/>
                  </a:cubicBezTo>
                  <a:cubicBezTo>
                    <a:pt x="1399" y="1597"/>
                    <a:pt x="1407" y="1581"/>
                    <a:pt x="1415" y="1557"/>
                  </a:cubicBezTo>
                  <a:cubicBezTo>
                    <a:pt x="1423" y="1534"/>
                    <a:pt x="1415" y="1526"/>
                    <a:pt x="1391" y="1494"/>
                  </a:cubicBezTo>
                  <a:cubicBezTo>
                    <a:pt x="1367" y="1471"/>
                    <a:pt x="1359" y="1447"/>
                    <a:pt x="1375" y="1431"/>
                  </a:cubicBezTo>
                  <a:cubicBezTo>
                    <a:pt x="1391" y="1415"/>
                    <a:pt x="1375" y="1384"/>
                    <a:pt x="1375" y="1360"/>
                  </a:cubicBezTo>
                  <a:cubicBezTo>
                    <a:pt x="1375" y="1344"/>
                    <a:pt x="1375" y="1313"/>
                    <a:pt x="1399" y="1297"/>
                  </a:cubicBezTo>
                  <a:cubicBezTo>
                    <a:pt x="1430" y="1289"/>
                    <a:pt x="1407" y="1249"/>
                    <a:pt x="1399" y="1218"/>
                  </a:cubicBezTo>
                  <a:cubicBezTo>
                    <a:pt x="1399" y="1186"/>
                    <a:pt x="1415" y="1186"/>
                    <a:pt x="1439" y="1186"/>
                  </a:cubicBezTo>
                  <a:cubicBezTo>
                    <a:pt x="1462" y="1186"/>
                    <a:pt x="1470" y="1170"/>
                    <a:pt x="1462" y="1154"/>
                  </a:cubicBezTo>
                  <a:cubicBezTo>
                    <a:pt x="1454" y="1146"/>
                    <a:pt x="1454" y="1139"/>
                    <a:pt x="1462" y="1123"/>
                  </a:cubicBezTo>
                  <a:cubicBezTo>
                    <a:pt x="1478" y="1115"/>
                    <a:pt x="1470" y="1107"/>
                    <a:pt x="1462" y="1083"/>
                  </a:cubicBezTo>
                  <a:cubicBezTo>
                    <a:pt x="1462" y="1051"/>
                    <a:pt x="1502" y="1028"/>
                    <a:pt x="1533" y="1020"/>
                  </a:cubicBezTo>
                  <a:cubicBezTo>
                    <a:pt x="1565" y="1012"/>
                    <a:pt x="1573" y="996"/>
                    <a:pt x="1573" y="973"/>
                  </a:cubicBezTo>
                  <a:cubicBezTo>
                    <a:pt x="1573" y="941"/>
                    <a:pt x="1573" y="917"/>
                    <a:pt x="1589" y="901"/>
                  </a:cubicBezTo>
                  <a:cubicBezTo>
                    <a:pt x="1604" y="886"/>
                    <a:pt x="1612" y="830"/>
                    <a:pt x="1612" y="799"/>
                  </a:cubicBezTo>
                  <a:cubicBezTo>
                    <a:pt x="1620" y="767"/>
                    <a:pt x="1644" y="767"/>
                    <a:pt x="1660" y="767"/>
                  </a:cubicBezTo>
                  <a:cubicBezTo>
                    <a:pt x="1676" y="759"/>
                    <a:pt x="1676" y="767"/>
                    <a:pt x="1676" y="735"/>
                  </a:cubicBezTo>
                  <a:cubicBezTo>
                    <a:pt x="1676" y="696"/>
                    <a:pt x="1699" y="688"/>
                    <a:pt x="1699" y="688"/>
                  </a:cubicBezTo>
                  <a:cubicBezTo>
                    <a:pt x="1699" y="688"/>
                    <a:pt x="1707" y="656"/>
                    <a:pt x="1739" y="640"/>
                  </a:cubicBezTo>
                  <a:cubicBezTo>
                    <a:pt x="1763" y="625"/>
                    <a:pt x="1786" y="633"/>
                    <a:pt x="1778" y="585"/>
                  </a:cubicBezTo>
                  <a:cubicBezTo>
                    <a:pt x="1763" y="538"/>
                    <a:pt x="1723" y="554"/>
                    <a:pt x="1723" y="530"/>
                  </a:cubicBezTo>
                  <a:cubicBezTo>
                    <a:pt x="1723" y="506"/>
                    <a:pt x="1715" y="490"/>
                    <a:pt x="1747" y="474"/>
                  </a:cubicBezTo>
                  <a:cubicBezTo>
                    <a:pt x="1770" y="467"/>
                    <a:pt x="1770" y="443"/>
                    <a:pt x="1778" y="419"/>
                  </a:cubicBezTo>
                  <a:cubicBezTo>
                    <a:pt x="1778" y="396"/>
                    <a:pt x="1786" y="411"/>
                    <a:pt x="1802" y="396"/>
                  </a:cubicBezTo>
                  <a:cubicBezTo>
                    <a:pt x="1818" y="380"/>
                    <a:pt x="1778" y="348"/>
                    <a:pt x="1810" y="340"/>
                  </a:cubicBezTo>
                  <a:cubicBezTo>
                    <a:pt x="1842" y="332"/>
                    <a:pt x="1873" y="261"/>
                    <a:pt x="1873" y="229"/>
                  </a:cubicBezTo>
                  <a:cubicBezTo>
                    <a:pt x="1810" y="229"/>
                    <a:pt x="1707" y="237"/>
                    <a:pt x="1676" y="245"/>
                  </a:cubicBezTo>
                  <a:cubicBezTo>
                    <a:pt x="1628" y="253"/>
                    <a:pt x="1628" y="229"/>
                    <a:pt x="1644" y="198"/>
                  </a:cubicBezTo>
                </a:path>
              </a:pathLst>
            </a:custGeom>
            <a:grpFill/>
            <a:ln>
              <a:solidFill>
                <a:schemeClr val="bg1">
                  <a:lumMod val="95000"/>
                </a:schemeClr>
              </a:solidFill>
            </a:ln>
            <a:effectLst/>
          </p:spPr>
          <p:txBody>
            <a:bodyPr wrap="none" anchor="ctr"/>
            <a:lstStyle/>
            <a:p>
              <a:endParaRPr lang="en-US" sz="900"/>
            </a:p>
          </p:txBody>
        </p:sp>
        <p:sp>
          <p:nvSpPr>
            <p:cNvPr id="67" name="Freeform 513"/>
            <p:cNvSpPr>
              <a:spLocks noChangeArrowheads="1"/>
            </p:cNvSpPr>
            <p:nvPr/>
          </p:nvSpPr>
          <p:spPr bwMode="auto">
            <a:xfrm>
              <a:off x="12659013" y="6750499"/>
              <a:ext cx="985706" cy="906848"/>
            </a:xfrm>
            <a:custGeom>
              <a:avLst/>
              <a:gdLst>
                <a:gd name="T0" fmla="*/ 260 w 1874"/>
                <a:gd name="T1" fmla="*/ 1471 h 1725"/>
                <a:gd name="T2" fmla="*/ 166 w 1874"/>
                <a:gd name="T3" fmla="*/ 1447 h 1725"/>
                <a:gd name="T4" fmla="*/ 126 w 1874"/>
                <a:gd name="T5" fmla="*/ 1479 h 1725"/>
                <a:gd name="T6" fmla="*/ 87 w 1874"/>
                <a:gd name="T7" fmla="*/ 1415 h 1725"/>
                <a:gd name="T8" fmla="*/ 79 w 1874"/>
                <a:gd name="T9" fmla="*/ 522 h 1725"/>
                <a:gd name="T10" fmla="*/ 0 w 1874"/>
                <a:gd name="T11" fmla="*/ 87 h 1725"/>
                <a:gd name="T12" fmla="*/ 1644 w 1874"/>
                <a:gd name="T13" fmla="*/ 0 h 1725"/>
                <a:gd name="T14" fmla="*/ 1668 w 1874"/>
                <a:gd name="T15" fmla="*/ 182 h 1725"/>
                <a:gd name="T16" fmla="*/ 1676 w 1874"/>
                <a:gd name="T17" fmla="*/ 245 h 1725"/>
                <a:gd name="T18" fmla="*/ 1873 w 1874"/>
                <a:gd name="T19" fmla="*/ 237 h 1725"/>
                <a:gd name="T20" fmla="*/ 1802 w 1874"/>
                <a:gd name="T21" fmla="*/ 372 h 1725"/>
                <a:gd name="T22" fmla="*/ 1778 w 1874"/>
                <a:gd name="T23" fmla="*/ 427 h 1725"/>
                <a:gd name="T24" fmla="*/ 1731 w 1874"/>
                <a:gd name="T25" fmla="*/ 522 h 1725"/>
                <a:gd name="T26" fmla="*/ 1778 w 1874"/>
                <a:gd name="T27" fmla="*/ 593 h 1725"/>
                <a:gd name="T28" fmla="*/ 1699 w 1874"/>
                <a:gd name="T29" fmla="*/ 696 h 1725"/>
                <a:gd name="T30" fmla="*/ 1683 w 1874"/>
                <a:gd name="T31" fmla="*/ 743 h 1725"/>
                <a:gd name="T32" fmla="*/ 1652 w 1874"/>
                <a:gd name="T33" fmla="*/ 775 h 1725"/>
                <a:gd name="T34" fmla="*/ 1589 w 1874"/>
                <a:gd name="T35" fmla="*/ 909 h 1725"/>
                <a:gd name="T36" fmla="*/ 1470 w 1874"/>
                <a:gd name="T37" fmla="*/ 1083 h 1725"/>
                <a:gd name="T38" fmla="*/ 1462 w 1874"/>
                <a:gd name="T39" fmla="*/ 1154 h 1725"/>
                <a:gd name="T40" fmla="*/ 1439 w 1874"/>
                <a:gd name="T41" fmla="*/ 1202 h 1725"/>
                <a:gd name="T42" fmla="*/ 1407 w 1874"/>
                <a:gd name="T43" fmla="*/ 1226 h 1725"/>
                <a:gd name="T44" fmla="*/ 1375 w 1874"/>
                <a:gd name="T45" fmla="*/ 1368 h 1725"/>
                <a:gd name="T46" fmla="*/ 1391 w 1874"/>
                <a:gd name="T47" fmla="*/ 1502 h 1725"/>
                <a:gd name="T48" fmla="*/ 1415 w 1874"/>
                <a:gd name="T49" fmla="*/ 1581 h 1725"/>
                <a:gd name="T50" fmla="*/ 1407 w 1874"/>
                <a:gd name="T51" fmla="*/ 1676 h 1725"/>
                <a:gd name="T52" fmla="*/ 1407 w 1874"/>
                <a:gd name="T53" fmla="*/ 1692 h 1725"/>
                <a:gd name="T54" fmla="*/ 166 w 1874"/>
                <a:gd name="T55" fmla="*/ 1439 h 1725"/>
                <a:gd name="T56" fmla="*/ 269 w 1874"/>
                <a:gd name="T57" fmla="*/ 1463 h 1725"/>
                <a:gd name="T58" fmla="*/ 276 w 1874"/>
                <a:gd name="T59" fmla="*/ 1716 h 1725"/>
                <a:gd name="T60" fmla="*/ 1407 w 1874"/>
                <a:gd name="T61" fmla="*/ 1637 h 1725"/>
                <a:gd name="T62" fmla="*/ 1415 w 1874"/>
                <a:gd name="T63" fmla="*/ 1565 h 1725"/>
                <a:gd name="T64" fmla="*/ 1375 w 1874"/>
                <a:gd name="T65" fmla="*/ 1439 h 1725"/>
                <a:gd name="T66" fmla="*/ 1399 w 1874"/>
                <a:gd name="T67" fmla="*/ 1305 h 1725"/>
                <a:gd name="T68" fmla="*/ 1399 w 1874"/>
                <a:gd name="T69" fmla="*/ 1202 h 1725"/>
                <a:gd name="T70" fmla="*/ 1462 w 1874"/>
                <a:gd name="T71" fmla="*/ 1178 h 1725"/>
                <a:gd name="T72" fmla="*/ 1462 w 1874"/>
                <a:gd name="T73" fmla="*/ 1131 h 1725"/>
                <a:gd name="T74" fmla="*/ 1533 w 1874"/>
                <a:gd name="T75" fmla="*/ 1028 h 1725"/>
                <a:gd name="T76" fmla="*/ 1612 w 1874"/>
                <a:gd name="T77" fmla="*/ 822 h 1725"/>
                <a:gd name="T78" fmla="*/ 1660 w 1874"/>
                <a:gd name="T79" fmla="*/ 767 h 1725"/>
                <a:gd name="T80" fmla="*/ 1699 w 1874"/>
                <a:gd name="T81" fmla="*/ 696 h 1725"/>
                <a:gd name="T82" fmla="*/ 1770 w 1874"/>
                <a:gd name="T83" fmla="*/ 593 h 1725"/>
                <a:gd name="T84" fmla="*/ 1723 w 1874"/>
                <a:gd name="T85" fmla="*/ 522 h 1725"/>
                <a:gd name="T86" fmla="*/ 1770 w 1874"/>
                <a:gd name="T87" fmla="*/ 427 h 1725"/>
                <a:gd name="T88" fmla="*/ 1794 w 1874"/>
                <a:gd name="T89" fmla="*/ 380 h 1725"/>
                <a:gd name="T90" fmla="*/ 1865 w 1874"/>
                <a:gd name="T91" fmla="*/ 237 h 1725"/>
                <a:gd name="T92" fmla="*/ 1644 w 1874"/>
                <a:gd name="T93" fmla="*/ 206 h 1725"/>
                <a:gd name="T94" fmla="*/ 1707 w 1874"/>
                <a:gd name="T95" fmla="*/ 48 h 1725"/>
                <a:gd name="T96" fmla="*/ 87 w 1874"/>
                <a:gd name="T97" fmla="*/ 522 h 1725"/>
                <a:gd name="T98" fmla="*/ 94 w 1874"/>
                <a:gd name="T99" fmla="*/ 1407 h 1725"/>
                <a:gd name="T100" fmla="*/ 142 w 1874"/>
                <a:gd name="T101" fmla="*/ 1471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4" h="1725">
                  <a:moveTo>
                    <a:pt x="269" y="1724"/>
                  </a:moveTo>
                  <a:lnTo>
                    <a:pt x="269" y="1724"/>
                  </a:lnTo>
                  <a:cubicBezTo>
                    <a:pt x="260" y="1471"/>
                    <a:pt x="260" y="1471"/>
                    <a:pt x="260" y="1471"/>
                  </a:cubicBezTo>
                  <a:cubicBezTo>
                    <a:pt x="260" y="1463"/>
                    <a:pt x="253" y="1447"/>
                    <a:pt x="229" y="1447"/>
                  </a:cubicBezTo>
                  <a:cubicBezTo>
                    <a:pt x="213" y="1447"/>
                    <a:pt x="197" y="1447"/>
                    <a:pt x="189" y="1447"/>
                  </a:cubicBezTo>
                  <a:cubicBezTo>
                    <a:pt x="174" y="1447"/>
                    <a:pt x="166" y="1447"/>
                    <a:pt x="166" y="1447"/>
                  </a:cubicBezTo>
                  <a:cubicBezTo>
                    <a:pt x="166" y="1447"/>
                    <a:pt x="158" y="1455"/>
                    <a:pt x="158" y="1463"/>
                  </a:cubicBezTo>
                  <a:cubicBezTo>
                    <a:pt x="158" y="1471"/>
                    <a:pt x="150" y="1479"/>
                    <a:pt x="142" y="1479"/>
                  </a:cubicBezTo>
                  <a:cubicBezTo>
                    <a:pt x="142" y="1479"/>
                    <a:pt x="134" y="1479"/>
                    <a:pt x="126" y="1479"/>
                  </a:cubicBezTo>
                  <a:cubicBezTo>
                    <a:pt x="118" y="1463"/>
                    <a:pt x="118" y="1455"/>
                    <a:pt x="110" y="1439"/>
                  </a:cubicBezTo>
                  <a:cubicBezTo>
                    <a:pt x="110" y="1423"/>
                    <a:pt x="110" y="1415"/>
                    <a:pt x="94" y="1415"/>
                  </a:cubicBezTo>
                  <a:cubicBezTo>
                    <a:pt x="87" y="1415"/>
                    <a:pt x="87" y="1415"/>
                    <a:pt x="87" y="1415"/>
                  </a:cubicBezTo>
                  <a:cubicBezTo>
                    <a:pt x="79" y="1415"/>
                    <a:pt x="79" y="1415"/>
                    <a:pt x="79" y="1415"/>
                  </a:cubicBezTo>
                  <a:cubicBezTo>
                    <a:pt x="79" y="1407"/>
                    <a:pt x="79" y="1407"/>
                    <a:pt x="79" y="1407"/>
                  </a:cubicBezTo>
                  <a:cubicBezTo>
                    <a:pt x="79" y="522"/>
                    <a:pt x="79" y="522"/>
                    <a:pt x="79" y="522"/>
                  </a:cubicBezTo>
                  <a:cubicBezTo>
                    <a:pt x="39" y="380"/>
                    <a:pt x="16" y="237"/>
                    <a:pt x="0" y="87"/>
                  </a:cubicBezTo>
                  <a:lnTo>
                    <a:pt x="0" y="87"/>
                  </a:lnTo>
                  <a:lnTo>
                    <a:pt x="0" y="87"/>
                  </a:lnTo>
                  <a:cubicBezTo>
                    <a:pt x="229" y="79"/>
                    <a:pt x="1391" y="40"/>
                    <a:pt x="1644" y="0"/>
                  </a:cubicBezTo>
                  <a:lnTo>
                    <a:pt x="1644" y="0"/>
                  </a:lnTo>
                  <a:lnTo>
                    <a:pt x="1644" y="0"/>
                  </a:lnTo>
                  <a:cubicBezTo>
                    <a:pt x="1644" y="0"/>
                    <a:pt x="1692" y="8"/>
                    <a:pt x="1715" y="40"/>
                  </a:cubicBezTo>
                  <a:cubicBezTo>
                    <a:pt x="1723" y="56"/>
                    <a:pt x="1723" y="71"/>
                    <a:pt x="1715" y="95"/>
                  </a:cubicBezTo>
                  <a:cubicBezTo>
                    <a:pt x="1707" y="142"/>
                    <a:pt x="1683" y="166"/>
                    <a:pt x="1668" y="182"/>
                  </a:cubicBezTo>
                  <a:cubicBezTo>
                    <a:pt x="1660" y="190"/>
                    <a:pt x="1652" y="198"/>
                    <a:pt x="1644" y="206"/>
                  </a:cubicBezTo>
                  <a:cubicBezTo>
                    <a:pt x="1636" y="222"/>
                    <a:pt x="1636" y="237"/>
                    <a:pt x="1636" y="245"/>
                  </a:cubicBezTo>
                  <a:cubicBezTo>
                    <a:pt x="1644" y="245"/>
                    <a:pt x="1652" y="253"/>
                    <a:pt x="1676" y="245"/>
                  </a:cubicBezTo>
                  <a:cubicBezTo>
                    <a:pt x="1715" y="245"/>
                    <a:pt x="1826" y="237"/>
                    <a:pt x="1873" y="229"/>
                  </a:cubicBezTo>
                  <a:lnTo>
                    <a:pt x="1873" y="229"/>
                  </a:lnTo>
                  <a:cubicBezTo>
                    <a:pt x="1873" y="237"/>
                    <a:pt x="1873" y="237"/>
                    <a:pt x="1873" y="237"/>
                  </a:cubicBezTo>
                  <a:cubicBezTo>
                    <a:pt x="1873" y="269"/>
                    <a:pt x="1842" y="340"/>
                    <a:pt x="1810" y="348"/>
                  </a:cubicBezTo>
                  <a:cubicBezTo>
                    <a:pt x="1810" y="356"/>
                    <a:pt x="1802" y="356"/>
                    <a:pt x="1802" y="356"/>
                  </a:cubicBezTo>
                  <a:cubicBezTo>
                    <a:pt x="1802" y="364"/>
                    <a:pt x="1802" y="372"/>
                    <a:pt x="1802" y="372"/>
                  </a:cubicBezTo>
                  <a:cubicBezTo>
                    <a:pt x="1810" y="388"/>
                    <a:pt x="1810" y="395"/>
                    <a:pt x="1802" y="404"/>
                  </a:cubicBezTo>
                  <a:cubicBezTo>
                    <a:pt x="1794" y="411"/>
                    <a:pt x="1794" y="411"/>
                    <a:pt x="1786" y="419"/>
                  </a:cubicBezTo>
                  <a:cubicBezTo>
                    <a:pt x="1786" y="419"/>
                    <a:pt x="1786" y="419"/>
                    <a:pt x="1778" y="427"/>
                  </a:cubicBezTo>
                  <a:cubicBezTo>
                    <a:pt x="1778" y="435"/>
                    <a:pt x="1778" y="435"/>
                    <a:pt x="1778" y="435"/>
                  </a:cubicBezTo>
                  <a:cubicBezTo>
                    <a:pt x="1778" y="459"/>
                    <a:pt x="1770" y="475"/>
                    <a:pt x="1747" y="490"/>
                  </a:cubicBezTo>
                  <a:cubicBezTo>
                    <a:pt x="1723" y="498"/>
                    <a:pt x="1723" y="506"/>
                    <a:pt x="1731" y="522"/>
                  </a:cubicBezTo>
                  <a:cubicBezTo>
                    <a:pt x="1731" y="530"/>
                    <a:pt x="1731" y="530"/>
                    <a:pt x="1731" y="538"/>
                  </a:cubicBezTo>
                  <a:cubicBezTo>
                    <a:pt x="1731" y="538"/>
                    <a:pt x="1731" y="546"/>
                    <a:pt x="1739" y="546"/>
                  </a:cubicBezTo>
                  <a:cubicBezTo>
                    <a:pt x="1755" y="554"/>
                    <a:pt x="1770" y="562"/>
                    <a:pt x="1778" y="593"/>
                  </a:cubicBezTo>
                  <a:cubicBezTo>
                    <a:pt x="1786" y="633"/>
                    <a:pt x="1778" y="633"/>
                    <a:pt x="1755" y="641"/>
                  </a:cubicBezTo>
                  <a:cubicBezTo>
                    <a:pt x="1755" y="641"/>
                    <a:pt x="1747" y="648"/>
                    <a:pt x="1739" y="648"/>
                  </a:cubicBezTo>
                  <a:cubicBezTo>
                    <a:pt x="1715" y="672"/>
                    <a:pt x="1699" y="696"/>
                    <a:pt x="1699" y="696"/>
                  </a:cubicBezTo>
                  <a:lnTo>
                    <a:pt x="1699" y="696"/>
                  </a:lnTo>
                  <a:lnTo>
                    <a:pt x="1699" y="696"/>
                  </a:lnTo>
                  <a:cubicBezTo>
                    <a:pt x="1699" y="696"/>
                    <a:pt x="1683" y="704"/>
                    <a:pt x="1683" y="743"/>
                  </a:cubicBezTo>
                  <a:cubicBezTo>
                    <a:pt x="1683" y="767"/>
                    <a:pt x="1683" y="775"/>
                    <a:pt x="1668" y="775"/>
                  </a:cubicBezTo>
                  <a:cubicBezTo>
                    <a:pt x="1660" y="775"/>
                    <a:pt x="1660" y="775"/>
                    <a:pt x="1660" y="775"/>
                  </a:cubicBezTo>
                  <a:lnTo>
                    <a:pt x="1652" y="775"/>
                  </a:lnTo>
                  <a:cubicBezTo>
                    <a:pt x="1636" y="775"/>
                    <a:pt x="1620" y="775"/>
                    <a:pt x="1620" y="807"/>
                  </a:cubicBezTo>
                  <a:cubicBezTo>
                    <a:pt x="1620" y="807"/>
                    <a:pt x="1620" y="815"/>
                    <a:pt x="1620" y="822"/>
                  </a:cubicBezTo>
                  <a:cubicBezTo>
                    <a:pt x="1612" y="854"/>
                    <a:pt x="1604" y="901"/>
                    <a:pt x="1589" y="909"/>
                  </a:cubicBezTo>
                  <a:cubicBezTo>
                    <a:pt x="1573" y="925"/>
                    <a:pt x="1573" y="949"/>
                    <a:pt x="1573" y="981"/>
                  </a:cubicBezTo>
                  <a:cubicBezTo>
                    <a:pt x="1573" y="1004"/>
                    <a:pt x="1565" y="1028"/>
                    <a:pt x="1533" y="1036"/>
                  </a:cubicBezTo>
                  <a:cubicBezTo>
                    <a:pt x="1510" y="1044"/>
                    <a:pt x="1462" y="1059"/>
                    <a:pt x="1470" y="1083"/>
                  </a:cubicBezTo>
                  <a:cubicBezTo>
                    <a:pt x="1470" y="1091"/>
                    <a:pt x="1470" y="1099"/>
                    <a:pt x="1470" y="1107"/>
                  </a:cubicBezTo>
                  <a:cubicBezTo>
                    <a:pt x="1478" y="1115"/>
                    <a:pt x="1478" y="1123"/>
                    <a:pt x="1470" y="1139"/>
                  </a:cubicBezTo>
                  <a:cubicBezTo>
                    <a:pt x="1462" y="1139"/>
                    <a:pt x="1462" y="1147"/>
                    <a:pt x="1462" y="1154"/>
                  </a:cubicBezTo>
                  <a:lnTo>
                    <a:pt x="1462" y="1162"/>
                  </a:lnTo>
                  <a:cubicBezTo>
                    <a:pt x="1470" y="1170"/>
                    <a:pt x="1470" y="1178"/>
                    <a:pt x="1470" y="1186"/>
                  </a:cubicBezTo>
                  <a:cubicBezTo>
                    <a:pt x="1462" y="1194"/>
                    <a:pt x="1454" y="1202"/>
                    <a:pt x="1439" y="1202"/>
                  </a:cubicBezTo>
                  <a:cubicBezTo>
                    <a:pt x="1430" y="1202"/>
                    <a:pt x="1430" y="1202"/>
                    <a:pt x="1430" y="1202"/>
                  </a:cubicBezTo>
                  <a:cubicBezTo>
                    <a:pt x="1423" y="1202"/>
                    <a:pt x="1415" y="1202"/>
                    <a:pt x="1407" y="1202"/>
                  </a:cubicBezTo>
                  <a:cubicBezTo>
                    <a:pt x="1407" y="1210"/>
                    <a:pt x="1399" y="1218"/>
                    <a:pt x="1407" y="1226"/>
                  </a:cubicBezTo>
                  <a:cubicBezTo>
                    <a:pt x="1407" y="1234"/>
                    <a:pt x="1407" y="1241"/>
                    <a:pt x="1415" y="1249"/>
                  </a:cubicBezTo>
                  <a:cubicBezTo>
                    <a:pt x="1423" y="1273"/>
                    <a:pt x="1423" y="1297"/>
                    <a:pt x="1407" y="1312"/>
                  </a:cubicBezTo>
                  <a:cubicBezTo>
                    <a:pt x="1383" y="1321"/>
                    <a:pt x="1375" y="1344"/>
                    <a:pt x="1375" y="1368"/>
                  </a:cubicBezTo>
                  <a:cubicBezTo>
                    <a:pt x="1375" y="1376"/>
                    <a:pt x="1375" y="1384"/>
                    <a:pt x="1383" y="1392"/>
                  </a:cubicBezTo>
                  <a:cubicBezTo>
                    <a:pt x="1383" y="1407"/>
                    <a:pt x="1391" y="1431"/>
                    <a:pt x="1375" y="1439"/>
                  </a:cubicBezTo>
                  <a:cubicBezTo>
                    <a:pt x="1359" y="1455"/>
                    <a:pt x="1375" y="1486"/>
                    <a:pt x="1391" y="1502"/>
                  </a:cubicBezTo>
                  <a:cubicBezTo>
                    <a:pt x="1399" y="1510"/>
                    <a:pt x="1399" y="1518"/>
                    <a:pt x="1407" y="1518"/>
                  </a:cubicBezTo>
                  <a:cubicBezTo>
                    <a:pt x="1423" y="1534"/>
                    <a:pt x="1430" y="1550"/>
                    <a:pt x="1423" y="1565"/>
                  </a:cubicBezTo>
                  <a:cubicBezTo>
                    <a:pt x="1423" y="1574"/>
                    <a:pt x="1415" y="1581"/>
                    <a:pt x="1415" y="1581"/>
                  </a:cubicBezTo>
                  <a:cubicBezTo>
                    <a:pt x="1407" y="1597"/>
                    <a:pt x="1407" y="1605"/>
                    <a:pt x="1415" y="1621"/>
                  </a:cubicBezTo>
                  <a:cubicBezTo>
                    <a:pt x="1415" y="1629"/>
                    <a:pt x="1415" y="1637"/>
                    <a:pt x="1415" y="1645"/>
                  </a:cubicBezTo>
                  <a:cubicBezTo>
                    <a:pt x="1407" y="1645"/>
                    <a:pt x="1399" y="1652"/>
                    <a:pt x="1407" y="1676"/>
                  </a:cubicBezTo>
                  <a:cubicBezTo>
                    <a:pt x="1407" y="1684"/>
                    <a:pt x="1407" y="1684"/>
                    <a:pt x="1407" y="1684"/>
                  </a:cubicBezTo>
                  <a:cubicBezTo>
                    <a:pt x="1415" y="1692"/>
                    <a:pt x="1415" y="1692"/>
                    <a:pt x="1415" y="1692"/>
                  </a:cubicBezTo>
                  <a:cubicBezTo>
                    <a:pt x="1407" y="1692"/>
                    <a:pt x="1407" y="1692"/>
                    <a:pt x="1407" y="1692"/>
                  </a:cubicBezTo>
                  <a:lnTo>
                    <a:pt x="269" y="1724"/>
                  </a:lnTo>
                  <a:close/>
                  <a:moveTo>
                    <a:pt x="166" y="1439"/>
                  </a:moveTo>
                  <a:lnTo>
                    <a:pt x="166" y="1439"/>
                  </a:lnTo>
                  <a:cubicBezTo>
                    <a:pt x="174" y="1439"/>
                    <a:pt x="182" y="1439"/>
                    <a:pt x="189" y="1439"/>
                  </a:cubicBezTo>
                  <a:cubicBezTo>
                    <a:pt x="197" y="1439"/>
                    <a:pt x="213" y="1447"/>
                    <a:pt x="229" y="1447"/>
                  </a:cubicBezTo>
                  <a:cubicBezTo>
                    <a:pt x="253" y="1447"/>
                    <a:pt x="269" y="1463"/>
                    <a:pt x="269" y="1463"/>
                  </a:cubicBezTo>
                  <a:lnTo>
                    <a:pt x="269" y="1463"/>
                  </a:lnTo>
                  <a:lnTo>
                    <a:pt x="269" y="1463"/>
                  </a:lnTo>
                  <a:cubicBezTo>
                    <a:pt x="276" y="1716"/>
                    <a:pt x="276" y="1716"/>
                    <a:pt x="276" y="1716"/>
                  </a:cubicBezTo>
                  <a:cubicBezTo>
                    <a:pt x="1399" y="1684"/>
                    <a:pt x="1399" y="1684"/>
                    <a:pt x="1399" y="1684"/>
                  </a:cubicBezTo>
                  <a:cubicBezTo>
                    <a:pt x="1399" y="1684"/>
                    <a:pt x="1399" y="1684"/>
                    <a:pt x="1399" y="1676"/>
                  </a:cubicBezTo>
                  <a:cubicBezTo>
                    <a:pt x="1391" y="1652"/>
                    <a:pt x="1399" y="1645"/>
                    <a:pt x="1407" y="1637"/>
                  </a:cubicBezTo>
                  <a:lnTo>
                    <a:pt x="1407" y="1629"/>
                  </a:lnTo>
                  <a:cubicBezTo>
                    <a:pt x="1399" y="1605"/>
                    <a:pt x="1399" y="1597"/>
                    <a:pt x="1407" y="1581"/>
                  </a:cubicBezTo>
                  <a:cubicBezTo>
                    <a:pt x="1407" y="1574"/>
                    <a:pt x="1415" y="1574"/>
                    <a:pt x="1415" y="1565"/>
                  </a:cubicBezTo>
                  <a:cubicBezTo>
                    <a:pt x="1423" y="1550"/>
                    <a:pt x="1415" y="1542"/>
                    <a:pt x="1399" y="1526"/>
                  </a:cubicBezTo>
                  <a:cubicBezTo>
                    <a:pt x="1399" y="1518"/>
                    <a:pt x="1391" y="1510"/>
                    <a:pt x="1383" y="1510"/>
                  </a:cubicBezTo>
                  <a:cubicBezTo>
                    <a:pt x="1352" y="1463"/>
                    <a:pt x="1359" y="1447"/>
                    <a:pt x="1375" y="1439"/>
                  </a:cubicBezTo>
                  <a:cubicBezTo>
                    <a:pt x="1383" y="1431"/>
                    <a:pt x="1375" y="1407"/>
                    <a:pt x="1375" y="1392"/>
                  </a:cubicBezTo>
                  <a:cubicBezTo>
                    <a:pt x="1367" y="1384"/>
                    <a:pt x="1367" y="1376"/>
                    <a:pt x="1367" y="1368"/>
                  </a:cubicBezTo>
                  <a:cubicBezTo>
                    <a:pt x="1367" y="1360"/>
                    <a:pt x="1367" y="1321"/>
                    <a:pt x="1399" y="1305"/>
                  </a:cubicBezTo>
                  <a:cubicBezTo>
                    <a:pt x="1415" y="1297"/>
                    <a:pt x="1415" y="1281"/>
                    <a:pt x="1407" y="1257"/>
                  </a:cubicBezTo>
                  <a:cubicBezTo>
                    <a:pt x="1399" y="1249"/>
                    <a:pt x="1399" y="1234"/>
                    <a:pt x="1399" y="1226"/>
                  </a:cubicBezTo>
                  <a:cubicBezTo>
                    <a:pt x="1399" y="1218"/>
                    <a:pt x="1399" y="1202"/>
                    <a:pt x="1399" y="1202"/>
                  </a:cubicBezTo>
                  <a:cubicBezTo>
                    <a:pt x="1407" y="1194"/>
                    <a:pt x="1423" y="1194"/>
                    <a:pt x="1430" y="1194"/>
                  </a:cubicBezTo>
                  <a:cubicBezTo>
                    <a:pt x="1439" y="1194"/>
                    <a:pt x="1439" y="1194"/>
                    <a:pt x="1439" y="1194"/>
                  </a:cubicBezTo>
                  <a:cubicBezTo>
                    <a:pt x="1454" y="1194"/>
                    <a:pt x="1454" y="1186"/>
                    <a:pt x="1462" y="1178"/>
                  </a:cubicBezTo>
                  <a:lnTo>
                    <a:pt x="1462" y="1170"/>
                  </a:lnTo>
                  <a:cubicBezTo>
                    <a:pt x="1454" y="1162"/>
                    <a:pt x="1454" y="1154"/>
                    <a:pt x="1454" y="1154"/>
                  </a:cubicBezTo>
                  <a:cubicBezTo>
                    <a:pt x="1454" y="1147"/>
                    <a:pt x="1454" y="1139"/>
                    <a:pt x="1462" y="1131"/>
                  </a:cubicBezTo>
                  <a:cubicBezTo>
                    <a:pt x="1470" y="1123"/>
                    <a:pt x="1470" y="1123"/>
                    <a:pt x="1462" y="1107"/>
                  </a:cubicBezTo>
                  <a:cubicBezTo>
                    <a:pt x="1462" y="1099"/>
                    <a:pt x="1462" y="1099"/>
                    <a:pt x="1462" y="1091"/>
                  </a:cubicBezTo>
                  <a:cubicBezTo>
                    <a:pt x="1454" y="1052"/>
                    <a:pt x="1525" y="1028"/>
                    <a:pt x="1533" y="1028"/>
                  </a:cubicBezTo>
                  <a:cubicBezTo>
                    <a:pt x="1565" y="1020"/>
                    <a:pt x="1565" y="1004"/>
                    <a:pt x="1565" y="981"/>
                  </a:cubicBezTo>
                  <a:cubicBezTo>
                    <a:pt x="1565" y="949"/>
                    <a:pt x="1565" y="917"/>
                    <a:pt x="1589" y="909"/>
                  </a:cubicBezTo>
                  <a:cubicBezTo>
                    <a:pt x="1604" y="894"/>
                    <a:pt x="1604" y="854"/>
                    <a:pt x="1612" y="822"/>
                  </a:cubicBezTo>
                  <a:cubicBezTo>
                    <a:pt x="1612" y="815"/>
                    <a:pt x="1612" y="807"/>
                    <a:pt x="1612" y="807"/>
                  </a:cubicBezTo>
                  <a:cubicBezTo>
                    <a:pt x="1612" y="775"/>
                    <a:pt x="1636" y="767"/>
                    <a:pt x="1652" y="767"/>
                  </a:cubicBezTo>
                  <a:cubicBezTo>
                    <a:pt x="1652" y="767"/>
                    <a:pt x="1652" y="767"/>
                    <a:pt x="1660" y="767"/>
                  </a:cubicBezTo>
                  <a:cubicBezTo>
                    <a:pt x="1660" y="767"/>
                    <a:pt x="1660" y="767"/>
                    <a:pt x="1668" y="767"/>
                  </a:cubicBezTo>
                  <a:cubicBezTo>
                    <a:pt x="1676" y="767"/>
                    <a:pt x="1676" y="767"/>
                    <a:pt x="1676" y="743"/>
                  </a:cubicBezTo>
                  <a:cubicBezTo>
                    <a:pt x="1676" y="704"/>
                    <a:pt x="1692" y="696"/>
                    <a:pt x="1699" y="696"/>
                  </a:cubicBezTo>
                  <a:cubicBezTo>
                    <a:pt x="1699" y="688"/>
                    <a:pt x="1707" y="664"/>
                    <a:pt x="1731" y="648"/>
                  </a:cubicBezTo>
                  <a:cubicBezTo>
                    <a:pt x="1739" y="641"/>
                    <a:pt x="1747" y="641"/>
                    <a:pt x="1755" y="633"/>
                  </a:cubicBezTo>
                  <a:cubicBezTo>
                    <a:pt x="1770" y="633"/>
                    <a:pt x="1778" y="625"/>
                    <a:pt x="1770" y="593"/>
                  </a:cubicBezTo>
                  <a:cubicBezTo>
                    <a:pt x="1770" y="569"/>
                    <a:pt x="1755" y="562"/>
                    <a:pt x="1739" y="554"/>
                  </a:cubicBezTo>
                  <a:cubicBezTo>
                    <a:pt x="1731" y="554"/>
                    <a:pt x="1723" y="546"/>
                    <a:pt x="1723" y="538"/>
                  </a:cubicBezTo>
                  <a:cubicBezTo>
                    <a:pt x="1723" y="530"/>
                    <a:pt x="1723" y="530"/>
                    <a:pt x="1723" y="522"/>
                  </a:cubicBezTo>
                  <a:cubicBezTo>
                    <a:pt x="1715" y="506"/>
                    <a:pt x="1715" y="490"/>
                    <a:pt x="1747" y="482"/>
                  </a:cubicBezTo>
                  <a:cubicBezTo>
                    <a:pt x="1770" y="467"/>
                    <a:pt x="1770" y="459"/>
                    <a:pt x="1770" y="435"/>
                  </a:cubicBezTo>
                  <a:lnTo>
                    <a:pt x="1770" y="427"/>
                  </a:lnTo>
                  <a:cubicBezTo>
                    <a:pt x="1778" y="411"/>
                    <a:pt x="1778" y="411"/>
                    <a:pt x="1786" y="411"/>
                  </a:cubicBezTo>
                  <a:lnTo>
                    <a:pt x="1794" y="404"/>
                  </a:lnTo>
                  <a:cubicBezTo>
                    <a:pt x="1802" y="395"/>
                    <a:pt x="1802" y="388"/>
                    <a:pt x="1794" y="380"/>
                  </a:cubicBezTo>
                  <a:cubicBezTo>
                    <a:pt x="1794" y="372"/>
                    <a:pt x="1794" y="364"/>
                    <a:pt x="1794" y="356"/>
                  </a:cubicBezTo>
                  <a:cubicBezTo>
                    <a:pt x="1802" y="348"/>
                    <a:pt x="1802" y="348"/>
                    <a:pt x="1810" y="348"/>
                  </a:cubicBezTo>
                  <a:cubicBezTo>
                    <a:pt x="1834" y="340"/>
                    <a:pt x="1865" y="269"/>
                    <a:pt x="1865" y="237"/>
                  </a:cubicBezTo>
                  <a:cubicBezTo>
                    <a:pt x="1818" y="245"/>
                    <a:pt x="1715" y="253"/>
                    <a:pt x="1676" y="253"/>
                  </a:cubicBezTo>
                  <a:cubicBezTo>
                    <a:pt x="1652" y="261"/>
                    <a:pt x="1636" y="253"/>
                    <a:pt x="1628" y="245"/>
                  </a:cubicBezTo>
                  <a:cubicBezTo>
                    <a:pt x="1628" y="237"/>
                    <a:pt x="1628" y="222"/>
                    <a:pt x="1644" y="206"/>
                  </a:cubicBezTo>
                  <a:cubicBezTo>
                    <a:pt x="1644" y="198"/>
                    <a:pt x="1652" y="190"/>
                    <a:pt x="1660" y="182"/>
                  </a:cubicBezTo>
                  <a:cubicBezTo>
                    <a:pt x="1676" y="158"/>
                    <a:pt x="1699" y="142"/>
                    <a:pt x="1715" y="87"/>
                  </a:cubicBezTo>
                  <a:cubicBezTo>
                    <a:pt x="1715" y="71"/>
                    <a:pt x="1715" y="56"/>
                    <a:pt x="1707" y="48"/>
                  </a:cubicBezTo>
                  <a:cubicBezTo>
                    <a:pt x="1692" y="16"/>
                    <a:pt x="1652" y="8"/>
                    <a:pt x="1644" y="8"/>
                  </a:cubicBezTo>
                  <a:cubicBezTo>
                    <a:pt x="1391" y="48"/>
                    <a:pt x="245" y="87"/>
                    <a:pt x="7" y="95"/>
                  </a:cubicBezTo>
                  <a:cubicBezTo>
                    <a:pt x="23" y="237"/>
                    <a:pt x="47" y="380"/>
                    <a:pt x="87" y="522"/>
                  </a:cubicBezTo>
                  <a:lnTo>
                    <a:pt x="87" y="522"/>
                  </a:lnTo>
                  <a:cubicBezTo>
                    <a:pt x="87" y="1407"/>
                    <a:pt x="87" y="1407"/>
                    <a:pt x="87" y="1407"/>
                  </a:cubicBezTo>
                  <a:lnTo>
                    <a:pt x="94" y="1407"/>
                  </a:lnTo>
                  <a:cubicBezTo>
                    <a:pt x="110" y="1407"/>
                    <a:pt x="118" y="1423"/>
                    <a:pt x="118" y="1439"/>
                  </a:cubicBezTo>
                  <a:cubicBezTo>
                    <a:pt x="126" y="1447"/>
                    <a:pt x="126" y="1463"/>
                    <a:pt x="134" y="1471"/>
                  </a:cubicBezTo>
                  <a:cubicBezTo>
                    <a:pt x="142" y="1471"/>
                    <a:pt x="142" y="1471"/>
                    <a:pt x="142" y="1471"/>
                  </a:cubicBezTo>
                  <a:cubicBezTo>
                    <a:pt x="142" y="1471"/>
                    <a:pt x="150" y="1463"/>
                    <a:pt x="150" y="1455"/>
                  </a:cubicBezTo>
                  <a:cubicBezTo>
                    <a:pt x="150" y="1447"/>
                    <a:pt x="158" y="1439"/>
                    <a:pt x="166" y="1439"/>
                  </a:cubicBezTo>
                  <a:close/>
                </a:path>
              </a:pathLst>
            </a:custGeom>
            <a:grpFill/>
            <a:ln>
              <a:solidFill>
                <a:schemeClr val="bg1">
                  <a:lumMod val="95000"/>
                </a:schemeClr>
              </a:solidFill>
            </a:ln>
            <a:effectLst/>
          </p:spPr>
          <p:txBody>
            <a:bodyPr wrap="none" anchor="ctr"/>
            <a:lstStyle/>
            <a:p>
              <a:endParaRPr lang="en-US" sz="900"/>
            </a:p>
          </p:txBody>
        </p:sp>
        <p:sp>
          <p:nvSpPr>
            <p:cNvPr id="68" name="Freeform 514"/>
            <p:cNvSpPr>
              <a:spLocks noChangeArrowheads="1"/>
            </p:cNvSpPr>
            <p:nvPr/>
          </p:nvSpPr>
          <p:spPr bwMode="auto">
            <a:xfrm>
              <a:off x="12422443" y="5732323"/>
              <a:ext cx="1331281" cy="1155014"/>
            </a:xfrm>
            <a:custGeom>
              <a:avLst/>
              <a:gdLst>
                <a:gd name="T0" fmla="*/ 2498 w 2531"/>
                <a:gd name="T1" fmla="*/ 1674 h 2197"/>
                <a:gd name="T2" fmla="*/ 2498 w 2531"/>
                <a:gd name="T3" fmla="*/ 1674 h 2197"/>
                <a:gd name="T4" fmla="*/ 2474 w 2531"/>
                <a:gd name="T5" fmla="*/ 1674 h 2197"/>
                <a:gd name="T6" fmla="*/ 2403 w 2531"/>
                <a:gd name="T7" fmla="*/ 1643 h 2197"/>
                <a:gd name="T8" fmla="*/ 2348 w 2531"/>
                <a:gd name="T9" fmla="*/ 1540 h 2197"/>
                <a:gd name="T10" fmla="*/ 2372 w 2531"/>
                <a:gd name="T11" fmla="*/ 1485 h 2197"/>
                <a:gd name="T12" fmla="*/ 2324 w 2531"/>
                <a:gd name="T13" fmla="*/ 1374 h 2197"/>
                <a:gd name="T14" fmla="*/ 2261 w 2531"/>
                <a:gd name="T15" fmla="*/ 1335 h 2197"/>
                <a:gd name="T16" fmla="*/ 2166 w 2531"/>
                <a:gd name="T17" fmla="*/ 1271 h 2197"/>
                <a:gd name="T18" fmla="*/ 1984 w 2531"/>
                <a:gd name="T19" fmla="*/ 1035 h 2197"/>
                <a:gd name="T20" fmla="*/ 2048 w 2531"/>
                <a:gd name="T21" fmla="*/ 806 h 2197"/>
                <a:gd name="T22" fmla="*/ 1984 w 2531"/>
                <a:gd name="T23" fmla="*/ 782 h 2197"/>
                <a:gd name="T24" fmla="*/ 1953 w 2531"/>
                <a:gd name="T25" fmla="*/ 782 h 2197"/>
                <a:gd name="T26" fmla="*/ 1905 w 2531"/>
                <a:gd name="T27" fmla="*/ 774 h 2197"/>
                <a:gd name="T28" fmla="*/ 1850 w 2531"/>
                <a:gd name="T29" fmla="*/ 766 h 2197"/>
                <a:gd name="T30" fmla="*/ 1810 w 2531"/>
                <a:gd name="T31" fmla="*/ 632 h 2197"/>
                <a:gd name="T32" fmla="*/ 1684 w 2531"/>
                <a:gd name="T33" fmla="*/ 537 h 2197"/>
                <a:gd name="T34" fmla="*/ 1534 w 2531"/>
                <a:gd name="T35" fmla="*/ 339 h 2197"/>
                <a:gd name="T36" fmla="*/ 1541 w 2531"/>
                <a:gd name="T37" fmla="*/ 134 h 2197"/>
                <a:gd name="T38" fmla="*/ 1447 w 2531"/>
                <a:gd name="T39" fmla="*/ 31 h 2197"/>
                <a:gd name="T40" fmla="*/ 1415 w 2531"/>
                <a:gd name="T41" fmla="*/ 15 h 2197"/>
                <a:gd name="T42" fmla="*/ 0 w 2531"/>
                <a:gd name="T43" fmla="*/ 79 h 2197"/>
                <a:gd name="T44" fmla="*/ 8 w 2531"/>
                <a:gd name="T45" fmla="*/ 110 h 2197"/>
                <a:gd name="T46" fmla="*/ 16 w 2531"/>
                <a:gd name="T47" fmla="*/ 150 h 2197"/>
                <a:gd name="T48" fmla="*/ 95 w 2531"/>
                <a:gd name="T49" fmla="*/ 229 h 2197"/>
                <a:gd name="T50" fmla="*/ 103 w 2531"/>
                <a:gd name="T51" fmla="*/ 308 h 2197"/>
                <a:gd name="T52" fmla="*/ 150 w 2531"/>
                <a:gd name="T53" fmla="*/ 339 h 2197"/>
                <a:gd name="T54" fmla="*/ 229 w 2531"/>
                <a:gd name="T55" fmla="*/ 426 h 2197"/>
                <a:gd name="T56" fmla="*/ 253 w 2531"/>
                <a:gd name="T57" fmla="*/ 403 h 2197"/>
                <a:gd name="T58" fmla="*/ 293 w 2531"/>
                <a:gd name="T59" fmla="*/ 411 h 2197"/>
                <a:gd name="T60" fmla="*/ 324 w 2531"/>
                <a:gd name="T61" fmla="*/ 458 h 2197"/>
                <a:gd name="T62" fmla="*/ 300 w 2531"/>
                <a:gd name="T63" fmla="*/ 490 h 2197"/>
                <a:gd name="T64" fmla="*/ 229 w 2531"/>
                <a:gd name="T65" fmla="*/ 553 h 2197"/>
                <a:gd name="T66" fmla="*/ 293 w 2531"/>
                <a:gd name="T67" fmla="*/ 608 h 2197"/>
                <a:gd name="T68" fmla="*/ 324 w 2531"/>
                <a:gd name="T69" fmla="*/ 664 h 2197"/>
                <a:gd name="T70" fmla="*/ 380 w 2531"/>
                <a:gd name="T71" fmla="*/ 727 h 2197"/>
                <a:gd name="T72" fmla="*/ 427 w 2531"/>
                <a:gd name="T73" fmla="*/ 837 h 2197"/>
                <a:gd name="T74" fmla="*/ 427 w 2531"/>
                <a:gd name="T75" fmla="*/ 1777 h 2197"/>
                <a:gd name="T76" fmla="*/ 451 w 2531"/>
                <a:gd name="T77" fmla="*/ 2022 h 2197"/>
                <a:gd name="T78" fmla="*/ 2095 w 2531"/>
                <a:gd name="T79" fmla="*/ 1943 h 2197"/>
                <a:gd name="T80" fmla="*/ 2166 w 2531"/>
                <a:gd name="T81" fmla="*/ 2022 h 2197"/>
                <a:gd name="T82" fmla="*/ 2095 w 2531"/>
                <a:gd name="T83" fmla="*/ 2141 h 2197"/>
                <a:gd name="T84" fmla="*/ 2127 w 2531"/>
                <a:gd name="T85" fmla="*/ 2188 h 2197"/>
                <a:gd name="T86" fmla="*/ 2324 w 2531"/>
                <a:gd name="T87" fmla="*/ 2172 h 2197"/>
                <a:gd name="T88" fmla="*/ 2316 w 2531"/>
                <a:gd name="T89" fmla="*/ 2157 h 2197"/>
                <a:gd name="T90" fmla="*/ 2316 w 2531"/>
                <a:gd name="T91" fmla="*/ 2109 h 2197"/>
                <a:gd name="T92" fmla="*/ 2332 w 2531"/>
                <a:gd name="T93" fmla="*/ 2030 h 2197"/>
                <a:gd name="T94" fmla="*/ 2364 w 2531"/>
                <a:gd name="T95" fmla="*/ 1967 h 2197"/>
                <a:gd name="T96" fmla="*/ 2356 w 2531"/>
                <a:gd name="T97" fmla="*/ 1896 h 2197"/>
                <a:gd name="T98" fmla="*/ 2411 w 2531"/>
                <a:gd name="T99" fmla="*/ 1888 h 2197"/>
                <a:gd name="T100" fmla="*/ 2451 w 2531"/>
                <a:gd name="T101" fmla="*/ 1864 h 2197"/>
                <a:gd name="T102" fmla="*/ 2474 w 2531"/>
                <a:gd name="T103" fmla="*/ 1840 h 2197"/>
                <a:gd name="T104" fmla="*/ 2490 w 2531"/>
                <a:gd name="T105" fmla="*/ 1769 h 2197"/>
                <a:gd name="T106" fmla="*/ 2498 w 2531"/>
                <a:gd name="T107" fmla="*/ 1674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31" h="2197">
                  <a:moveTo>
                    <a:pt x="2498" y="1674"/>
                  </a:moveTo>
                  <a:lnTo>
                    <a:pt x="2498" y="1674"/>
                  </a:lnTo>
                  <a:cubicBezTo>
                    <a:pt x="2490" y="1666"/>
                    <a:pt x="2482" y="1674"/>
                    <a:pt x="2474" y="1674"/>
                  </a:cubicBezTo>
                  <a:cubicBezTo>
                    <a:pt x="2451" y="1674"/>
                    <a:pt x="2419" y="1674"/>
                    <a:pt x="2403" y="1643"/>
                  </a:cubicBezTo>
                  <a:cubicBezTo>
                    <a:pt x="2380" y="1595"/>
                    <a:pt x="2324" y="1564"/>
                    <a:pt x="2348" y="1540"/>
                  </a:cubicBezTo>
                  <a:cubicBezTo>
                    <a:pt x="2364" y="1516"/>
                    <a:pt x="2395" y="1532"/>
                    <a:pt x="2372" y="1485"/>
                  </a:cubicBezTo>
                  <a:cubicBezTo>
                    <a:pt x="2356" y="1445"/>
                    <a:pt x="2324" y="1406"/>
                    <a:pt x="2324" y="1374"/>
                  </a:cubicBezTo>
                  <a:cubicBezTo>
                    <a:pt x="2324" y="1350"/>
                    <a:pt x="2285" y="1366"/>
                    <a:pt x="2261" y="1335"/>
                  </a:cubicBezTo>
                  <a:cubicBezTo>
                    <a:pt x="2237" y="1303"/>
                    <a:pt x="2182" y="1303"/>
                    <a:pt x="2166" y="1271"/>
                  </a:cubicBezTo>
                  <a:cubicBezTo>
                    <a:pt x="2150" y="1240"/>
                    <a:pt x="1929" y="1129"/>
                    <a:pt x="1984" y="1035"/>
                  </a:cubicBezTo>
                  <a:cubicBezTo>
                    <a:pt x="2048" y="940"/>
                    <a:pt x="2079" y="837"/>
                    <a:pt x="2048" y="806"/>
                  </a:cubicBezTo>
                  <a:cubicBezTo>
                    <a:pt x="2008" y="782"/>
                    <a:pt x="1984" y="766"/>
                    <a:pt x="1984" y="782"/>
                  </a:cubicBezTo>
                  <a:cubicBezTo>
                    <a:pt x="1984" y="798"/>
                    <a:pt x="1961" y="798"/>
                    <a:pt x="1953" y="782"/>
                  </a:cubicBezTo>
                  <a:cubicBezTo>
                    <a:pt x="1945" y="774"/>
                    <a:pt x="1929" y="766"/>
                    <a:pt x="1905" y="774"/>
                  </a:cubicBezTo>
                  <a:cubicBezTo>
                    <a:pt x="1881" y="790"/>
                    <a:pt x="1874" y="814"/>
                    <a:pt x="1850" y="766"/>
                  </a:cubicBezTo>
                  <a:cubicBezTo>
                    <a:pt x="1834" y="719"/>
                    <a:pt x="1834" y="640"/>
                    <a:pt x="1810" y="632"/>
                  </a:cubicBezTo>
                  <a:cubicBezTo>
                    <a:pt x="1787" y="624"/>
                    <a:pt x="1692" y="577"/>
                    <a:pt x="1684" y="537"/>
                  </a:cubicBezTo>
                  <a:cubicBezTo>
                    <a:pt x="1684" y="490"/>
                    <a:pt x="1541" y="395"/>
                    <a:pt x="1534" y="339"/>
                  </a:cubicBezTo>
                  <a:cubicBezTo>
                    <a:pt x="1526" y="284"/>
                    <a:pt x="1526" y="158"/>
                    <a:pt x="1541" y="134"/>
                  </a:cubicBezTo>
                  <a:cubicBezTo>
                    <a:pt x="1510" y="94"/>
                    <a:pt x="1455" y="47"/>
                    <a:pt x="1447" y="31"/>
                  </a:cubicBezTo>
                  <a:cubicBezTo>
                    <a:pt x="1423" y="0"/>
                    <a:pt x="1415" y="15"/>
                    <a:pt x="1415" y="15"/>
                  </a:cubicBezTo>
                  <a:cubicBezTo>
                    <a:pt x="1091" y="63"/>
                    <a:pt x="119" y="79"/>
                    <a:pt x="0" y="79"/>
                  </a:cubicBezTo>
                  <a:cubicBezTo>
                    <a:pt x="0" y="94"/>
                    <a:pt x="0" y="102"/>
                    <a:pt x="8" y="110"/>
                  </a:cubicBezTo>
                  <a:cubicBezTo>
                    <a:pt x="32" y="142"/>
                    <a:pt x="8" y="110"/>
                    <a:pt x="16" y="150"/>
                  </a:cubicBezTo>
                  <a:cubicBezTo>
                    <a:pt x="24" y="181"/>
                    <a:pt x="55" y="197"/>
                    <a:pt x="95" y="229"/>
                  </a:cubicBezTo>
                  <a:cubicBezTo>
                    <a:pt x="127" y="260"/>
                    <a:pt x="103" y="276"/>
                    <a:pt x="103" y="308"/>
                  </a:cubicBezTo>
                  <a:cubicBezTo>
                    <a:pt x="103" y="339"/>
                    <a:pt x="134" y="331"/>
                    <a:pt x="150" y="339"/>
                  </a:cubicBezTo>
                  <a:cubicBezTo>
                    <a:pt x="158" y="355"/>
                    <a:pt x="214" y="403"/>
                    <a:pt x="229" y="426"/>
                  </a:cubicBezTo>
                  <a:cubicBezTo>
                    <a:pt x="253" y="442"/>
                    <a:pt x="253" y="426"/>
                    <a:pt x="253" y="403"/>
                  </a:cubicBezTo>
                  <a:cubicBezTo>
                    <a:pt x="253" y="379"/>
                    <a:pt x="293" y="387"/>
                    <a:pt x="293" y="411"/>
                  </a:cubicBezTo>
                  <a:cubicBezTo>
                    <a:pt x="293" y="434"/>
                    <a:pt x="316" y="434"/>
                    <a:pt x="324" y="458"/>
                  </a:cubicBezTo>
                  <a:cubicBezTo>
                    <a:pt x="340" y="482"/>
                    <a:pt x="324" y="482"/>
                    <a:pt x="300" y="490"/>
                  </a:cubicBezTo>
                  <a:cubicBezTo>
                    <a:pt x="277" y="497"/>
                    <a:pt x="261" y="521"/>
                    <a:pt x="229" y="553"/>
                  </a:cubicBezTo>
                  <a:cubicBezTo>
                    <a:pt x="205" y="577"/>
                    <a:pt x="253" y="584"/>
                    <a:pt x="293" y="608"/>
                  </a:cubicBezTo>
                  <a:cubicBezTo>
                    <a:pt x="324" y="632"/>
                    <a:pt x="324" y="632"/>
                    <a:pt x="324" y="664"/>
                  </a:cubicBezTo>
                  <a:cubicBezTo>
                    <a:pt x="324" y="695"/>
                    <a:pt x="356" y="703"/>
                    <a:pt x="380" y="727"/>
                  </a:cubicBezTo>
                  <a:cubicBezTo>
                    <a:pt x="395" y="750"/>
                    <a:pt x="435" y="711"/>
                    <a:pt x="427" y="837"/>
                  </a:cubicBezTo>
                  <a:cubicBezTo>
                    <a:pt x="419" y="964"/>
                    <a:pt x="427" y="1777"/>
                    <a:pt x="427" y="1777"/>
                  </a:cubicBezTo>
                  <a:cubicBezTo>
                    <a:pt x="427" y="1777"/>
                    <a:pt x="435" y="1872"/>
                    <a:pt x="451" y="2022"/>
                  </a:cubicBezTo>
                  <a:cubicBezTo>
                    <a:pt x="664" y="2014"/>
                    <a:pt x="1834" y="1975"/>
                    <a:pt x="2095" y="1943"/>
                  </a:cubicBezTo>
                  <a:cubicBezTo>
                    <a:pt x="2095" y="1943"/>
                    <a:pt x="2190" y="1959"/>
                    <a:pt x="2166" y="2022"/>
                  </a:cubicBezTo>
                  <a:cubicBezTo>
                    <a:pt x="2150" y="2093"/>
                    <a:pt x="2119" y="2109"/>
                    <a:pt x="2095" y="2141"/>
                  </a:cubicBezTo>
                  <a:cubicBezTo>
                    <a:pt x="2079" y="2172"/>
                    <a:pt x="2079" y="2196"/>
                    <a:pt x="2127" y="2188"/>
                  </a:cubicBezTo>
                  <a:cubicBezTo>
                    <a:pt x="2158" y="2180"/>
                    <a:pt x="2261" y="2172"/>
                    <a:pt x="2324" y="2172"/>
                  </a:cubicBezTo>
                  <a:cubicBezTo>
                    <a:pt x="2324" y="2164"/>
                    <a:pt x="2324" y="2164"/>
                    <a:pt x="2316" y="2157"/>
                  </a:cubicBezTo>
                  <a:cubicBezTo>
                    <a:pt x="2308" y="2133"/>
                    <a:pt x="2293" y="2125"/>
                    <a:pt x="2316" y="2109"/>
                  </a:cubicBezTo>
                  <a:cubicBezTo>
                    <a:pt x="2332" y="2093"/>
                    <a:pt x="2308" y="2046"/>
                    <a:pt x="2332" y="2030"/>
                  </a:cubicBezTo>
                  <a:cubicBezTo>
                    <a:pt x="2364" y="2006"/>
                    <a:pt x="2348" y="1991"/>
                    <a:pt x="2364" y="1967"/>
                  </a:cubicBezTo>
                  <a:cubicBezTo>
                    <a:pt x="2372" y="1951"/>
                    <a:pt x="2316" y="1888"/>
                    <a:pt x="2356" y="1896"/>
                  </a:cubicBezTo>
                  <a:cubicBezTo>
                    <a:pt x="2395" y="1904"/>
                    <a:pt x="2411" y="1904"/>
                    <a:pt x="2411" y="1888"/>
                  </a:cubicBezTo>
                  <a:cubicBezTo>
                    <a:pt x="2411" y="1880"/>
                    <a:pt x="2435" y="1864"/>
                    <a:pt x="2451" y="1864"/>
                  </a:cubicBezTo>
                  <a:cubicBezTo>
                    <a:pt x="2459" y="1872"/>
                    <a:pt x="2459" y="1888"/>
                    <a:pt x="2474" y="1840"/>
                  </a:cubicBezTo>
                  <a:cubicBezTo>
                    <a:pt x="2490" y="1793"/>
                    <a:pt x="2459" y="1769"/>
                    <a:pt x="2490" y="1769"/>
                  </a:cubicBezTo>
                  <a:cubicBezTo>
                    <a:pt x="2530" y="1769"/>
                    <a:pt x="2506" y="1682"/>
                    <a:pt x="2498" y="1674"/>
                  </a:cubicBezTo>
                </a:path>
              </a:pathLst>
            </a:custGeom>
            <a:solidFill>
              <a:schemeClr val="accent3"/>
            </a:solidFill>
            <a:ln>
              <a:solidFill>
                <a:schemeClr val="bg1">
                  <a:lumMod val="95000"/>
                </a:schemeClr>
              </a:solidFill>
            </a:ln>
            <a:effectLst/>
          </p:spPr>
          <p:txBody>
            <a:bodyPr wrap="none" anchor="ctr"/>
            <a:lstStyle/>
            <a:p>
              <a:endParaRPr lang="en-US" sz="900"/>
            </a:p>
          </p:txBody>
        </p:sp>
        <p:sp>
          <p:nvSpPr>
            <p:cNvPr id="69" name="Freeform 586"/>
            <p:cNvSpPr>
              <a:spLocks noChangeArrowheads="1"/>
            </p:cNvSpPr>
            <p:nvPr/>
          </p:nvSpPr>
          <p:spPr bwMode="auto">
            <a:xfrm>
              <a:off x="13551946" y="6534803"/>
              <a:ext cx="1655984" cy="582146"/>
            </a:xfrm>
            <a:custGeom>
              <a:avLst/>
              <a:gdLst>
                <a:gd name="T0" fmla="*/ 2340 w 3148"/>
                <a:gd name="T1" fmla="*/ 751 h 1108"/>
                <a:gd name="T2" fmla="*/ 2340 w 3148"/>
                <a:gd name="T3" fmla="*/ 751 h 1108"/>
                <a:gd name="T4" fmla="*/ 2340 w 3148"/>
                <a:gd name="T5" fmla="*/ 664 h 1108"/>
                <a:gd name="T6" fmla="*/ 2419 w 3148"/>
                <a:gd name="T7" fmla="*/ 617 h 1108"/>
                <a:gd name="T8" fmla="*/ 2530 w 3148"/>
                <a:gd name="T9" fmla="*/ 593 h 1108"/>
                <a:gd name="T10" fmla="*/ 2680 w 3148"/>
                <a:gd name="T11" fmla="*/ 459 h 1108"/>
                <a:gd name="T12" fmla="*/ 2720 w 3148"/>
                <a:gd name="T13" fmla="*/ 395 h 1108"/>
                <a:gd name="T14" fmla="*/ 2791 w 3148"/>
                <a:gd name="T15" fmla="*/ 356 h 1108"/>
                <a:gd name="T16" fmla="*/ 2807 w 3148"/>
                <a:gd name="T17" fmla="*/ 309 h 1108"/>
                <a:gd name="T18" fmla="*/ 2862 w 3148"/>
                <a:gd name="T19" fmla="*/ 348 h 1108"/>
                <a:gd name="T20" fmla="*/ 2917 w 3148"/>
                <a:gd name="T21" fmla="*/ 245 h 1108"/>
                <a:gd name="T22" fmla="*/ 3004 w 3148"/>
                <a:gd name="T23" fmla="*/ 261 h 1108"/>
                <a:gd name="T24" fmla="*/ 3076 w 3148"/>
                <a:gd name="T25" fmla="*/ 174 h 1108"/>
                <a:gd name="T26" fmla="*/ 3131 w 3148"/>
                <a:gd name="T27" fmla="*/ 111 h 1108"/>
                <a:gd name="T28" fmla="*/ 3139 w 3148"/>
                <a:gd name="T29" fmla="*/ 0 h 1108"/>
                <a:gd name="T30" fmla="*/ 2981 w 3148"/>
                <a:gd name="T31" fmla="*/ 24 h 1108"/>
                <a:gd name="T32" fmla="*/ 941 w 3148"/>
                <a:gd name="T33" fmla="*/ 253 h 1108"/>
                <a:gd name="T34" fmla="*/ 894 w 3148"/>
                <a:gd name="T35" fmla="*/ 285 h 1108"/>
                <a:gd name="T36" fmla="*/ 838 w 3148"/>
                <a:gd name="T37" fmla="*/ 261 h 1108"/>
                <a:gd name="T38" fmla="*/ 759 w 3148"/>
                <a:gd name="T39" fmla="*/ 269 h 1108"/>
                <a:gd name="T40" fmla="*/ 759 w 3148"/>
                <a:gd name="T41" fmla="*/ 356 h 1108"/>
                <a:gd name="T42" fmla="*/ 261 w 3148"/>
                <a:gd name="T43" fmla="*/ 372 h 1108"/>
                <a:gd name="T44" fmla="*/ 206 w 3148"/>
                <a:gd name="T45" fmla="*/ 372 h 1108"/>
                <a:gd name="T46" fmla="*/ 214 w 3148"/>
                <a:gd name="T47" fmla="*/ 443 h 1108"/>
                <a:gd name="T48" fmla="*/ 182 w 3148"/>
                <a:gd name="T49" fmla="*/ 506 h 1108"/>
                <a:gd name="T50" fmla="*/ 166 w 3148"/>
                <a:gd name="T51" fmla="*/ 585 h 1108"/>
                <a:gd name="T52" fmla="*/ 166 w 3148"/>
                <a:gd name="T53" fmla="*/ 633 h 1108"/>
                <a:gd name="T54" fmla="*/ 111 w 3148"/>
                <a:gd name="T55" fmla="*/ 759 h 1108"/>
                <a:gd name="T56" fmla="*/ 103 w 3148"/>
                <a:gd name="T57" fmla="*/ 815 h 1108"/>
                <a:gd name="T58" fmla="*/ 79 w 3148"/>
                <a:gd name="T59" fmla="*/ 838 h 1108"/>
                <a:gd name="T60" fmla="*/ 48 w 3148"/>
                <a:gd name="T61" fmla="*/ 893 h 1108"/>
                <a:gd name="T62" fmla="*/ 24 w 3148"/>
                <a:gd name="T63" fmla="*/ 949 h 1108"/>
                <a:gd name="T64" fmla="*/ 79 w 3148"/>
                <a:gd name="T65" fmla="*/ 1004 h 1108"/>
                <a:gd name="T66" fmla="*/ 40 w 3148"/>
                <a:gd name="T67" fmla="*/ 1059 h 1108"/>
                <a:gd name="T68" fmla="*/ 0 w 3148"/>
                <a:gd name="T69" fmla="*/ 1107 h 1108"/>
                <a:gd name="T70" fmla="*/ 2246 w 3148"/>
                <a:gd name="T71" fmla="*/ 893 h 1108"/>
                <a:gd name="T72" fmla="*/ 2246 w 3148"/>
                <a:gd name="T73" fmla="*/ 783 h 1108"/>
                <a:gd name="T74" fmla="*/ 2340 w 3148"/>
                <a:gd name="T75" fmla="*/ 751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48" h="1108">
                  <a:moveTo>
                    <a:pt x="2340" y="751"/>
                  </a:moveTo>
                  <a:lnTo>
                    <a:pt x="2340" y="751"/>
                  </a:lnTo>
                  <a:cubicBezTo>
                    <a:pt x="2356" y="728"/>
                    <a:pt x="2348" y="696"/>
                    <a:pt x="2340" y="664"/>
                  </a:cubicBezTo>
                  <a:cubicBezTo>
                    <a:pt x="2333" y="633"/>
                    <a:pt x="2356" y="656"/>
                    <a:pt x="2419" y="617"/>
                  </a:cubicBezTo>
                  <a:cubicBezTo>
                    <a:pt x="2475" y="569"/>
                    <a:pt x="2499" y="625"/>
                    <a:pt x="2530" y="593"/>
                  </a:cubicBezTo>
                  <a:cubicBezTo>
                    <a:pt x="2562" y="562"/>
                    <a:pt x="2641" y="467"/>
                    <a:pt x="2680" y="459"/>
                  </a:cubicBezTo>
                  <a:cubicBezTo>
                    <a:pt x="2720" y="459"/>
                    <a:pt x="2720" y="411"/>
                    <a:pt x="2720" y="395"/>
                  </a:cubicBezTo>
                  <a:cubicBezTo>
                    <a:pt x="2720" y="372"/>
                    <a:pt x="2775" y="380"/>
                    <a:pt x="2791" y="356"/>
                  </a:cubicBezTo>
                  <a:cubicBezTo>
                    <a:pt x="2807" y="332"/>
                    <a:pt x="2783" y="309"/>
                    <a:pt x="2807" y="309"/>
                  </a:cubicBezTo>
                  <a:cubicBezTo>
                    <a:pt x="2830" y="309"/>
                    <a:pt x="2815" y="356"/>
                    <a:pt x="2862" y="348"/>
                  </a:cubicBezTo>
                  <a:cubicBezTo>
                    <a:pt x="2910" y="340"/>
                    <a:pt x="2878" y="285"/>
                    <a:pt x="2917" y="245"/>
                  </a:cubicBezTo>
                  <a:cubicBezTo>
                    <a:pt x="2965" y="206"/>
                    <a:pt x="3004" y="245"/>
                    <a:pt x="3004" y="261"/>
                  </a:cubicBezTo>
                  <a:cubicBezTo>
                    <a:pt x="3012" y="285"/>
                    <a:pt x="3060" y="222"/>
                    <a:pt x="3076" y="174"/>
                  </a:cubicBezTo>
                  <a:cubicBezTo>
                    <a:pt x="3091" y="127"/>
                    <a:pt x="3107" y="150"/>
                    <a:pt x="3131" y="111"/>
                  </a:cubicBezTo>
                  <a:cubicBezTo>
                    <a:pt x="3147" y="79"/>
                    <a:pt x="3139" y="32"/>
                    <a:pt x="3139" y="0"/>
                  </a:cubicBezTo>
                  <a:cubicBezTo>
                    <a:pt x="3099" y="0"/>
                    <a:pt x="3036" y="8"/>
                    <a:pt x="2981" y="24"/>
                  </a:cubicBezTo>
                  <a:cubicBezTo>
                    <a:pt x="2910" y="32"/>
                    <a:pt x="1637" y="222"/>
                    <a:pt x="941" y="253"/>
                  </a:cubicBezTo>
                  <a:cubicBezTo>
                    <a:pt x="941" y="253"/>
                    <a:pt x="901" y="261"/>
                    <a:pt x="894" y="285"/>
                  </a:cubicBezTo>
                  <a:cubicBezTo>
                    <a:pt x="886" y="301"/>
                    <a:pt x="862" y="277"/>
                    <a:pt x="838" y="261"/>
                  </a:cubicBezTo>
                  <a:cubicBezTo>
                    <a:pt x="823" y="253"/>
                    <a:pt x="759" y="245"/>
                    <a:pt x="759" y="269"/>
                  </a:cubicBezTo>
                  <a:cubicBezTo>
                    <a:pt x="759" y="293"/>
                    <a:pt x="791" y="348"/>
                    <a:pt x="759" y="356"/>
                  </a:cubicBezTo>
                  <a:cubicBezTo>
                    <a:pt x="728" y="356"/>
                    <a:pt x="356" y="388"/>
                    <a:pt x="261" y="372"/>
                  </a:cubicBezTo>
                  <a:cubicBezTo>
                    <a:pt x="253" y="380"/>
                    <a:pt x="237" y="380"/>
                    <a:pt x="206" y="372"/>
                  </a:cubicBezTo>
                  <a:cubicBezTo>
                    <a:pt x="166" y="364"/>
                    <a:pt x="222" y="427"/>
                    <a:pt x="214" y="443"/>
                  </a:cubicBezTo>
                  <a:cubicBezTo>
                    <a:pt x="198" y="467"/>
                    <a:pt x="214" y="482"/>
                    <a:pt x="182" y="506"/>
                  </a:cubicBezTo>
                  <a:cubicBezTo>
                    <a:pt x="158" y="522"/>
                    <a:pt x="182" y="569"/>
                    <a:pt x="166" y="585"/>
                  </a:cubicBezTo>
                  <a:cubicBezTo>
                    <a:pt x="143" y="601"/>
                    <a:pt x="158" y="609"/>
                    <a:pt x="166" y="633"/>
                  </a:cubicBezTo>
                  <a:cubicBezTo>
                    <a:pt x="174" y="664"/>
                    <a:pt x="143" y="751"/>
                    <a:pt x="111" y="759"/>
                  </a:cubicBezTo>
                  <a:cubicBezTo>
                    <a:pt x="79" y="767"/>
                    <a:pt x="119" y="799"/>
                    <a:pt x="103" y="815"/>
                  </a:cubicBezTo>
                  <a:cubicBezTo>
                    <a:pt x="87" y="830"/>
                    <a:pt x="79" y="815"/>
                    <a:pt x="79" y="838"/>
                  </a:cubicBezTo>
                  <a:cubicBezTo>
                    <a:pt x="71" y="862"/>
                    <a:pt x="71" y="886"/>
                    <a:pt x="48" y="893"/>
                  </a:cubicBezTo>
                  <a:cubicBezTo>
                    <a:pt x="16" y="909"/>
                    <a:pt x="24" y="925"/>
                    <a:pt x="24" y="949"/>
                  </a:cubicBezTo>
                  <a:cubicBezTo>
                    <a:pt x="24" y="973"/>
                    <a:pt x="64" y="957"/>
                    <a:pt x="79" y="1004"/>
                  </a:cubicBezTo>
                  <a:cubicBezTo>
                    <a:pt x="87" y="1052"/>
                    <a:pt x="64" y="1044"/>
                    <a:pt x="40" y="1059"/>
                  </a:cubicBezTo>
                  <a:cubicBezTo>
                    <a:pt x="8" y="1075"/>
                    <a:pt x="0" y="1107"/>
                    <a:pt x="0" y="1107"/>
                  </a:cubicBezTo>
                  <a:cubicBezTo>
                    <a:pt x="593" y="1083"/>
                    <a:pt x="1645" y="957"/>
                    <a:pt x="2246" y="893"/>
                  </a:cubicBezTo>
                  <a:cubicBezTo>
                    <a:pt x="2246" y="846"/>
                    <a:pt x="2246" y="791"/>
                    <a:pt x="2246" y="783"/>
                  </a:cubicBezTo>
                  <a:cubicBezTo>
                    <a:pt x="2246" y="759"/>
                    <a:pt x="2317" y="767"/>
                    <a:pt x="2340" y="751"/>
                  </a:cubicBezTo>
                </a:path>
              </a:pathLst>
            </a:custGeom>
            <a:solidFill>
              <a:schemeClr val="accent5"/>
            </a:solidFill>
            <a:ln>
              <a:solidFill>
                <a:schemeClr val="bg1">
                  <a:lumMod val="95000"/>
                </a:schemeClr>
              </a:solidFill>
            </a:ln>
            <a:effectLst/>
          </p:spPr>
          <p:txBody>
            <a:bodyPr wrap="none" anchor="ctr"/>
            <a:lstStyle/>
            <a:p>
              <a:endParaRPr lang="en-US" sz="900"/>
            </a:p>
          </p:txBody>
        </p:sp>
        <p:sp>
          <p:nvSpPr>
            <p:cNvPr id="70" name="Freeform 587"/>
            <p:cNvSpPr>
              <a:spLocks noChangeArrowheads="1"/>
            </p:cNvSpPr>
            <p:nvPr/>
          </p:nvSpPr>
          <p:spPr bwMode="auto">
            <a:xfrm>
              <a:off x="13549626" y="6530164"/>
              <a:ext cx="1658304" cy="586785"/>
            </a:xfrm>
            <a:custGeom>
              <a:avLst/>
              <a:gdLst>
                <a:gd name="T0" fmla="*/ 0 w 3155"/>
                <a:gd name="T1" fmla="*/ 1115 h 1116"/>
                <a:gd name="T2" fmla="*/ 78 w 3155"/>
                <a:gd name="T3" fmla="*/ 1012 h 1116"/>
                <a:gd name="T4" fmla="*/ 31 w 3155"/>
                <a:gd name="T5" fmla="*/ 941 h 1116"/>
                <a:gd name="T6" fmla="*/ 78 w 3155"/>
                <a:gd name="T7" fmla="*/ 846 h 1116"/>
                <a:gd name="T8" fmla="*/ 102 w 3155"/>
                <a:gd name="T9" fmla="*/ 799 h 1116"/>
                <a:gd name="T10" fmla="*/ 150 w 3155"/>
                <a:gd name="T11" fmla="*/ 728 h 1116"/>
                <a:gd name="T12" fmla="*/ 173 w 3155"/>
                <a:gd name="T13" fmla="*/ 585 h 1116"/>
                <a:gd name="T14" fmla="*/ 205 w 3155"/>
                <a:gd name="T15" fmla="*/ 475 h 1116"/>
                <a:gd name="T16" fmla="*/ 197 w 3155"/>
                <a:gd name="T17" fmla="*/ 380 h 1116"/>
                <a:gd name="T18" fmla="*/ 268 w 3155"/>
                <a:gd name="T19" fmla="*/ 380 h 1116"/>
                <a:gd name="T20" fmla="*/ 750 w 3155"/>
                <a:gd name="T21" fmla="*/ 356 h 1116"/>
                <a:gd name="T22" fmla="*/ 766 w 3155"/>
                <a:gd name="T23" fmla="*/ 309 h 1116"/>
                <a:gd name="T24" fmla="*/ 853 w 3155"/>
                <a:gd name="T25" fmla="*/ 269 h 1116"/>
                <a:gd name="T26" fmla="*/ 901 w 3155"/>
                <a:gd name="T27" fmla="*/ 285 h 1116"/>
                <a:gd name="T28" fmla="*/ 2988 w 3155"/>
                <a:gd name="T29" fmla="*/ 24 h 1116"/>
                <a:gd name="T30" fmla="*/ 3146 w 3155"/>
                <a:gd name="T31" fmla="*/ 8 h 1116"/>
                <a:gd name="T32" fmla="*/ 3083 w 3155"/>
                <a:gd name="T33" fmla="*/ 182 h 1116"/>
                <a:gd name="T34" fmla="*/ 2964 w 3155"/>
                <a:gd name="T35" fmla="*/ 237 h 1116"/>
                <a:gd name="T36" fmla="*/ 2869 w 3155"/>
                <a:gd name="T37" fmla="*/ 364 h 1116"/>
                <a:gd name="T38" fmla="*/ 2806 w 3155"/>
                <a:gd name="T39" fmla="*/ 324 h 1116"/>
                <a:gd name="T40" fmla="*/ 2758 w 3155"/>
                <a:gd name="T41" fmla="*/ 388 h 1116"/>
                <a:gd name="T42" fmla="*/ 2569 w 3155"/>
                <a:gd name="T43" fmla="*/ 577 h 1116"/>
                <a:gd name="T44" fmla="*/ 2498 w 3155"/>
                <a:gd name="T45" fmla="*/ 609 h 1116"/>
                <a:gd name="T46" fmla="*/ 2363 w 3155"/>
                <a:gd name="T47" fmla="*/ 656 h 1116"/>
                <a:gd name="T48" fmla="*/ 2347 w 3155"/>
                <a:gd name="T49" fmla="*/ 759 h 1116"/>
                <a:gd name="T50" fmla="*/ 2260 w 3155"/>
                <a:gd name="T51" fmla="*/ 838 h 1116"/>
                <a:gd name="T52" fmla="*/ 2253 w 3155"/>
                <a:gd name="T53" fmla="*/ 901 h 1116"/>
                <a:gd name="T54" fmla="*/ 205 w 3155"/>
                <a:gd name="T55" fmla="*/ 380 h 1116"/>
                <a:gd name="T56" fmla="*/ 213 w 3155"/>
                <a:gd name="T57" fmla="*/ 411 h 1116"/>
                <a:gd name="T58" fmla="*/ 197 w 3155"/>
                <a:gd name="T59" fmla="*/ 514 h 1116"/>
                <a:gd name="T60" fmla="*/ 173 w 3155"/>
                <a:gd name="T61" fmla="*/ 625 h 1116"/>
                <a:gd name="T62" fmla="*/ 118 w 3155"/>
                <a:gd name="T63" fmla="*/ 767 h 1116"/>
                <a:gd name="T64" fmla="*/ 110 w 3155"/>
                <a:gd name="T65" fmla="*/ 823 h 1116"/>
                <a:gd name="T66" fmla="*/ 86 w 3155"/>
                <a:gd name="T67" fmla="*/ 854 h 1116"/>
                <a:gd name="T68" fmla="*/ 39 w 3155"/>
                <a:gd name="T69" fmla="*/ 957 h 1116"/>
                <a:gd name="T70" fmla="*/ 63 w 3155"/>
                <a:gd name="T71" fmla="*/ 1060 h 1116"/>
                <a:gd name="T72" fmla="*/ 2253 w 3155"/>
                <a:gd name="T73" fmla="*/ 894 h 1116"/>
                <a:gd name="T74" fmla="*/ 2300 w 3155"/>
                <a:gd name="T75" fmla="*/ 767 h 1116"/>
                <a:gd name="T76" fmla="*/ 2347 w 3155"/>
                <a:gd name="T77" fmla="*/ 672 h 1116"/>
                <a:gd name="T78" fmla="*/ 2474 w 3155"/>
                <a:gd name="T79" fmla="*/ 601 h 1116"/>
                <a:gd name="T80" fmla="*/ 2537 w 3155"/>
                <a:gd name="T81" fmla="*/ 601 h 1116"/>
                <a:gd name="T82" fmla="*/ 2727 w 3155"/>
                <a:gd name="T83" fmla="*/ 403 h 1116"/>
                <a:gd name="T84" fmla="*/ 2798 w 3155"/>
                <a:gd name="T85" fmla="*/ 332 h 1116"/>
                <a:gd name="T86" fmla="*/ 2837 w 3155"/>
                <a:gd name="T87" fmla="*/ 332 h 1116"/>
                <a:gd name="T88" fmla="*/ 2924 w 3155"/>
                <a:gd name="T89" fmla="*/ 253 h 1116"/>
                <a:gd name="T90" fmla="*/ 3019 w 3155"/>
                <a:gd name="T91" fmla="*/ 269 h 1116"/>
                <a:gd name="T92" fmla="*/ 3130 w 3155"/>
                <a:gd name="T93" fmla="*/ 119 h 1116"/>
                <a:gd name="T94" fmla="*/ 948 w 3155"/>
                <a:gd name="T95" fmla="*/ 261 h 1116"/>
                <a:gd name="T96" fmla="*/ 853 w 3155"/>
                <a:gd name="T97" fmla="*/ 277 h 1116"/>
                <a:gd name="T98" fmla="*/ 766 w 3155"/>
                <a:gd name="T99" fmla="*/ 277 h 1116"/>
                <a:gd name="T100" fmla="*/ 766 w 3155"/>
                <a:gd name="T101" fmla="*/ 364 h 1116"/>
                <a:gd name="T102" fmla="*/ 268 w 3155"/>
                <a:gd name="T103" fmla="*/ 38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55" h="1116">
                  <a:moveTo>
                    <a:pt x="0" y="1115"/>
                  </a:moveTo>
                  <a:lnTo>
                    <a:pt x="0" y="1115"/>
                  </a:lnTo>
                  <a:lnTo>
                    <a:pt x="0" y="1115"/>
                  </a:lnTo>
                  <a:cubicBezTo>
                    <a:pt x="7" y="1115"/>
                    <a:pt x="15" y="1083"/>
                    <a:pt x="39" y="1067"/>
                  </a:cubicBezTo>
                  <a:cubicBezTo>
                    <a:pt x="47" y="1060"/>
                    <a:pt x="55" y="1060"/>
                    <a:pt x="63" y="1052"/>
                  </a:cubicBezTo>
                  <a:cubicBezTo>
                    <a:pt x="78" y="1052"/>
                    <a:pt x="86" y="1044"/>
                    <a:pt x="78" y="1012"/>
                  </a:cubicBezTo>
                  <a:cubicBezTo>
                    <a:pt x="78" y="988"/>
                    <a:pt x="63" y="981"/>
                    <a:pt x="47" y="973"/>
                  </a:cubicBezTo>
                  <a:cubicBezTo>
                    <a:pt x="39" y="973"/>
                    <a:pt x="31" y="965"/>
                    <a:pt x="31" y="957"/>
                  </a:cubicBezTo>
                  <a:cubicBezTo>
                    <a:pt x="31" y="949"/>
                    <a:pt x="31" y="949"/>
                    <a:pt x="31" y="941"/>
                  </a:cubicBezTo>
                  <a:cubicBezTo>
                    <a:pt x="23" y="925"/>
                    <a:pt x="23" y="909"/>
                    <a:pt x="55" y="901"/>
                  </a:cubicBezTo>
                  <a:cubicBezTo>
                    <a:pt x="78" y="886"/>
                    <a:pt x="78" y="878"/>
                    <a:pt x="78" y="854"/>
                  </a:cubicBezTo>
                  <a:lnTo>
                    <a:pt x="78" y="846"/>
                  </a:lnTo>
                  <a:cubicBezTo>
                    <a:pt x="86" y="830"/>
                    <a:pt x="86" y="830"/>
                    <a:pt x="94" y="830"/>
                  </a:cubicBezTo>
                  <a:lnTo>
                    <a:pt x="102" y="823"/>
                  </a:lnTo>
                  <a:cubicBezTo>
                    <a:pt x="110" y="814"/>
                    <a:pt x="110" y="807"/>
                    <a:pt x="102" y="799"/>
                  </a:cubicBezTo>
                  <a:cubicBezTo>
                    <a:pt x="102" y="791"/>
                    <a:pt x="102" y="783"/>
                    <a:pt x="102" y="775"/>
                  </a:cubicBezTo>
                  <a:cubicBezTo>
                    <a:pt x="110" y="767"/>
                    <a:pt x="110" y="767"/>
                    <a:pt x="118" y="767"/>
                  </a:cubicBezTo>
                  <a:cubicBezTo>
                    <a:pt x="126" y="759"/>
                    <a:pt x="142" y="751"/>
                    <a:pt x="150" y="728"/>
                  </a:cubicBezTo>
                  <a:cubicBezTo>
                    <a:pt x="165" y="696"/>
                    <a:pt x="181" y="664"/>
                    <a:pt x="173" y="648"/>
                  </a:cubicBezTo>
                  <a:cubicBezTo>
                    <a:pt x="173" y="641"/>
                    <a:pt x="165" y="633"/>
                    <a:pt x="165" y="625"/>
                  </a:cubicBezTo>
                  <a:cubicBezTo>
                    <a:pt x="158" y="609"/>
                    <a:pt x="158" y="601"/>
                    <a:pt x="173" y="585"/>
                  </a:cubicBezTo>
                  <a:cubicBezTo>
                    <a:pt x="181" y="585"/>
                    <a:pt x="173" y="570"/>
                    <a:pt x="173" y="554"/>
                  </a:cubicBezTo>
                  <a:cubicBezTo>
                    <a:pt x="173" y="538"/>
                    <a:pt x="173" y="522"/>
                    <a:pt x="189" y="506"/>
                  </a:cubicBezTo>
                  <a:cubicBezTo>
                    <a:pt x="205" y="498"/>
                    <a:pt x="205" y="483"/>
                    <a:pt x="205" y="475"/>
                  </a:cubicBezTo>
                  <a:cubicBezTo>
                    <a:pt x="213" y="467"/>
                    <a:pt x="213" y="459"/>
                    <a:pt x="213" y="451"/>
                  </a:cubicBezTo>
                  <a:cubicBezTo>
                    <a:pt x="213" y="443"/>
                    <a:pt x="213" y="427"/>
                    <a:pt x="205" y="419"/>
                  </a:cubicBezTo>
                  <a:cubicBezTo>
                    <a:pt x="197" y="403"/>
                    <a:pt x="189" y="388"/>
                    <a:pt x="197" y="380"/>
                  </a:cubicBezTo>
                  <a:cubicBezTo>
                    <a:pt x="197" y="372"/>
                    <a:pt x="205" y="372"/>
                    <a:pt x="213" y="372"/>
                  </a:cubicBezTo>
                  <a:cubicBezTo>
                    <a:pt x="244" y="380"/>
                    <a:pt x="260" y="388"/>
                    <a:pt x="268" y="380"/>
                  </a:cubicBezTo>
                  <a:lnTo>
                    <a:pt x="268" y="380"/>
                  </a:lnTo>
                  <a:lnTo>
                    <a:pt x="268" y="380"/>
                  </a:lnTo>
                  <a:cubicBezTo>
                    <a:pt x="284" y="380"/>
                    <a:pt x="300" y="380"/>
                    <a:pt x="331" y="380"/>
                  </a:cubicBezTo>
                  <a:cubicBezTo>
                    <a:pt x="411" y="380"/>
                    <a:pt x="553" y="372"/>
                    <a:pt x="750" y="356"/>
                  </a:cubicBezTo>
                  <a:cubicBezTo>
                    <a:pt x="758" y="356"/>
                    <a:pt x="758" y="356"/>
                    <a:pt x="766" y="356"/>
                  </a:cubicBezTo>
                  <a:cubicBezTo>
                    <a:pt x="766" y="356"/>
                    <a:pt x="774" y="356"/>
                    <a:pt x="774" y="348"/>
                  </a:cubicBezTo>
                  <a:cubicBezTo>
                    <a:pt x="782" y="340"/>
                    <a:pt x="774" y="324"/>
                    <a:pt x="766" y="309"/>
                  </a:cubicBezTo>
                  <a:cubicBezTo>
                    <a:pt x="766" y="293"/>
                    <a:pt x="758" y="285"/>
                    <a:pt x="758" y="277"/>
                  </a:cubicBezTo>
                  <a:cubicBezTo>
                    <a:pt x="758" y="269"/>
                    <a:pt x="774" y="261"/>
                    <a:pt x="798" y="261"/>
                  </a:cubicBezTo>
                  <a:cubicBezTo>
                    <a:pt x="822" y="261"/>
                    <a:pt x="837" y="261"/>
                    <a:pt x="853" y="269"/>
                  </a:cubicBezTo>
                  <a:cubicBezTo>
                    <a:pt x="853" y="269"/>
                    <a:pt x="853" y="277"/>
                    <a:pt x="861" y="277"/>
                  </a:cubicBezTo>
                  <a:cubicBezTo>
                    <a:pt x="869" y="285"/>
                    <a:pt x="885" y="293"/>
                    <a:pt x="893" y="293"/>
                  </a:cubicBezTo>
                  <a:cubicBezTo>
                    <a:pt x="893" y="293"/>
                    <a:pt x="893" y="293"/>
                    <a:pt x="901" y="285"/>
                  </a:cubicBezTo>
                  <a:cubicBezTo>
                    <a:pt x="908" y="269"/>
                    <a:pt x="948" y="253"/>
                    <a:pt x="948" y="253"/>
                  </a:cubicBezTo>
                  <a:lnTo>
                    <a:pt x="948" y="253"/>
                  </a:lnTo>
                  <a:cubicBezTo>
                    <a:pt x="1628" y="222"/>
                    <a:pt x="2909" y="40"/>
                    <a:pt x="2988" y="24"/>
                  </a:cubicBezTo>
                  <a:cubicBezTo>
                    <a:pt x="3059" y="8"/>
                    <a:pt x="3114" y="8"/>
                    <a:pt x="3146" y="0"/>
                  </a:cubicBezTo>
                  <a:lnTo>
                    <a:pt x="3146" y="0"/>
                  </a:lnTo>
                  <a:cubicBezTo>
                    <a:pt x="3146" y="8"/>
                    <a:pt x="3146" y="8"/>
                    <a:pt x="3146" y="8"/>
                  </a:cubicBezTo>
                  <a:cubicBezTo>
                    <a:pt x="3154" y="40"/>
                    <a:pt x="3154" y="87"/>
                    <a:pt x="3138" y="119"/>
                  </a:cubicBezTo>
                  <a:cubicBezTo>
                    <a:pt x="3130" y="143"/>
                    <a:pt x="3114" y="150"/>
                    <a:pt x="3106" y="150"/>
                  </a:cubicBezTo>
                  <a:cubicBezTo>
                    <a:pt x="3098" y="158"/>
                    <a:pt x="3090" y="158"/>
                    <a:pt x="3083" y="182"/>
                  </a:cubicBezTo>
                  <a:cubicBezTo>
                    <a:pt x="3075" y="222"/>
                    <a:pt x="3035" y="277"/>
                    <a:pt x="3019" y="277"/>
                  </a:cubicBezTo>
                  <a:lnTo>
                    <a:pt x="3011" y="277"/>
                  </a:lnTo>
                  <a:cubicBezTo>
                    <a:pt x="3011" y="261"/>
                    <a:pt x="2988" y="237"/>
                    <a:pt x="2964" y="237"/>
                  </a:cubicBezTo>
                  <a:cubicBezTo>
                    <a:pt x="2948" y="237"/>
                    <a:pt x="2940" y="245"/>
                    <a:pt x="2932" y="253"/>
                  </a:cubicBezTo>
                  <a:cubicBezTo>
                    <a:pt x="2909" y="277"/>
                    <a:pt x="2909" y="293"/>
                    <a:pt x="2909" y="317"/>
                  </a:cubicBezTo>
                  <a:cubicBezTo>
                    <a:pt x="2901" y="340"/>
                    <a:pt x="2901" y="356"/>
                    <a:pt x="2869" y="364"/>
                  </a:cubicBezTo>
                  <a:cubicBezTo>
                    <a:pt x="2837" y="364"/>
                    <a:pt x="2830" y="348"/>
                    <a:pt x="2830" y="332"/>
                  </a:cubicBezTo>
                  <a:cubicBezTo>
                    <a:pt x="2822" y="324"/>
                    <a:pt x="2822" y="324"/>
                    <a:pt x="2814" y="324"/>
                  </a:cubicBezTo>
                  <a:lnTo>
                    <a:pt x="2806" y="324"/>
                  </a:lnTo>
                  <a:lnTo>
                    <a:pt x="2806" y="332"/>
                  </a:lnTo>
                  <a:cubicBezTo>
                    <a:pt x="2806" y="340"/>
                    <a:pt x="2806" y="356"/>
                    <a:pt x="2798" y="364"/>
                  </a:cubicBezTo>
                  <a:cubicBezTo>
                    <a:pt x="2790" y="380"/>
                    <a:pt x="2774" y="380"/>
                    <a:pt x="2758" y="388"/>
                  </a:cubicBezTo>
                  <a:cubicBezTo>
                    <a:pt x="2743" y="388"/>
                    <a:pt x="2735" y="388"/>
                    <a:pt x="2735" y="403"/>
                  </a:cubicBezTo>
                  <a:cubicBezTo>
                    <a:pt x="2735" y="443"/>
                    <a:pt x="2719" y="475"/>
                    <a:pt x="2687" y="475"/>
                  </a:cubicBezTo>
                  <a:cubicBezTo>
                    <a:pt x="2656" y="475"/>
                    <a:pt x="2608" y="538"/>
                    <a:pt x="2569" y="577"/>
                  </a:cubicBezTo>
                  <a:cubicBezTo>
                    <a:pt x="2561" y="585"/>
                    <a:pt x="2553" y="593"/>
                    <a:pt x="2545" y="601"/>
                  </a:cubicBezTo>
                  <a:cubicBezTo>
                    <a:pt x="2537" y="609"/>
                    <a:pt x="2529" y="617"/>
                    <a:pt x="2513" y="617"/>
                  </a:cubicBezTo>
                  <a:cubicBezTo>
                    <a:pt x="2513" y="617"/>
                    <a:pt x="2506" y="609"/>
                    <a:pt x="2498" y="609"/>
                  </a:cubicBezTo>
                  <a:cubicBezTo>
                    <a:pt x="2490" y="609"/>
                    <a:pt x="2482" y="609"/>
                    <a:pt x="2474" y="609"/>
                  </a:cubicBezTo>
                  <a:cubicBezTo>
                    <a:pt x="2458" y="609"/>
                    <a:pt x="2442" y="617"/>
                    <a:pt x="2426" y="625"/>
                  </a:cubicBezTo>
                  <a:cubicBezTo>
                    <a:pt x="2395" y="648"/>
                    <a:pt x="2379" y="656"/>
                    <a:pt x="2363" y="656"/>
                  </a:cubicBezTo>
                  <a:cubicBezTo>
                    <a:pt x="2347" y="656"/>
                    <a:pt x="2347" y="656"/>
                    <a:pt x="2347" y="672"/>
                  </a:cubicBezTo>
                  <a:cubicBezTo>
                    <a:pt x="2355" y="680"/>
                    <a:pt x="2355" y="688"/>
                    <a:pt x="2355" y="688"/>
                  </a:cubicBezTo>
                  <a:cubicBezTo>
                    <a:pt x="2363" y="720"/>
                    <a:pt x="2363" y="743"/>
                    <a:pt x="2347" y="759"/>
                  </a:cubicBezTo>
                  <a:cubicBezTo>
                    <a:pt x="2340" y="767"/>
                    <a:pt x="2316" y="775"/>
                    <a:pt x="2300" y="775"/>
                  </a:cubicBezTo>
                  <a:cubicBezTo>
                    <a:pt x="2276" y="775"/>
                    <a:pt x="2260" y="783"/>
                    <a:pt x="2260" y="791"/>
                  </a:cubicBezTo>
                  <a:cubicBezTo>
                    <a:pt x="2260" y="799"/>
                    <a:pt x="2260" y="814"/>
                    <a:pt x="2260" y="838"/>
                  </a:cubicBezTo>
                  <a:cubicBezTo>
                    <a:pt x="2260" y="854"/>
                    <a:pt x="2260" y="878"/>
                    <a:pt x="2260" y="901"/>
                  </a:cubicBezTo>
                  <a:lnTo>
                    <a:pt x="2260" y="901"/>
                  </a:lnTo>
                  <a:cubicBezTo>
                    <a:pt x="2253" y="901"/>
                    <a:pt x="2253" y="901"/>
                    <a:pt x="2253" y="901"/>
                  </a:cubicBezTo>
                  <a:cubicBezTo>
                    <a:pt x="1810" y="957"/>
                    <a:pt x="632" y="1091"/>
                    <a:pt x="7" y="1115"/>
                  </a:cubicBezTo>
                  <a:lnTo>
                    <a:pt x="0" y="1115"/>
                  </a:lnTo>
                  <a:close/>
                  <a:moveTo>
                    <a:pt x="205" y="380"/>
                  </a:moveTo>
                  <a:lnTo>
                    <a:pt x="205" y="380"/>
                  </a:lnTo>
                  <a:cubicBezTo>
                    <a:pt x="205" y="380"/>
                    <a:pt x="205" y="380"/>
                    <a:pt x="197" y="380"/>
                  </a:cubicBezTo>
                  <a:cubicBezTo>
                    <a:pt x="197" y="388"/>
                    <a:pt x="205" y="403"/>
                    <a:pt x="213" y="411"/>
                  </a:cubicBezTo>
                  <a:cubicBezTo>
                    <a:pt x="221" y="427"/>
                    <a:pt x="221" y="443"/>
                    <a:pt x="221" y="459"/>
                  </a:cubicBezTo>
                  <a:cubicBezTo>
                    <a:pt x="221" y="459"/>
                    <a:pt x="221" y="467"/>
                    <a:pt x="213" y="475"/>
                  </a:cubicBezTo>
                  <a:cubicBezTo>
                    <a:pt x="213" y="490"/>
                    <a:pt x="213" y="498"/>
                    <a:pt x="197" y="514"/>
                  </a:cubicBezTo>
                  <a:cubicBezTo>
                    <a:pt x="181" y="522"/>
                    <a:pt x="181" y="538"/>
                    <a:pt x="181" y="554"/>
                  </a:cubicBezTo>
                  <a:cubicBezTo>
                    <a:pt x="181" y="570"/>
                    <a:pt x="181" y="585"/>
                    <a:pt x="173" y="593"/>
                  </a:cubicBezTo>
                  <a:cubicBezTo>
                    <a:pt x="165" y="601"/>
                    <a:pt x="165" y="609"/>
                    <a:pt x="173" y="625"/>
                  </a:cubicBezTo>
                  <a:cubicBezTo>
                    <a:pt x="173" y="625"/>
                    <a:pt x="181" y="633"/>
                    <a:pt x="181" y="641"/>
                  </a:cubicBezTo>
                  <a:cubicBezTo>
                    <a:pt x="189" y="664"/>
                    <a:pt x="173" y="704"/>
                    <a:pt x="158" y="736"/>
                  </a:cubicBezTo>
                  <a:cubicBezTo>
                    <a:pt x="150" y="751"/>
                    <a:pt x="134" y="767"/>
                    <a:pt x="118" y="767"/>
                  </a:cubicBezTo>
                  <a:cubicBezTo>
                    <a:pt x="118" y="775"/>
                    <a:pt x="110" y="775"/>
                    <a:pt x="110" y="775"/>
                  </a:cubicBezTo>
                  <a:cubicBezTo>
                    <a:pt x="110" y="783"/>
                    <a:pt x="110" y="791"/>
                    <a:pt x="110" y="791"/>
                  </a:cubicBezTo>
                  <a:cubicBezTo>
                    <a:pt x="118" y="807"/>
                    <a:pt x="118" y="814"/>
                    <a:pt x="110" y="823"/>
                  </a:cubicBezTo>
                  <a:cubicBezTo>
                    <a:pt x="102" y="830"/>
                    <a:pt x="102" y="830"/>
                    <a:pt x="94" y="838"/>
                  </a:cubicBezTo>
                  <a:cubicBezTo>
                    <a:pt x="94" y="838"/>
                    <a:pt x="94" y="838"/>
                    <a:pt x="86" y="846"/>
                  </a:cubicBezTo>
                  <a:cubicBezTo>
                    <a:pt x="86" y="854"/>
                    <a:pt x="86" y="854"/>
                    <a:pt x="86" y="854"/>
                  </a:cubicBezTo>
                  <a:cubicBezTo>
                    <a:pt x="86" y="878"/>
                    <a:pt x="78" y="894"/>
                    <a:pt x="55" y="909"/>
                  </a:cubicBezTo>
                  <a:cubicBezTo>
                    <a:pt x="31" y="917"/>
                    <a:pt x="31" y="925"/>
                    <a:pt x="39" y="941"/>
                  </a:cubicBezTo>
                  <a:cubicBezTo>
                    <a:pt x="39" y="949"/>
                    <a:pt x="39" y="949"/>
                    <a:pt x="39" y="957"/>
                  </a:cubicBezTo>
                  <a:cubicBezTo>
                    <a:pt x="39" y="957"/>
                    <a:pt x="39" y="965"/>
                    <a:pt x="47" y="965"/>
                  </a:cubicBezTo>
                  <a:cubicBezTo>
                    <a:pt x="63" y="973"/>
                    <a:pt x="78" y="981"/>
                    <a:pt x="86" y="1012"/>
                  </a:cubicBezTo>
                  <a:cubicBezTo>
                    <a:pt x="94" y="1052"/>
                    <a:pt x="86" y="1052"/>
                    <a:pt x="63" y="1060"/>
                  </a:cubicBezTo>
                  <a:cubicBezTo>
                    <a:pt x="63" y="1060"/>
                    <a:pt x="55" y="1067"/>
                    <a:pt x="47" y="1067"/>
                  </a:cubicBezTo>
                  <a:cubicBezTo>
                    <a:pt x="31" y="1083"/>
                    <a:pt x="15" y="1099"/>
                    <a:pt x="15" y="1107"/>
                  </a:cubicBezTo>
                  <a:cubicBezTo>
                    <a:pt x="640" y="1083"/>
                    <a:pt x="1802" y="949"/>
                    <a:pt x="2253" y="894"/>
                  </a:cubicBezTo>
                  <a:cubicBezTo>
                    <a:pt x="2253" y="878"/>
                    <a:pt x="2253" y="854"/>
                    <a:pt x="2253" y="838"/>
                  </a:cubicBezTo>
                  <a:cubicBezTo>
                    <a:pt x="2253" y="814"/>
                    <a:pt x="2253" y="799"/>
                    <a:pt x="2253" y="791"/>
                  </a:cubicBezTo>
                  <a:cubicBezTo>
                    <a:pt x="2253" y="775"/>
                    <a:pt x="2276" y="767"/>
                    <a:pt x="2300" y="767"/>
                  </a:cubicBezTo>
                  <a:cubicBezTo>
                    <a:pt x="2316" y="767"/>
                    <a:pt x="2331" y="759"/>
                    <a:pt x="2340" y="751"/>
                  </a:cubicBezTo>
                  <a:cubicBezTo>
                    <a:pt x="2355" y="736"/>
                    <a:pt x="2355" y="720"/>
                    <a:pt x="2347" y="696"/>
                  </a:cubicBezTo>
                  <a:cubicBezTo>
                    <a:pt x="2347" y="688"/>
                    <a:pt x="2347" y="680"/>
                    <a:pt x="2347" y="672"/>
                  </a:cubicBezTo>
                  <a:cubicBezTo>
                    <a:pt x="2340" y="648"/>
                    <a:pt x="2347" y="648"/>
                    <a:pt x="2363" y="648"/>
                  </a:cubicBezTo>
                  <a:cubicBezTo>
                    <a:pt x="2371" y="648"/>
                    <a:pt x="2395" y="641"/>
                    <a:pt x="2418" y="617"/>
                  </a:cubicBezTo>
                  <a:cubicBezTo>
                    <a:pt x="2442" y="609"/>
                    <a:pt x="2458" y="601"/>
                    <a:pt x="2474" y="601"/>
                  </a:cubicBezTo>
                  <a:cubicBezTo>
                    <a:pt x="2482" y="601"/>
                    <a:pt x="2490" y="601"/>
                    <a:pt x="2498" y="601"/>
                  </a:cubicBezTo>
                  <a:cubicBezTo>
                    <a:pt x="2506" y="609"/>
                    <a:pt x="2513" y="609"/>
                    <a:pt x="2513" y="609"/>
                  </a:cubicBezTo>
                  <a:cubicBezTo>
                    <a:pt x="2521" y="609"/>
                    <a:pt x="2529" y="601"/>
                    <a:pt x="2537" y="601"/>
                  </a:cubicBezTo>
                  <a:cubicBezTo>
                    <a:pt x="2545" y="593"/>
                    <a:pt x="2553" y="577"/>
                    <a:pt x="2561" y="570"/>
                  </a:cubicBezTo>
                  <a:cubicBezTo>
                    <a:pt x="2600" y="530"/>
                    <a:pt x="2656" y="467"/>
                    <a:pt x="2687" y="467"/>
                  </a:cubicBezTo>
                  <a:cubicBezTo>
                    <a:pt x="2711" y="467"/>
                    <a:pt x="2727" y="443"/>
                    <a:pt x="2727" y="403"/>
                  </a:cubicBezTo>
                  <a:cubicBezTo>
                    <a:pt x="2727" y="388"/>
                    <a:pt x="2743" y="380"/>
                    <a:pt x="2758" y="380"/>
                  </a:cubicBezTo>
                  <a:cubicBezTo>
                    <a:pt x="2774" y="372"/>
                    <a:pt x="2782" y="372"/>
                    <a:pt x="2790" y="364"/>
                  </a:cubicBezTo>
                  <a:cubicBezTo>
                    <a:pt x="2798" y="348"/>
                    <a:pt x="2798" y="340"/>
                    <a:pt x="2798" y="332"/>
                  </a:cubicBezTo>
                  <a:cubicBezTo>
                    <a:pt x="2798" y="324"/>
                    <a:pt x="2798" y="324"/>
                    <a:pt x="2798" y="317"/>
                  </a:cubicBezTo>
                  <a:cubicBezTo>
                    <a:pt x="2806" y="317"/>
                    <a:pt x="2806" y="317"/>
                    <a:pt x="2814" y="317"/>
                  </a:cubicBezTo>
                  <a:cubicBezTo>
                    <a:pt x="2830" y="317"/>
                    <a:pt x="2830" y="324"/>
                    <a:pt x="2837" y="332"/>
                  </a:cubicBezTo>
                  <a:cubicBezTo>
                    <a:pt x="2837" y="348"/>
                    <a:pt x="2846" y="356"/>
                    <a:pt x="2869" y="356"/>
                  </a:cubicBezTo>
                  <a:cubicBezTo>
                    <a:pt x="2893" y="348"/>
                    <a:pt x="2893" y="340"/>
                    <a:pt x="2901" y="317"/>
                  </a:cubicBezTo>
                  <a:cubicBezTo>
                    <a:pt x="2901" y="293"/>
                    <a:pt x="2901" y="269"/>
                    <a:pt x="2924" y="253"/>
                  </a:cubicBezTo>
                  <a:cubicBezTo>
                    <a:pt x="2932" y="237"/>
                    <a:pt x="2948" y="230"/>
                    <a:pt x="2964" y="230"/>
                  </a:cubicBezTo>
                  <a:cubicBezTo>
                    <a:pt x="2996" y="230"/>
                    <a:pt x="3019" y="261"/>
                    <a:pt x="3019" y="269"/>
                  </a:cubicBezTo>
                  <a:lnTo>
                    <a:pt x="3019" y="269"/>
                  </a:lnTo>
                  <a:cubicBezTo>
                    <a:pt x="3027" y="269"/>
                    <a:pt x="3067" y="222"/>
                    <a:pt x="3083" y="182"/>
                  </a:cubicBezTo>
                  <a:cubicBezTo>
                    <a:pt x="3090" y="158"/>
                    <a:pt x="3098" y="150"/>
                    <a:pt x="3106" y="143"/>
                  </a:cubicBezTo>
                  <a:cubicBezTo>
                    <a:pt x="3114" y="143"/>
                    <a:pt x="3122" y="135"/>
                    <a:pt x="3130" y="119"/>
                  </a:cubicBezTo>
                  <a:cubicBezTo>
                    <a:pt x="3146" y="87"/>
                    <a:pt x="3146" y="48"/>
                    <a:pt x="3138" y="8"/>
                  </a:cubicBezTo>
                  <a:cubicBezTo>
                    <a:pt x="3098" y="16"/>
                    <a:pt x="3035" y="24"/>
                    <a:pt x="2988" y="32"/>
                  </a:cubicBezTo>
                  <a:cubicBezTo>
                    <a:pt x="2909" y="48"/>
                    <a:pt x="1628" y="230"/>
                    <a:pt x="948" y="261"/>
                  </a:cubicBezTo>
                  <a:cubicBezTo>
                    <a:pt x="940" y="269"/>
                    <a:pt x="908" y="277"/>
                    <a:pt x="901" y="293"/>
                  </a:cubicBezTo>
                  <a:cubicBezTo>
                    <a:pt x="901" y="301"/>
                    <a:pt x="893" y="301"/>
                    <a:pt x="893" y="301"/>
                  </a:cubicBezTo>
                  <a:cubicBezTo>
                    <a:pt x="877" y="301"/>
                    <a:pt x="869" y="293"/>
                    <a:pt x="853" y="277"/>
                  </a:cubicBezTo>
                  <a:cubicBezTo>
                    <a:pt x="853" y="277"/>
                    <a:pt x="853" y="277"/>
                    <a:pt x="845" y="277"/>
                  </a:cubicBezTo>
                  <a:cubicBezTo>
                    <a:pt x="837" y="269"/>
                    <a:pt x="822" y="269"/>
                    <a:pt x="798" y="269"/>
                  </a:cubicBezTo>
                  <a:cubicBezTo>
                    <a:pt x="782" y="269"/>
                    <a:pt x="766" y="269"/>
                    <a:pt x="766" y="277"/>
                  </a:cubicBezTo>
                  <a:cubicBezTo>
                    <a:pt x="766" y="285"/>
                    <a:pt x="774" y="293"/>
                    <a:pt x="774" y="309"/>
                  </a:cubicBezTo>
                  <a:cubicBezTo>
                    <a:pt x="782" y="324"/>
                    <a:pt x="790" y="340"/>
                    <a:pt x="782" y="356"/>
                  </a:cubicBezTo>
                  <a:cubicBezTo>
                    <a:pt x="774" y="364"/>
                    <a:pt x="774" y="364"/>
                    <a:pt x="766" y="364"/>
                  </a:cubicBezTo>
                  <a:cubicBezTo>
                    <a:pt x="758" y="364"/>
                    <a:pt x="758" y="364"/>
                    <a:pt x="750" y="364"/>
                  </a:cubicBezTo>
                  <a:cubicBezTo>
                    <a:pt x="553" y="380"/>
                    <a:pt x="411" y="388"/>
                    <a:pt x="331" y="388"/>
                  </a:cubicBezTo>
                  <a:cubicBezTo>
                    <a:pt x="300" y="388"/>
                    <a:pt x="284" y="388"/>
                    <a:pt x="268" y="388"/>
                  </a:cubicBezTo>
                  <a:cubicBezTo>
                    <a:pt x="260" y="396"/>
                    <a:pt x="244" y="388"/>
                    <a:pt x="213" y="380"/>
                  </a:cubicBezTo>
                  <a:lnTo>
                    <a:pt x="205" y="380"/>
                  </a:lnTo>
                  <a:close/>
                </a:path>
              </a:pathLst>
            </a:custGeom>
            <a:grpFill/>
            <a:ln>
              <a:solidFill>
                <a:schemeClr val="bg1">
                  <a:lumMod val="95000"/>
                </a:schemeClr>
              </a:solidFill>
            </a:ln>
            <a:effectLst/>
          </p:spPr>
          <p:txBody>
            <a:bodyPr wrap="none" anchor="ctr"/>
            <a:lstStyle/>
            <a:p>
              <a:endParaRPr lang="en-US" sz="900"/>
            </a:p>
          </p:txBody>
        </p:sp>
        <p:sp>
          <p:nvSpPr>
            <p:cNvPr id="71" name="Freeform 588"/>
            <p:cNvSpPr>
              <a:spLocks noChangeArrowheads="1"/>
            </p:cNvSpPr>
            <p:nvPr/>
          </p:nvSpPr>
          <p:spPr bwMode="auto">
            <a:xfrm>
              <a:off x="14732472" y="6321427"/>
              <a:ext cx="1720925" cy="774648"/>
            </a:xfrm>
            <a:custGeom>
              <a:avLst/>
              <a:gdLst>
                <a:gd name="T0" fmla="*/ 3249 w 3273"/>
                <a:gd name="T1" fmla="*/ 308 h 1472"/>
                <a:gd name="T2" fmla="*/ 3122 w 3273"/>
                <a:gd name="T3" fmla="*/ 119 h 1472"/>
                <a:gd name="T4" fmla="*/ 3067 w 3273"/>
                <a:gd name="T5" fmla="*/ 8 h 1472"/>
                <a:gd name="T6" fmla="*/ 917 w 3273"/>
                <a:gd name="T7" fmla="*/ 403 h 1472"/>
                <a:gd name="T8" fmla="*/ 885 w 3273"/>
                <a:gd name="T9" fmla="*/ 514 h 1472"/>
                <a:gd name="T10" fmla="*/ 758 w 3273"/>
                <a:gd name="T11" fmla="*/ 664 h 1472"/>
                <a:gd name="T12" fmla="*/ 616 w 3273"/>
                <a:gd name="T13" fmla="*/ 751 h 1472"/>
                <a:gd name="T14" fmla="*/ 545 w 3273"/>
                <a:gd name="T15" fmla="*/ 759 h 1472"/>
                <a:gd name="T16" fmla="*/ 434 w 3273"/>
                <a:gd name="T17" fmla="*/ 862 h 1472"/>
                <a:gd name="T18" fmla="*/ 173 w 3273"/>
                <a:gd name="T19" fmla="*/ 1020 h 1472"/>
                <a:gd name="T20" fmla="*/ 94 w 3273"/>
                <a:gd name="T21" fmla="*/ 1154 h 1472"/>
                <a:gd name="T22" fmla="*/ 0 w 3273"/>
                <a:gd name="T23" fmla="*/ 1296 h 1472"/>
                <a:gd name="T24" fmla="*/ 584 w 3273"/>
                <a:gd name="T25" fmla="*/ 1186 h 1472"/>
                <a:gd name="T26" fmla="*/ 1233 w 3273"/>
                <a:gd name="T27" fmla="*/ 1036 h 1472"/>
                <a:gd name="T28" fmla="*/ 1328 w 3273"/>
                <a:gd name="T29" fmla="*/ 1083 h 1472"/>
                <a:gd name="T30" fmla="*/ 1810 w 3273"/>
                <a:gd name="T31" fmla="*/ 1099 h 1472"/>
                <a:gd name="T32" fmla="*/ 2332 w 3273"/>
                <a:gd name="T33" fmla="*/ 1455 h 1472"/>
                <a:gd name="T34" fmla="*/ 2521 w 3273"/>
                <a:gd name="T35" fmla="*/ 1368 h 1472"/>
                <a:gd name="T36" fmla="*/ 2680 w 3273"/>
                <a:gd name="T37" fmla="*/ 1059 h 1472"/>
                <a:gd name="T38" fmla="*/ 2687 w 3273"/>
                <a:gd name="T39" fmla="*/ 1036 h 1472"/>
                <a:gd name="T40" fmla="*/ 2758 w 3273"/>
                <a:gd name="T41" fmla="*/ 1004 h 1472"/>
                <a:gd name="T42" fmla="*/ 2838 w 3273"/>
                <a:gd name="T43" fmla="*/ 980 h 1472"/>
                <a:gd name="T44" fmla="*/ 2917 w 3273"/>
                <a:gd name="T45" fmla="*/ 909 h 1472"/>
                <a:gd name="T46" fmla="*/ 2988 w 3273"/>
                <a:gd name="T47" fmla="*/ 909 h 1472"/>
                <a:gd name="T48" fmla="*/ 3027 w 3273"/>
                <a:gd name="T49" fmla="*/ 933 h 1472"/>
                <a:gd name="T50" fmla="*/ 3075 w 3273"/>
                <a:gd name="T51" fmla="*/ 798 h 1472"/>
                <a:gd name="T52" fmla="*/ 3051 w 3273"/>
                <a:gd name="T53" fmla="*/ 751 h 1472"/>
                <a:gd name="T54" fmla="*/ 2996 w 3273"/>
                <a:gd name="T55" fmla="*/ 759 h 1472"/>
                <a:gd name="T56" fmla="*/ 2956 w 3273"/>
                <a:gd name="T57" fmla="*/ 798 h 1472"/>
                <a:gd name="T58" fmla="*/ 2846 w 3273"/>
                <a:gd name="T59" fmla="*/ 822 h 1472"/>
                <a:gd name="T60" fmla="*/ 2933 w 3273"/>
                <a:gd name="T61" fmla="*/ 719 h 1472"/>
                <a:gd name="T62" fmla="*/ 2893 w 3273"/>
                <a:gd name="T63" fmla="*/ 640 h 1472"/>
                <a:gd name="T64" fmla="*/ 2877 w 3273"/>
                <a:gd name="T65" fmla="*/ 601 h 1472"/>
                <a:gd name="T66" fmla="*/ 2972 w 3273"/>
                <a:gd name="T67" fmla="*/ 593 h 1472"/>
                <a:gd name="T68" fmla="*/ 3130 w 3273"/>
                <a:gd name="T69" fmla="*/ 490 h 1472"/>
                <a:gd name="T70" fmla="*/ 3193 w 3273"/>
                <a:gd name="T71" fmla="*/ 427 h 1472"/>
                <a:gd name="T72" fmla="*/ 3146 w 3273"/>
                <a:gd name="T73" fmla="*/ 292 h 1472"/>
                <a:gd name="T74" fmla="*/ 3083 w 3273"/>
                <a:gd name="T75" fmla="*/ 340 h 1472"/>
                <a:gd name="T76" fmla="*/ 3051 w 3273"/>
                <a:gd name="T77" fmla="*/ 395 h 1472"/>
                <a:gd name="T78" fmla="*/ 3019 w 3273"/>
                <a:gd name="T79" fmla="*/ 285 h 1472"/>
                <a:gd name="T80" fmla="*/ 2893 w 3273"/>
                <a:gd name="T81" fmla="*/ 316 h 1472"/>
                <a:gd name="T82" fmla="*/ 2766 w 3273"/>
                <a:gd name="T83" fmla="*/ 292 h 1472"/>
                <a:gd name="T84" fmla="*/ 2846 w 3273"/>
                <a:gd name="T85" fmla="*/ 316 h 1472"/>
                <a:gd name="T86" fmla="*/ 2972 w 3273"/>
                <a:gd name="T87" fmla="*/ 237 h 1472"/>
                <a:gd name="T88" fmla="*/ 3011 w 3273"/>
                <a:gd name="T89" fmla="*/ 166 h 1472"/>
                <a:gd name="T90" fmla="*/ 3098 w 3273"/>
                <a:gd name="T91" fmla="*/ 198 h 1472"/>
                <a:gd name="T92" fmla="*/ 3067 w 3273"/>
                <a:gd name="T93" fmla="*/ 111 h 1472"/>
                <a:gd name="T94" fmla="*/ 3027 w 3273"/>
                <a:gd name="T95" fmla="*/ 24 h 1472"/>
                <a:gd name="T96" fmla="*/ 3122 w 3273"/>
                <a:gd name="T97" fmla="*/ 142 h 1472"/>
                <a:gd name="T98" fmla="*/ 3225 w 3273"/>
                <a:gd name="T99" fmla="*/ 308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3" h="1472">
                  <a:moveTo>
                    <a:pt x="3249" y="308"/>
                  </a:moveTo>
                  <a:lnTo>
                    <a:pt x="3249" y="308"/>
                  </a:lnTo>
                  <a:cubicBezTo>
                    <a:pt x="3225" y="285"/>
                    <a:pt x="3209" y="269"/>
                    <a:pt x="3193" y="237"/>
                  </a:cubicBezTo>
                  <a:cubicBezTo>
                    <a:pt x="3170" y="206"/>
                    <a:pt x="3146" y="142"/>
                    <a:pt x="3122" y="119"/>
                  </a:cubicBezTo>
                  <a:cubicBezTo>
                    <a:pt x="3106" y="103"/>
                    <a:pt x="3106" y="71"/>
                    <a:pt x="3083" y="24"/>
                  </a:cubicBezTo>
                  <a:cubicBezTo>
                    <a:pt x="3075" y="16"/>
                    <a:pt x="3067" y="8"/>
                    <a:pt x="3067" y="8"/>
                  </a:cubicBezTo>
                  <a:cubicBezTo>
                    <a:pt x="2893" y="48"/>
                    <a:pt x="1889" y="285"/>
                    <a:pt x="1011" y="395"/>
                  </a:cubicBezTo>
                  <a:cubicBezTo>
                    <a:pt x="1011" y="395"/>
                    <a:pt x="940" y="411"/>
                    <a:pt x="917" y="403"/>
                  </a:cubicBezTo>
                  <a:cubicBezTo>
                    <a:pt x="909" y="403"/>
                    <a:pt x="901" y="403"/>
                    <a:pt x="893" y="403"/>
                  </a:cubicBezTo>
                  <a:cubicBezTo>
                    <a:pt x="893" y="435"/>
                    <a:pt x="901" y="482"/>
                    <a:pt x="885" y="514"/>
                  </a:cubicBezTo>
                  <a:cubicBezTo>
                    <a:pt x="861" y="553"/>
                    <a:pt x="845" y="530"/>
                    <a:pt x="830" y="577"/>
                  </a:cubicBezTo>
                  <a:cubicBezTo>
                    <a:pt x="814" y="625"/>
                    <a:pt x="766" y="688"/>
                    <a:pt x="758" y="664"/>
                  </a:cubicBezTo>
                  <a:cubicBezTo>
                    <a:pt x="758" y="648"/>
                    <a:pt x="719" y="609"/>
                    <a:pt x="671" y="648"/>
                  </a:cubicBezTo>
                  <a:cubicBezTo>
                    <a:pt x="632" y="688"/>
                    <a:pt x="664" y="743"/>
                    <a:pt x="616" y="751"/>
                  </a:cubicBezTo>
                  <a:cubicBezTo>
                    <a:pt x="569" y="759"/>
                    <a:pt x="584" y="712"/>
                    <a:pt x="561" y="712"/>
                  </a:cubicBezTo>
                  <a:cubicBezTo>
                    <a:pt x="537" y="712"/>
                    <a:pt x="561" y="735"/>
                    <a:pt x="545" y="759"/>
                  </a:cubicBezTo>
                  <a:cubicBezTo>
                    <a:pt x="529" y="783"/>
                    <a:pt x="474" y="775"/>
                    <a:pt x="474" y="798"/>
                  </a:cubicBezTo>
                  <a:cubicBezTo>
                    <a:pt x="474" y="814"/>
                    <a:pt x="474" y="862"/>
                    <a:pt x="434" y="862"/>
                  </a:cubicBezTo>
                  <a:cubicBezTo>
                    <a:pt x="395" y="870"/>
                    <a:pt x="316" y="965"/>
                    <a:pt x="284" y="996"/>
                  </a:cubicBezTo>
                  <a:cubicBezTo>
                    <a:pt x="253" y="1028"/>
                    <a:pt x="229" y="972"/>
                    <a:pt x="173" y="1020"/>
                  </a:cubicBezTo>
                  <a:cubicBezTo>
                    <a:pt x="110" y="1059"/>
                    <a:pt x="87" y="1036"/>
                    <a:pt x="94" y="1067"/>
                  </a:cubicBezTo>
                  <a:cubicBezTo>
                    <a:pt x="102" y="1099"/>
                    <a:pt x="110" y="1131"/>
                    <a:pt x="94" y="1154"/>
                  </a:cubicBezTo>
                  <a:cubicBezTo>
                    <a:pt x="71" y="1170"/>
                    <a:pt x="0" y="1162"/>
                    <a:pt x="0" y="1186"/>
                  </a:cubicBezTo>
                  <a:cubicBezTo>
                    <a:pt x="0" y="1194"/>
                    <a:pt x="0" y="1249"/>
                    <a:pt x="0" y="1296"/>
                  </a:cubicBezTo>
                  <a:cubicBezTo>
                    <a:pt x="253" y="1265"/>
                    <a:pt x="426" y="1241"/>
                    <a:pt x="450" y="1241"/>
                  </a:cubicBezTo>
                  <a:cubicBezTo>
                    <a:pt x="529" y="1241"/>
                    <a:pt x="537" y="1209"/>
                    <a:pt x="584" y="1186"/>
                  </a:cubicBezTo>
                  <a:cubicBezTo>
                    <a:pt x="632" y="1154"/>
                    <a:pt x="774" y="1083"/>
                    <a:pt x="814" y="1075"/>
                  </a:cubicBezTo>
                  <a:cubicBezTo>
                    <a:pt x="845" y="1075"/>
                    <a:pt x="1233" y="1020"/>
                    <a:pt x="1233" y="1036"/>
                  </a:cubicBezTo>
                  <a:cubicBezTo>
                    <a:pt x="1233" y="1051"/>
                    <a:pt x="1209" y="1059"/>
                    <a:pt x="1257" y="1067"/>
                  </a:cubicBezTo>
                  <a:cubicBezTo>
                    <a:pt x="1304" y="1075"/>
                    <a:pt x="1312" y="1059"/>
                    <a:pt x="1328" y="1083"/>
                  </a:cubicBezTo>
                  <a:cubicBezTo>
                    <a:pt x="1343" y="1099"/>
                    <a:pt x="1367" y="1178"/>
                    <a:pt x="1367" y="1178"/>
                  </a:cubicBezTo>
                  <a:cubicBezTo>
                    <a:pt x="1810" y="1099"/>
                    <a:pt x="1810" y="1099"/>
                    <a:pt x="1810" y="1099"/>
                  </a:cubicBezTo>
                  <a:cubicBezTo>
                    <a:pt x="2300" y="1471"/>
                    <a:pt x="2300" y="1471"/>
                    <a:pt x="2300" y="1471"/>
                  </a:cubicBezTo>
                  <a:cubicBezTo>
                    <a:pt x="2308" y="1462"/>
                    <a:pt x="2316" y="1462"/>
                    <a:pt x="2332" y="1455"/>
                  </a:cubicBezTo>
                  <a:cubicBezTo>
                    <a:pt x="2387" y="1439"/>
                    <a:pt x="2371" y="1439"/>
                    <a:pt x="2427" y="1431"/>
                  </a:cubicBezTo>
                  <a:cubicBezTo>
                    <a:pt x="2482" y="1423"/>
                    <a:pt x="2513" y="1439"/>
                    <a:pt x="2521" y="1368"/>
                  </a:cubicBezTo>
                  <a:cubicBezTo>
                    <a:pt x="2529" y="1296"/>
                    <a:pt x="2656" y="1123"/>
                    <a:pt x="2680" y="1099"/>
                  </a:cubicBezTo>
                  <a:cubicBezTo>
                    <a:pt x="2711" y="1083"/>
                    <a:pt x="2687" y="1075"/>
                    <a:pt x="2680" y="1059"/>
                  </a:cubicBezTo>
                  <a:cubicBezTo>
                    <a:pt x="2680" y="1043"/>
                    <a:pt x="2671" y="1020"/>
                    <a:pt x="2680" y="1020"/>
                  </a:cubicBezTo>
                  <a:cubicBezTo>
                    <a:pt x="2695" y="1012"/>
                    <a:pt x="2680" y="1020"/>
                    <a:pt x="2687" y="1036"/>
                  </a:cubicBezTo>
                  <a:cubicBezTo>
                    <a:pt x="2695" y="1051"/>
                    <a:pt x="2719" y="1067"/>
                    <a:pt x="2727" y="1059"/>
                  </a:cubicBezTo>
                  <a:cubicBezTo>
                    <a:pt x="2735" y="1043"/>
                    <a:pt x="2751" y="1028"/>
                    <a:pt x="2758" y="1004"/>
                  </a:cubicBezTo>
                  <a:cubicBezTo>
                    <a:pt x="2758" y="972"/>
                    <a:pt x="2774" y="956"/>
                    <a:pt x="2782" y="972"/>
                  </a:cubicBezTo>
                  <a:cubicBezTo>
                    <a:pt x="2790" y="980"/>
                    <a:pt x="2822" y="988"/>
                    <a:pt x="2838" y="980"/>
                  </a:cubicBezTo>
                  <a:cubicBezTo>
                    <a:pt x="2846" y="972"/>
                    <a:pt x="2901" y="965"/>
                    <a:pt x="2909" y="956"/>
                  </a:cubicBezTo>
                  <a:cubicBezTo>
                    <a:pt x="2924" y="941"/>
                    <a:pt x="2909" y="925"/>
                    <a:pt x="2917" y="909"/>
                  </a:cubicBezTo>
                  <a:cubicBezTo>
                    <a:pt x="2924" y="901"/>
                    <a:pt x="2917" y="917"/>
                    <a:pt x="2948" y="917"/>
                  </a:cubicBezTo>
                  <a:cubicBezTo>
                    <a:pt x="2980" y="909"/>
                    <a:pt x="2980" y="893"/>
                    <a:pt x="2988" y="909"/>
                  </a:cubicBezTo>
                  <a:cubicBezTo>
                    <a:pt x="3004" y="925"/>
                    <a:pt x="2996" y="941"/>
                    <a:pt x="3004" y="956"/>
                  </a:cubicBezTo>
                  <a:cubicBezTo>
                    <a:pt x="3011" y="965"/>
                    <a:pt x="3004" y="980"/>
                    <a:pt x="3027" y="933"/>
                  </a:cubicBezTo>
                  <a:cubicBezTo>
                    <a:pt x="3043" y="885"/>
                    <a:pt x="3067" y="838"/>
                    <a:pt x="3083" y="822"/>
                  </a:cubicBezTo>
                  <a:cubicBezTo>
                    <a:pt x="3098" y="806"/>
                    <a:pt x="3091" y="791"/>
                    <a:pt x="3075" y="798"/>
                  </a:cubicBezTo>
                  <a:cubicBezTo>
                    <a:pt x="3059" y="806"/>
                    <a:pt x="3051" y="830"/>
                    <a:pt x="3059" y="798"/>
                  </a:cubicBezTo>
                  <a:cubicBezTo>
                    <a:pt x="3059" y="767"/>
                    <a:pt x="3075" y="735"/>
                    <a:pt x="3051" y="751"/>
                  </a:cubicBezTo>
                  <a:cubicBezTo>
                    <a:pt x="3027" y="767"/>
                    <a:pt x="3035" y="822"/>
                    <a:pt x="3011" y="798"/>
                  </a:cubicBezTo>
                  <a:cubicBezTo>
                    <a:pt x="2996" y="783"/>
                    <a:pt x="2996" y="783"/>
                    <a:pt x="2996" y="759"/>
                  </a:cubicBezTo>
                  <a:cubicBezTo>
                    <a:pt x="2996" y="735"/>
                    <a:pt x="2980" y="704"/>
                    <a:pt x="2980" y="735"/>
                  </a:cubicBezTo>
                  <a:cubicBezTo>
                    <a:pt x="2972" y="775"/>
                    <a:pt x="2988" y="791"/>
                    <a:pt x="2956" y="798"/>
                  </a:cubicBezTo>
                  <a:cubicBezTo>
                    <a:pt x="2924" y="806"/>
                    <a:pt x="2924" y="822"/>
                    <a:pt x="2893" y="830"/>
                  </a:cubicBezTo>
                  <a:cubicBezTo>
                    <a:pt x="2853" y="830"/>
                    <a:pt x="2822" y="830"/>
                    <a:pt x="2846" y="822"/>
                  </a:cubicBezTo>
                  <a:cubicBezTo>
                    <a:pt x="2869" y="814"/>
                    <a:pt x="2885" y="830"/>
                    <a:pt x="2901" y="798"/>
                  </a:cubicBezTo>
                  <a:cubicBezTo>
                    <a:pt x="2924" y="759"/>
                    <a:pt x="2917" y="759"/>
                    <a:pt x="2933" y="719"/>
                  </a:cubicBezTo>
                  <a:cubicBezTo>
                    <a:pt x="2956" y="688"/>
                    <a:pt x="2988" y="680"/>
                    <a:pt x="2956" y="664"/>
                  </a:cubicBezTo>
                  <a:cubicBezTo>
                    <a:pt x="2933" y="648"/>
                    <a:pt x="2940" y="656"/>
                    <a:pt x="2893" y="640"/>
                  </a:cubicBezTo>
                  <a:cubicBezTo>
                    <a:pt x="2846" y="625"/>
                    <a:pt x="2790" y="617"/>
                    <a:pt x="2806" y="609"/>
                  </a:cubicBezTo>
                  <a:cubicBezTo>
                    <a:pt x="2830" y="601"/>
                    <a:pt x="2853" y="609"/>
                    <a:pt x="2877" y="601"/>
                  </a:cubicBezTo>
                  <a:cubicBezTo>
                    <a:pt x="2901" y="585"/>
                    <a:pt x="2885" y="561"/>
                    <a:pt x="2909" y="569"/>
                  </a:cubicBezTo>
                  <a:cubicBezTo>
                    <a:pt x="2933" y="577"/>
                    <a:pt x="2909" y="585"/>
                    <a:pt x="2972" y="593"/>
                  </a:cubicBezTo>
                  <a:cubicBezTo>
                    <a:pt x="3043" y="601"/>
                    <a:pt x="3043" y="601"/>
                    <a:pt x="3051" y="601"/>
                  </a:cubicBezTo>
                  <a:cubicBezTo>
                    <a:pt x="3067" y="601"/>
                    <a:pt x="3122" y="553"/>
                    <a:pt x="3130" y="490"/>
                  </a:cubicBezTo>
                  <a:cubicBezTo>
                    <a:pt x="3138" y="427"/>
                    <a:pt x="3146" y="459"/>
                    <a:pt x="3162" y="451"/>
                  </a:cubicBezTo>
                  <a:cubicBezTo>
                    <a:pt x="3177" y="451"/>
                    <a:pt x="3193" y="451"/>
                    <a:pt x="3193" y="427"/>
                  </a:cubicBezTo>
                  <a:cubicBezTo>
                    <a:pt x="3186" y="395"/>
                    <a:pt x="3177" y="364"/>
                    <a:pt x="3177" y="332"/>
                  </a:cubicBezTo>
                  <a:cubicBezTo>
                    <a:pt x="3177" y="301"/>
                    <a:pt x="3154" y="292"/>
                    <a:pt x="3146" y="292"/>
                  </a:cubicBezTo>
                  <a:cubicBezTo>
                    <a:pt x="3138" y="292"/>
                    <a:pt x="3106" y="285"/>
                    <a:pt x="3106" y="308"/>
                  </a:cubicBezTo>
                  <a:cubicBezTo>
                    <a:pt x="3106" y="324"/>
                    <a:pt x="3067" y="316"/>
                    <a:pt x="3083" y="340"/>
                  </a:cubicBezTo>
                  <a:cubicBezTo>
                    <a:pt x="3098" y="364"/>
                    <a:pt x="3106" y="395"/>
                    <a:pt x="3083" y="411"/>
                  </a:cubicBezTo>
                  <a:cubicBezTo>
                    <a:pt x="3059" y="435"/>
                    <a:pt x="3043" y="435"/>
                    <a:pt x="3051" y="395"/>
                  </a:cubicBezTo>
                  <a:cubicBezTo>
                    <a:pt x="3067" y="348"/>
                    <a:pt x="3091" y="340"/>
                    <a:pt x="3067" y="316"/>
                  </a:cubicBezTo>
                  <a:cubicBezTo>
                    <a:pt x="3043" y="292"/>
                    <a:pt x="3035" y="269"/>
                    <a:pt x="3019" y="285"/>
                  </a:cubicBezTo>
                  <a:cubicBezTo>
                    <a:pt x="2996" y="301"/>
                    <a:pt x="2964" y="301"/>
                    <a:pt x="2964" y="332"/>
                  </a:cubicBezTo>
                  <a:cubicBezTo>
                    <a:pt x="2956" y="356"/>
                    <a:pt x="2901" y="301"/>
                    <a:pt x="2893" y="316"/>
                  </a:cubicBezTo>
                  <a:cubicBezTo>
                    <a:pt x="2885" y="340"/>
                    <a:pt x="2861" y="372"/>
                    <a:pt x="2822" y="356"/>
                  </a:cubicBezTo>
                  <a:cubicBezTo>
                    <a:pt x="2790" y="340"/>
                    <a:pt x="2766" y="316"/>
                    <a:pt x="2766" y="292"/>
                  </a:cubicBezTo>
                  <a:cubicBezTo>
                    <a:pt x="2758" y="277"/>
                    <a:pt x="2766" y="301"/>
                    <a:pt x="2798" y="308"/>
                  </a:cubicBezTo>
                  <a:cubicBezTo>
                    <a:pt x="2822" y="308"/>
                    <a:pt x="2822" y="324"/>
                    <a:pt x="2846" y="316"/>
                  </a:cubicBezTo>
                  <a:cubicBezTo>
                    <a:pt x="2869" y="301"/>
                    <a:pt x="2901" y="308"/>
                    <a:pt x="2909" y="277"/>
                  </a:cubicBezTo>
                  <a:cubicBezTo>
                    <a:pt x="2924" y="253"/>
                    <a:pt x="2940" y="245"/>
                    <a:pt x="2972" y="237"/>
                  </a:cubicBezTo>
                  <a:cubicBezTo>
                    <a:pt x="3011" y="229"/>
                    <a:pt x="3035" y="214"/>
                    <a:pt x="3011" y="198"/>
                  </a:cubicBezTo>
                  <a:cubicBezTo>
                    <a:pt x="2988" y="182"/>
                    <a:pt x="2980" y="150"/>
                    <a:pt x="3011" y="166"/>
                  </a:cubicBezTo>
                  <a:cubicBezTo>
                    <a:pt x="3035" y="182"/>
                    <a:pt x="3067" y="206"/>
                    <a:pt x="3075" y="198"/>
                  </a:cubicBezTo>
                  <a:cubicBezTo>
                    <a:pt x="3091" y="190"/>
                    <a:pt x="3091" y="198"/>
                    <a:pt x="3098" y="198"/>
                  </a:cubicBezTo>
                  <a:cubicBezTo>
                    <a:pt x="3106" y="206"/>
                    <a:pt x="3146" y="221"/>
                    <a:pt x="3114" y="198"/>
                  </a:cubicBezTo>
                  <a:cubicBezTo>
                    <a:pt x="3091" y="166"/>
                    <a:pt x="3083" y="126"/>
                    <a:pt x="3067" y="111"/>
                  </a:cubicBezTo>
                  <a:cubicBezTo>
                    <a:pt x="3051" y="87"/>
                    <a:pt x="3027" y="87"/>
                    <a:pt x="3011" y="63"/>
                  </a:cubicBezTo>
                  <a:cubicBezTo>
                    <a:pt x="3004" y="39"/>
                    <a:pt x="2996" y="0"/>
                    <a:pt x="3027" y="24"/>
                  </a:cubicBezTo>
                  <a:cubicBezTo>
                    <a:pt x="3059" y="39"/>
                    <a:pt x="3059" y="32"/>
                    <a:pt x="3075" y="71"/>
                  </a:cubicBezTo>
                  <a:cubicBezTo>
                    <a:pt x="3091" y="111"/>
                    <a:pt x="3106" y="126"/>
                    <a:pt x="3122" y="142"/>
                  </a:cubicBezTo>
                  <a:cubicBezTo>
                    <a:pt x="3130" y="166"/>
                    <a:pt x="3138" y="182"/>
                    <a:pt x="3162" y="229"/>
                  </a:cubicBezTo>
                  <a:cubicBezTo>
                    <a:pt x="3193" y="269"/>
                    <a:pt x="3209" y="292"/>
                    <a:pt x="3225" y="308"/>
                  </a:cubicBezTo>
                  <a:cubicBezTo>
                    <a:pt x="3241" y="324"/>
                    <a:pt x="3272" y="332"/>
                    <a:pt x="3249" y="308"/>
                  </a:cubicBezTo>
                </a:path>
              </a:pathLst>
            </a:custGeom>
            <a:grpFill/>
            <a:ln>
              <a:solidFill>
                <a:schemeClr val="bg1">
                  <a:lumMod val="95000"/>
                </a:schemeClr>
              </a:solidFill>
            </a:ln>
            <a:effectLst/>
          </p:spPr>
          <p:txBody>
            <a:bodyPr wrap="none" anchor="ctr"/>
            <a:lstStyle/>
            <a:p>
              <a:endParaRPr lang="en-US" sz="900"/>
            </a:p>
          </p:txBody>
        </p:sp>
        <p:sp>
          <p:nvSpPr>
            <p:cNvPr id="72" name="Freeform 589"/>
            <p:cNvSpPr>
              <a:spLocks noChangeArrowheads="1"/>
            </p:cNvSpPr>
            <p:nvPr/>
          </p:nvSpPr>
          <p:spPr bwMode="auto">
            <a:xfrm>
              <a:off x="14732472" y="6321427"/>
              <a:ext cx="1716286" cy="776968"/>
            </a:xfrm>
            <a:custGeom>
              <a:avLst/>
              <a:gdLst>
                <a:gd name="T0" fmla="*/ 1296 w 3265"/>
                <a:gd name="T1" fmla="*/ 1075 h 1479"/>
                <a:gd name="T2" fmla="*/ 814 w 3265"/>
                <a:gd name="T3" fmla="*/ 1083 h 1479"/>
                <a:gd name="T4" fmla="*/ 0 w 3265"/>
                <a:gd name="T5" fmla="*/ 1233 h 1479"/>
                <a:gd name="T6" fmla="*/ 165 w 3265"/>
                <a:gd name="T7" fmla="*/ 1012 h 1479"/>
                <a:gd name="T8" fmla="*/ 474 w 3265"/>
                <a:gd name="T9" fmla="*/ 798 h 1479"/>
                <a:gd name="T10" fmla="*/ 616 w 3265"/>
                <a:gd name="T11" fmla="*/ 751 h 1479"/>
                <a:gd name="T12" fmla="*/ 853 w 3265"/>
                <a:gd name="T13" fmla="*/ 538 h 1479"/>
                <a:gd name="T14" fmla="*/ 1011 w 3265"/>
                <a:gd name="T15" fmla="*/ 395 h 1479"/>
                <a:gd name="T16" fmla="*/ 3162 w 3265"/>
                <a:gd name="T17" fmla="*/ 182 h 1479"/>
                <a:gd name="T18" fmla="*/ 3114 w 3265"/>
                <a:gd name="T19" fmla="*/ 150 h 1479"/>
                <a:gd name="T20" fmla="*/ 3043 w 3265"/>
                <a:gd name="T21" fmla="*/ 87 h 1479"/>
                <a:gd name="T22" fmla="*/ 3091 w 3265"/>
                <a:gd name="T23" fmla="*/ 198 h 1479"/>
                <a:gd name="T24" fmla="*/ 2996 w 3265"/>
                <a:gd name="T25" fmla="*/ 166 h 1479"/>
                <a:gd name="T26" fmla="*/ 2830 w 3265"/>
                <a:gd name="T27" fmla="*/ 324 h 1479"/>
                <a:gd name="T28" fmla="*/ 2901 w 3265"/>
                <a:gd name="T29" fmla="*/ 308 h 1479"/>
                <a:gd name="T30" fmla="*/ 3051 w 3265"/>
                <a:gd name="T31" fmla="*/ 292 h 1479"/>
                <a:gd name="T32" fmla="*/ 3146 w 3265"/>
                <a:gd name="T33" fmla="*/ 292 h 1479"/>
                <a:gd name="T34" fmla="*/ 3154 w 3265"/>
                <a:gd name="T35" fmla="*/ 451 h 1479"/>
                <a:gd name="T36" fmla="*/ 2909 w 3265"/>
                <a:gd name="T37" fmla="*/ 577 h 1479"/>
                <a:gd name="T38" fmla="*/ 2814 w 3265"/>
                <a:gd name="T39" fmla="*/ 609 h 1479"/>
                <a:gd name="T40" fmla="*/ 2972 w 3265"/>
                <a:gd name="T41" fmla="*/ 672 h 1479"/>
                <a:gd name="T42" fmla="*/ 2846 w 3265"/>
                <a:gd name="T43" fmla="*/ 830 h 1479"/>
                <a:gd name="T44" fmla="*/ 2980 w 3265"/>
                <a:gd name="T45" fmla="*/ 719 h 1479"/>
                <a:gd name="T46" fmla="*/ 3067 w 3265"/>
                <a:gd name="T47" fmla="*/ 743 h 1479"/>
                <a:gd name="T48" fmla="*/ 3083 w 3265"/>
                <a:gd name="T49" fmla="*/ 830 h 1479"/>
                <a:gd name="T50" fmla="*/ 2980 w 3265"/>
                <a:gd name="T51" fmla="*/ 909 h 1479"/>
                <a:gd name="T52" fmla="*/ 2909 w 3265"/>
                <a:gd name="T53" fmla="*/ 956 h 1479"/>
                <a:gd name="T54" fmla="*/ 2735 w 3265"/>
                <a:gd name="T55" fmla="*/ 1051 h 1479"/>
                <a:gd name="T56" fmla="*/ 2695 w 3265"/>
                <a:gd name="T57" fmla="*/ 1067 h 1479"/>
                <a:gd name="T58" fmla="*/ 2332 w 3265"/>
                <a:gd name="T59" fmla="*/ 1455 h 1479"/>
                <a:gd name="T60" fmla="*/ 2332 w 3265"/>
                <a:gd name="T61" fmla="*/ 1455 h 1479"/>
                <a:gd name="T62" fmla="*/ 2687 w 3265"/>
                <a:gd name="T63" fmla="*/ 1067 h 1479"/>
                <a:gd name="T64" fmla="*/ 2719 w 3265"/>
                <a:gd name="T65" fmla="*/ 1059 h 1479"/>
                <a:gd name="T66" fmla="*/ 2830 w 3265"/>
                <a:gd name="T67" fmla="*/ 980 h 1479"/>
                <a:gd name="T68" fmla="*/ 2948 w 3265"/>
                <a:gd name="T69" fmla="*/ 909 h 1479"/>
                <a:gd name="T70" fmla="*/ 3019 w 3265"/>
                <a:gd name="T71" fmla="*/ 933 h 1479"/>
                <a:gd name="T72" fmla="*/ 3051 w 3265"/>
                <a:gd name="T73" fmla="*/ 798 h 1479"/>
                <a:gd name="T74" fmla="*/ 3011 w 3265"/>
                <a:gd name="T75" fmla="*/ 798 h 1479"/>
                <a:gd name="T76" fmla="*/ 2893 w 3265"/>
                <a:gd name="T77" fmla="*/ 830 h 1479"/>
                <a:gd name="T78" fmla="*/ 2933 w 3265"/>
                <a:gd name="T79" fmla="*/ 719 h 1479"/>
                <a:gd name="T80" fmla="*/ 2838 w 3265"/>
                <a:gd name="T81" fmla="*/ 625 h 1479"/>
                <a:gd name="T82" fmla="*/ 2893 w 3265"/>
                <a:gd name="T83" fmla="*/ 577 h 1479"/>
                <a:gd name="T84" fmla="*/ 3146 w 3265"/>
                <a:gd name="T85" fmla="*/ 443 h 1479"/>
                <a:gd name="T86" fmla="*/ 3177 w 3265"/>
                <a:gd name="T87" fmla="*/ 332 h 1479"/>
                <a:gd name="T88" fmla="*/ 3083 w 3265"/>
                <a:gd name="T89" fmla="*/ 340 h 1479"/>
                <a:gd name="T90" fmla="*/ 3051 w 3265"/>
                <a:gd name="T91" fmla="*/ 301 h 1479"/>
                <a:gd name="T92" fmla="*/ 2901 w 3265"/>
                <a:gd name="T93" fmla="*/ 316 h 1479"/>
                <a:gd name="T94" fmla="*/ 2766 w 3265"/>
                <a:gd name="T95" fmla="*/ 285 h 1479"/>
                <a:gd name="T96" fmla="*/ 2972 w 3265"/>
                <a:gd name="T97" fmla="*/ 237 h 1479"/>
                <a:gd name="T98" fmla="*/ 3075 w 3265"/>
                <a:gd name="T99" fmla="*/ 190 h 1479"/>
                <a:gd name="T100" fmla="*/ 3043 w 3265"/>
                <a:gd name="T101" fmla="*/ 95 h 1479"/>
                <a:gd name="T102" fmla="*/ 885 w 3265"/>
                <a:gd name="T103" fmla="*/ 514 h 1479"/>
                <a:gd name="T104" fmla="*/ 656 w 3265"/>
                <a:gd name="T105" fmla="*/ 712 h 1479"/>
                <a:gd name="T106" fmla="*/ 505 w 3265"/>
                <a:gd name="T107" fmla="*/ 783 h 1479"/>
                <a:gd name="T108" fmla="*/ 221 w 3265"/>
                <a:gd name="T109" fmla="*/ 1004 h 1479"/>
                <a:gd name="T110" fmla="*/ 7 w 3265"/>
                <a:gd name="T111" fmla="*/ 1186 h 1479"/>
                <a:gd name="T112" fmla="*/ 814 w 3265"/>
                <a:gd name="T113" fmla="*/ 1075 h 1479"/>
                <a:gd name="T114" fmla="*/ 1296 w 3265"/>
                <a:gd name="T115" fmla="*/ 1067 h 1479"/>
                <a:gd name="T116" fmla="*/ 3059 w 3265"/>
                <a:gd name="T117" fmla="*/ 395 h 1479"/>
                <a:gd name="T118" fmla="*/ 3027 w 3265"/>
                <a:gd name="T119" fmla="*/ 16 h 1479"/>
                <a:gd name="T120" fmla="*/ 3249 w 3265"/>
                <a:gd name="T121" fmla="*/ 324 h 1479"/>
                <a:gd name="T122" fmla="*/ 3059 w 3265"/>
                <a:gd name="T123" fmla="*/ 8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5" h="1479">
                  <a:moveTo>
                    <a:pt x="2300" y="1478"/>
                  </a:moveTo>
                  <a:lnTo>
                    <a:pt x="2300" y="1478"/>
                  </a:lnTo>
                  <a:cubicBezTo>
                    <a:pt x="1810" y="1107"/>
                    <a:pt x="1810" y="1107"/>
                    <a:pt x="1810" y="1107"/>
                  </a:cubicBezTo>
                  <a:cubicBezTo>
                    <a:pt x="1367" y="1178"/>
                    <a:pt x="1367" y="1178"/>
                    <a:pt x="1367" y="1178"/>
                  </a:cubicBezTo>
                  <a:lnTo>
                    <a:pt x="1367" y="1178"/>
                  </a:lnTo>
                  <a:cubicBezTo>
                    <a:pt x="1367" y="1178"/>
                    <a:pt x="1343" y="1099"/>
                    <a:pt x="1328" y="1083"/>
                  </a:cubicBezTo>
                  <a:cubicBezTo>
                    <a:pt x="1320" y="1075"/>
                    <a:pt x="1312" y="1075"/>
                    <a:pt x="1296" y="1075"/>
                  </a:cubicBezTo>
                  <a:cubicBezTo>
                    <a:pt x="1288" y="1075"/>
                    <a:pt x="1288" y="1075"/>
                    <a:pt x="1280" y="1075"/>
                  </a:cubicBezTo>
                  <a:cubicBezTo>
                    <a:pt x="1272" y="1075"/>
                    <a:pt x="1264" y="1075"/>
                    <a:pt x="1257" y="1075"/>
                  </a:cubicBezTo>
                  <a:cubicBezTo>
                    <a:pt x="1233" y="1067"/>
                    <a:pt x="1225" y="1067"/>
                    <a:pt x="1225" y="1059"/>
                  </a:cubicBezTo>
                  <a:cubicBezTo>
                    <a:pt x="1225" y="1059"/>
                    <a:pt x="1225" y="1051"/>
                    <a:pt x="1225" y="1043"/>
                  </a:cubicBezTo>
                  <a:cubicBezTo>
                    <a:pt x="1225" y="1043"/>
                    <a:pt x="1225" y="1043"/>
                    <a:pt x="1225" y="1036"/>
                  </a:cubicBezTo>
                  <a:cubicBezTo>
                    <a:pt x="1225" y="1036"/>
                    <a:pt x="1225" y="1036"/>
                    <a:pt x="1209" y="1036"/>
                  </a:cubicBezTo>
                  <a:cubicBezTo>
                    <a:pt x="1130" y="1036"/>
                    <a:pt x="837" y="1075"/>
                    <a:pt x="814" y="1083"/>
                  </a:cubicBezTo>
                  <a:cubicBezTo>
                    <a:pt x="782" y="1083"/>
                    <a:pt x="640" y="1154"/>
                    <a:pt x="584" y="1186"/>
                  </a:cubicBezTo>
                  <a:cubicBezTo>
                    <a:pt x="577" y="1194"/>
                    <a:pt x="569" y="1202"/>
                    <a:pt x="553" y="1209"/>
                  </a:cubicBezTo>
                  <a:cubicBezTo>
                    <a:pt x="529" y="1225"/>
                    <a:pt x="505" y="1249"/>
                    <a:pt x="450" y="1249"/>
                  </a:cubicBezTo>
                  <a:cubicBezTo>
                    <a:pt x="426" y="1249"/>
                    <a:pt x="308" y="1265"/>
                    <a:pt x="126" y="1281"/>
                  </a:cubicBezTo>
                  <a:cubicBezTo>
                    <a:pt x="0" y="1296"/>
                    <a:pt x="0" y="1296"/>
                    <a:pt x="0" y="1296"/>
                  </a:cubicBezTo>
                  <a:lnTo>
                    <a:pt x="0" y="1296"/>
                  </a:lnTo>
                  <a:cubicBezTo>
                    <a:pt x="0" y="1273"/>
                    <a:pt x="0" y="1249"/>
                    <a:pt x="0" y="1233"/>
                  </a:cubicBezTo>
                  <a:cubicBezTo>
                    <a:pt x="0" y="1209"/>
                    <a:pt x="0" y="1194"/>
                    <a:pt x="0" y="1186"/>
                  </a:cubicBezTo>
                  <a:cubicBezTo>
                    <a:pt x="0" y="1170"/>
                    <a:pt x="23" y="1162"/>
                    <a:pt x="47" y="1162"/>
                  </a:cubicBezTo>
                  <a:cubicBezTo>
                    <a:pt x="63" y="1162"/>
                    <a:pt x="78" y="1154"/>
                    <a:pt x="87" y="1146"/>
                  </a:cubicBezTo>
                  <a:cubicBezTo>
                    <a:pt x="102" y="1131"/>
                    <a:pt x="102" y="1115"/>
                    <a:pt x="94" y="1091"/>
                  </a:cubicBezTo>
                  <a:cubicBezTo>
                    <a:pt x="94" y="1083"/>
                    <a:pt x="94" y="1075"/>
                    <a:pt x="94" y="1067"/>
                  </a:cubicBezTo>
                  <a:cubicBezTo>
                    <a:pt x="87" y="1043"/>
                    <a:pt x="94" y="1043"/>
                    <a:pt x="110" y="1043"/>
                  </a:cubicBezTo>
                  <a:cubicBezTo>
                    <a:pt x="118" y="1043"/>
                    <a:pt x="142" y="1036"/>
                    <a:pt x="165" y="1012"/>
                  </a:cubicBezTo>
                  <a:cubicBezTo>
                    <a:pt x="189" y="1004"/>
                    <a:pt x="205" y="996"/>
                    <a:pt x="221" y="996"/>
                  </a:cubicBezTo>
                  <a:cubicBezTo>
                    <a:pt x="229" y="996"/>
                    <a:pt x="237" y="996"/>
                    <a:pt x="245" y="996"/>
                  </a:cubicBezTo>
                  <a:cubicBezTo>
                    <a:pt x="253" y="1004"/>
                    <a:pt x="260" y="1004"/>
                    <a:pt x="260" y="1004"/>
                  </a:cubicBezTo>
                  <a:cubicBezTo>
                    <a:pt x="268" y="1004"/>
                    <a:pt x="276" y="996"/>
                    <a:pt x="284" y="996"/>
                  </a:cubicBezTo>
                  <a:cubicBezTo>
                    <a:pt x="292" y="988"/>
                    <a:pt x="300" y="972"/>
                    <a:pt x="308" y="965"/>
                  </a:cubicBezTo>
                  <a:cubicBezTo>
                    <a:pt x="347" y="925"/>
                    <a:pt x="403" y="862"/>
                    <a:pt x="434" y="862"/>
                  </a:cubicBezTo>
                  <a:cubicBezTo>
                    <a:pt x="458" y="862"/>
                    <a:pt x="474" y="838"/>
                    <a:pt x="474" y="798"/>
                  </a:cubicBezTo>
                  <a:cubicBezTo>
                    <a:pt x="474" y="783"/>
                    <a:pt x="490" y="775"/>
                    <a:pt x="505" y="775"/>
                  </a:cubicBezTo>
                  <a:cubicBezTo>
                    <a:pt x="521" y="767"/>
                    <a:pt x="529" y="767"/>
                    <a:pt x="537" y="759"/>
                  </a:cubicBezTo>
                  <a:cubicBezTo>
                    <a:pt x="545" y="743"/>
                    <a:pt x="545" y="735"/>
                    <a:pt x="545" y="727"/>
                  </a:cubicBezTo>
                  <a:cubicBezTo>
                    <a:pt x="545" y="719"/>
                    <a:pt x="545" y="719"/>
                    <a:pt x="545" y="712"/>
                  </a:cubicBezTo>
                  <a:cubicBezTo>
                    <a:pt x="553" y="712"/>
                    <a:pt x="553" y="712"/>
                    <a:pt x="561" y="712"/>
                  </a:cubicBezTo>
                  <a:cubicBezTo>
                    <a:pt x="577" y="712"/>
                    <a:pt x="577" y="719"/>
                    <a:pt x="584" y="727"/>
                  </a:cubicBezTo>
                  <a:cubicBezTo>
                    <a:pt x="584" y="743"/>
                    <a:pt x="593" y="751"/>
                    <a:pt x="616" y="751"/>
                  </a:cubicBezTo>
                  <a:cubicBezTo>
                    <a:pt x="640" y="743"/>
                    <a:pt x="640" y="735"/>
                    <a:pt x="648" y="712"/>
                  </a:cubicBezTo>
                  <a:cubicBezTo>
                    <a:pt x="648" y="688"/>
                    <a:pt x="648" y="664"/>
                    <a:pt x="671" y="648"/>
                  </a:cubicBezTo>
                  <a:cubicBezTo>
                    <a:pt x="679" y="632"/>
                    <a:pt x="695" y="625"/>
                    <a:pt x="711" y="625"/>
                  </a:cubicBezTo>
                  <a:cubicBezTo>
                    <a:pt x="743" y="625"/>
                    <a:pt x="766" y="656"/>
                    <a:pt x="766" y="664"/>
                  </a:cubicBezTo>
                  <a:lnTo>
                    <a:pt x="766" y="664"/>
                  </a:lnTo>
                  <a:cubicBezTo>
                    <a:pt x="774" y="664"/>
                    <a:pt x="814" y="617"/>
                    <a:pt x="830" y="577"/>
                  </a:cubicBezTo>
                  <a:cubicBezTo>
                    <a:pt x="837" y="553"/>
                    <a:pt x="845" y="545"/>
                    <a:pt x="853" y="538"/>
                  </a:cubicBezTo>
                  <a:cubicBezTo>
                    <a:pt x="861" y="538"/>
                    <a:pt x="869" y="530"/>
                    <a:pt x="877" y="514"/>
                  </a:cubicBezTo>
                  <a:cubicBezTo>
                    <a:pt x="893" y="482"/>
                    <a:pt x="893" y="435"/>
                    <a:pt x="885" y="403"/>
                  </a:cubicBezTo>
                  <a:cubicBezTo>
                    <a:pt x="885" y="395"/>
                    <a:pt x="885" y="395"/>
                    <a:pt x="885" y="395"/>
                  </a:cubicBezTo>
                  <a:cubicBezTo>
                    <a:pt x="893" y="395"/>
                    <a:pt x="893" y="395"/>
                    <a:pt x="893" y="395"/>
                  </a:cubicBezTo>
                  <a:cubicBezTo>
                    <a:pt x="901" y="395"/>
                    <a:pt x="909" y="403"/>
                    <a:pt x="917" y="403"/>
                  </a:cubicBezTo>
                  <a:cubicBezTo>
                    <a:pt x="924" y="403"/>
                    <a:pt x="924" y="403"/>
                    <a:pt x="932" y="403"/>
                  </a:cubicBezTo>
                  <a:cubicBezTo>
                    <a:pt x="964" y="403"/>
                    <a:pt x="1011" y="395"/>
                    <a:pt x="1011" y="395"/>
                  </a:cubicBezTo>
                  <a:cubicBezTo>
                    <a:pt x="1881" y="277"/>
                    <a:pt x="2869" y="48"/>
                    <a:pt x="3059" y="0"/>
                  </a:cubicBezTo>
                  <a:cubicBezTo>
                    <a:pt x="3067" y="0"/>
                    <a:pt x="3067" y="0"/>
                    <a:pt x="3067" y="0"/>
                  </a:cubicBezTo>
                  <a:lnTo>
                    <a:pt x="3067" y="0"/>
                  </a:lnTo>
                  <a:cubicBezTo>
                    <a:pt x="3067" y="8"/>
                    <a:pt x="3075" y="16"/>
                    <a:pt x="3083" y="24"/>
                  </a:cubicBezTo>
                  <a:cubicBezTo>
                    <a:pt x="3091" y="48"/>
                    <a:pt x="3098" y="63"/>
                    <a:pt x="3106" y="79"/>
                  </a:cubicBezTo>
                  <a:cubicBezTo>
                    <a:pt x="3114" y="95"/>
                    <a:pt x="3122" y="111"/>
                    <a:pt x="3130" y="119"/>
                  </a:cubicBezTo>
                  <a:cubicBezTo>
                    <a:pt x="3138" y="134"/>
                    <a:pt x="3154" y="158"/>
                    <a:pt x="3162" y="182"/>
                  </a:cubicBezTo>
                  <a:cubicBezTo>
                    <a:pt x="3177" y="198"/>
                    <a:pt x="3186" y="221"/>
                    <a:pt x="3193" y="237"/>
                  </a:cubicBezTo>
                  <a:cubicBezTo>
                    <a:pt x="3217" y="269"/>
                    <a:pt x="3225" y="285"/>
                    <a:pt x="3249" y="308"/>
                  </a:cubicBezTo>
                  <a:cubicBezTo>
                    <a:pt x="3257" y="316"/>
                    <a:pt x="3264" y="324"/>
                    <a:pt x="3257" y="324"/>
                  </a:cubicBezTo>
                  <a:lnTo>
                    <a:pt x="3257" y="332"/>
                  </a:lnTo>
                  <a:cubicBezTo>
                    <a:pt x="3249" y="332"/>
                    <a:pt x="3233" y="316"/>
                    <a:pt x="3225" y="308"/>
                  </a:cubicBezTo>
                  <a:cubicBezTo>
                    <a:pt x="3201" y="292"/>
                    <a:pt x="3186" y="269"/>
                    <a:pt x="3162" y="229"/>
                  </a:cubicBezTo>
                  <a:cubicBezTo>
                    <a:pt x="3138" y="190"/>
                    <a:pt x="3130" y="166"/>
                    <a:pt x="3114" y="150"/>
                  </a:cubicBezTo>
                  <a:cubicBezTo>
                    <a:pt x="3114" y="142"/>
                    <a:pt x="3106" y="134"/>
                    <a:pt x="3098" y="126"/>
                  </a:cubicBezTo>
                  <a:cubicBezTo>
                    <a:pt x="3091" y="111"/>
                    <a:pt x="3083" y="95"/>
                    <a:pt x="3075" y="71"/>
                  </a:cubicBezTo>
                  <a:cubicBezTo>
                    <a:pt x="3059" y="39"/>
                    <a:pt x="3059" y="39"/>
                    <a:pt x="3035" y="32"/>
                  </a:cubicBezTo>
                  <a:lnTo>
                    <a:pt x="3027" y="24"/>
                  </a:lnTo>
                  <a:cubicBezTo>
                    <a:pt x="3011" y="16"/>
                    <a:pt x="3011" y="16"/>
                    <a:pt x="3011" y="24"/>
                  </a:cubicBezTo>
                  <a:cubicBezTo>
                    <a:pt x="3011" y="24"/>
                    <a:pt x="3004" y="32"/>
                    <a:pt x="3019" y="63"/>
                  </a:cubicBezTo>
                  <a:cubicBezTo>
                    <a:pt x="3027" y="71"/>
                    <a:pt x="3035" y="79"/>
                    <a:pt x="3043" y="87"/>
                  </a:cubicBezTo>
                  <a:cubicBezTo>
                    <a:pt x="3051" y="95"/>
                    <a:pt x="3059" y="103"/>
                    <a:pt x="3067" y="111"/>
                  </a:cubicBezTo>
                  <a:cubicBezTo>
                    <a:pt x="3083" y="119"/>
                    <a:pt x="3083" y="126"/>
                    <a:pt x="3091" y="142"/>
                  </a:cubicBezTo>
                  <a:cubicBezTo>
                    <a:pt x="3098" y="158"/>
                    <a:pt x="3106" y="182"/>
                    <a:pt x="3122" y="190"/>
                  </a:cubicBezTo>
                  <a:cubicBezTo>
                    <a:pt x="3130" y="206"/>
                    <a:pt x="3130" y="206"/>
                    <a:pt x="3130" y="214"/>
                  </a:cubicBezTo>
                  <a:cubicBezTo>
                    <a:pt x="3130" y="214"/>
                    <a:pt x="3130" y="214"/>
                    <a:pt x="3122" y="214"/>
                  </a:cubicBezTo>
                  <a:cubicBezTo>
                    <a:pt x="3114" y="214"/>
                    <a:pt x="3106" y="206"/>
                    <a:pt x="3098" y="206"/>
                  </a:cubicBezTo>
                  <a:lnTo>
                    <a:pt x="3091" y="198"/>
                  </a:lnTo>
                  <a:cubicBezTo>
                    <a:pt x="3091" y="198"/>
                    <a:pt x="3091" y="198"/>
                    <a:pt x="3083" y="198"/>
                  </a:cubicBezTo>
                  <a:cubicBezTo>
                    <a:pt x="3083" y="198"/>
                    <a:pt x="3083" y="198"/>
                    <a:pt x="3075" y="198"/>
                  </a:cubicBezTo>
                  <a:cubicBezTo>
                    <a:pt x="3075" y="198"/>
                    <a:pt x="3075" y="198"/>
                    <a:pt x="3067" y="198"/>
                  </a:cubicBezTo>
                  <a:cubicBezTo>
                    <a:pt x="3059" y="198"/>
                    <a:pt x="3043" y="190"/>
                    <a:pt x="3027" y="182"/>
                  </a:cubicBezTo>
                  <a:cubicBezTo>
                    <a:pt x="3019" y="174"/>
                    <a:pt x="3011" y="174"/>
                    <a:pt x="3011" y="166"/>
                  </a:cubicBezTo>
                  <a:cubicBezTo>
                    <a:pt x="3004" y="166"/>
                    <a:pt x="2996" y="166"/>
                    <a:pt x="2996" y="166"/>
                  </a:cubicBezTo>
                  <a:lnTo>
                    <a:pt x="2996" y="166"/>
                  </a:lnTo>
                  <a:cubicBezTo>
                    <a:pt x="2996" y="174"/>
                    <a:pt x="3004" y="182"/>
                    <a:pt x="3011" y="190"/>
                  </a:cubicBezTo>
                  <a:cubicBezTo>
                    <a:pt x="3027" y="198"/>
                    <a:pt x="3027" y="206"/>
                    <a:pt x="3027" y="214"/>
                  </a:cubicBezTo>
                  <a:cubicBezTo>
                    <a:pt x="3019" y="221"/>
                    <a:pt x="3004" y="237"/>
                    <a:pt x="2980" y="245"/>
                  </a:cubicBezTo>
                  <a:cubicBezTo>
                    <a:pt x="2940" y="245"/>
                    <a:pt x="2924" y="253"/>
                    <a:pt x="2917" y="285"/>
                  </a:cubicBezTo>
                  <a:cubicBezTo>
                    <a:pt x="2909" y="301"/>
                    <a:pt x="2885" y="308"/>
                    <a:pt x="2869" y="308"/>
                  </a:cubicBezTo>
                  <a:cubicBezTo>
                    <a:pt x="2861" y="308"/>
                    <a:pt x="2853" y="316"/>
                    <a:pt x="2846" y="316"/>
                  </a:cubicBezTo>
                  <a:cubicBezTo>
                    <a:pt x="2838" y="324"/>
                    <a:pt x="2838" y="324"/>
                    <a:pt x="2830" y="324"/>
                  </a:cubicBezTo>
                  <a:cubicBezTo>
                    <a:pt x="2830" y="324"/>
                    <a:pt x="2822" y="324"/>
                    <a:pt x="2814" y="316"/>
                  </a:cubicBezTo>
                  <a:cubicBezTo>
                    <a:pt x="2814" y="316"/>
                    <a:pt x="2806" y="308"/>
                    <a:pt x="2798" y="308"/>
                  </a:cubicBezTo>
                  <a:cubicBezTo>
                    <a:pt x="2782" y="308"/>
                    <a:pt x="2774" y="301"/>
                    <a:pt x="2766" y="301"/>
                  </a:cubicBezTo>
                  <a:cubicBezTo>
                    <a:pt x="2774" y="308"/>
                    <a:pt x="2790" y="332"/>
                    <a:pt x="2830" y="348"/>
                  </a:cubicBezTo>
                  <a:cubicBezTo>
                    <a:pt x="2830" y="356"/>
                    <a:pt x="2838" y="356"/>
                    <a:pt x="2846" y="356"/>
                  </a:cubicBezTo>
                  <a:cubicBezTo>
                    <a:pt x="2869" y="356"/>
                    <a:pt x="2885" y="332"/>
                    <a:pt x="2893" y="316"/>
                  </a:cubicBezTo>
                  <a:cubicBezTo>
                    <a:pt x="2893" y="308"/>
                    <a:pt x="2901" y="308"/>
                    <a:pt x="2901" y="308"/>
                  </a:cubicBezTo>
                  <a:cubicBezTo>
                    <a:pt x="2909" y="308"/>
                    <a:pt x="2917" y="316"/>
                    <a:pt x="2933" y="324"/>
                  </a:cubicBezTo>
                  <a:cubicBezTo>
                    <a:pt x="2940" y="324"/>
                    <a:pt x="2948" y="332"/>
                    <a:pt x="2956" y="332"/>
                  </a:cubicBezTo>
                  <a:cubicBezTo>
                    <a:pt x="2956" y="332"/>
                    <a:pt x="2956" y="332"/>
                    <a:pt x="2956" y="324"/>
                  </a:cubicBezTo>
                  <a:cubicBezTo>
                    <a:pt x="2964" y="308"/>
                    <a:pt x="2972" y="301"/>
                    <a:pt x="2988" y="301"/>
                  </a:cubicBezTo>
                  <a:cubicBezTo>
                    <a:pt x="2996" y="292"/>
                    <a:pt x="3004" y="292"/>
                    <a:pt x="3011" y="285"/>
                  </a:cubicBezTo>
                  <a:cubicBezTo>
                    <a:pt x="3019" y="277"/>
                    <a:pt x="3027" y="277"/>
                    <a:pt x="3027" y="277"/>
                  </a:cubicBezTo>
                  <a:cubicBezTo>
                    <a:pt x="3035" y="277"/>
                    <a:pt x="3043" y="285"/>
                    <a:pt x="3051" y="292"/>
                  </a:cubicBezTo>
                  <a:cubicBezTo>
                    <a:pt x="3059" y="301"/>
                    <a:pt x="3067" y="308"/>
                    <a:pt x="3067" y="316"/>
                  </a:cubicBezTo>
                  <a:cubicBezTo>
                    <a:pt x="3075" y="316"/>
                    <a:pt x="3075" y="324"/>
                    <a:pt x="3075" y="324"/>
                  </a:cubicBezTo>
                  <a:cubicBezTo>
                    <a:pt x="3083" y="324"/>
                    <a:pt x="3083" y="316"/>
                    <a:pt x="3091" y="316"/>
                  </a:cubicBezTo>
                  <a:cubicBezTo>
                    <a:pt x="3098" y="316"/>
                    <a:pt x="3098" y="316"/>
                    <a:pt x="3098" y="308"/>
                  </a:cubicBezTo>
                  <a:cubicBezTo>
                    <a:pt x="3098" y="292"/>
                    <a:pt x="3114" y="285"/>
                    <a:pt x="3130" y="285"/>
                  </a:cubicBezTo>
                  <a:cubicBezTo>
                    <a:pt x="3138" y="285"/>
                    <a:pt x="3138" y="285"/>
                    <a:pt x="3146" y="285"/>
                  </a:cubicBezTo>
                  <a:cubicBezTo>
                    <a:pt x="3146" y="292"/>
                    <a:pt x="3146" y="292"/>
                    <a:pt x="3146" y="292"/>
                  </a:cubicBezTo>
                  <a:cubicBezTo>
                    <a:pt x="3154" y="292"/>
                    <a:pt x="3177" y="301"/>
                    <a:pt x="3186" y="332"/>
                  </a:cubicBezTo>
                  <a:cubicBezTo>
                    <a:pt x="3186" y="348"/>
                    <a:pt x="3186" y="372"/>
                    <a:pt x="3193" y="395"/>
                  </a:cubicBezTo>
                  <a:cubicBezTo>
                    <a:pt x="3193" y="403"/>
                    <a:pt x="3193" y="411"/>
                    <a:pt x="3193" y="427"/>
                  </a:cubicBezTo>
                  <a:cubicBezTo>
                    <a:pt x="3201" y="435"/>
                    <a:pt x="3193" y="443"/>
                    <a:pt x="3193" y="451"/>
                  </a:cubicBezTo>
                  <a:cubicBezTo>
                    <a:pt x="3186" y="459"/>
                    <a:pt x="3177" y="459"/>
                    <a:pt x="3170" y="459"/>
                  </a:cubicBezTo>
                  <a:cubicBezTo>
                    <a:pt x="3162" y="459"/>
                    <a:pt x="3162" y="459"/>
                    <a:pt x="3162" y="459"/>
                  </a:cubicBezTo>
                  <a:cubicBezTo>
                    <a:pt x="3162" y="459"/>
                    <a:pt x="3154" y="459"/>
                    <a:pt x="3154" y="451"/>
                  </a:cubicBezTo>
                  <a:cubicBezTo>
                    <a:pt x="3146" y="451"/>
                    <a:pt x="3146" y="451"/>
                    <a:pt x="3146" y="451"/>
                  </a:cubicBezTo>
                  <a:cubicBezTo>
                    <a:pt x="3138" y="451"/>
                    <a:pt x="3138" y="459"/>
                    <a:pt x="3130" y="490"/>
                  </a:cubicBezTo>
                  <a:cubicBezTo>
                    <a:pt x="3130" y="561"/>
                    <a:pt x="3067" y="601"/>
                    <a:pt x="3059" y="601"/>
                  </a:cubicBezTo>
                  <a:cubicBezTo>
                    <a:pt x="3051" y="601"/>
                    <a:pt x="3043" y="601"/>
                    <a:pt x="3027" y="601"/>
                  </a:cubicBezTo>
                  <a:cubicBezTo>
                    <a:pt x="3019" y="601"/>
                    <a:pt x="3004" y="601"/>
                    <a:pt x="2972" y="593"/>
                  </a:cubicBezTo>
                  <a:cubicBezTo>
                    <a:pt x="2933" y="585"/>
                    <a:pt x="2924" y="585"/>
                    <a:pt x="2924" y="577"/>
                  </a:cubicBezTo>
                  <a:cubicBezTo>
                    <a:pt x="2917" y="577"/>
                    <a:pt x="2917" y="577"/>
                    <a:pt x="2909" y="577"/>
                  </a:cubicBezTo>
                  <a:cubicBezTo>
                    <a:pt x="2909" y="569"/>
                    <a:pt x="2901" y="569"/>
                    <a:pt x="2901" y="569"/>
                  </a:cubicBezTo>
                  <a:cubicBezTo>
                    <a:pt x="2901" y="569"/>
                    <a:pt x="2901" y="569"/>
                    <a:pt x="2893" y="577"/>
                  </a:cubicBezTo>
                  <a:cubicBezTo>
                    <a:pt x="2893" y="585"/>
                    <a:pt x="2893" y="593"/>
                    <a:pt x="2877" y="601"/>
                  </a:cubicBezTo>
                  <a:cubicBezTo>
                    <a:pt x="2869" y="609"/>
                    <a:pt x="2861" y="609"/>
                    <a:pt x="2853" y="609"/>
                  </a:cubicBezTo>
                  <a:cubicBezTo>
                    <a:pt x="2846" y="609"/>
                    <a:pt x="2846" y="609"/>
                    <a:pt x="2838" y="609"/>
                  </a:cubicBezTo>
                  <a:lnTo>
                    <a:pt x="2830" y="609"/>
                  </a:lnTo>
                  <a:cubicBezTo>
                    <a:pt x="2822" y="609"/>
                    <a:pt x="2814" y="609"/>
                    <a:pt x="2814" y="609"/>
                  </a:cubicBezTo>
                  <a:lnTo>
                    <a:pt x="2814" y="609"/>
                  </a:lnTo>
                  <a:cubicBezTo>
                    <a:pt x="2814" y="617"/>
                    <a:pt x="2830" y="617"/>
                    <a:pt x="2846" y="625"/>
                  </a:cubicBezTo>
                  <a:cubicBezTo>
                    <a:pt x="2861" y="625"/>
                    <a:pt x="2877" y="632"/>
                    <a:pt x="2893" y="632"/>
                  </a:cubicBezTo>
                  <a:cubicBezTo>
                    <a:pt x="2909" y="640"/>
                    <a:pt x="2917" y="640"/>
                    <a:pt x="2924" y="640"/>
                  </a:cubicBezTo>
                  <a:cubicBezTo>
                    <a:pt x="2940" y="648"/>
                    <a:pt x="2940" y="648"/>
                    <a:pt x="2956" y="656"/>
                  </a:cubicBezTo>
                  <a:cubicBezTo>
                    <a:pt x="2964" y="664"/>
                    <a:pt x="2964" y="664"/>
                    <a:pt x="2964" y="664"/>
                  </a:cubicBezTo>
                  <a:cubicBezTo>
                    <a:pt x="2972" y="664"/>
                    <a:pt x="2972" y="672"/>
                    <a:pt x="2972" y="672"/>
                  </a:cubicBezTo>
                  <a:cubicBezTo>
                    <a:pt x="2972" y="680"/>
                    <a:pt x="2972" y="688"/>
                    <a:pt x="2964" y="696"/>
                  </a:cubicBezTo>
                  <a:cubicBezTo>
                    <a:pt x="2956" y="704"/>
                    <a:pt x="2948" y="712"/>
                    <a:pt x="2940" y="727"/>
                  </a:cubicBezTo>
                  <a:cubicBezTo>
                    <a:pt x="2933" y="735"/>
                    <a:pt x="2933" y="751"/>
                    <a:pt x="2924" y="759"/>
                  </a:cubicBezTo>
                  <a:cubicBezTo>
                    <a:pt x="2924" y="767"/>
                    <a:pt x="2917" y="775"/>
                    <a:pt x="2909" y="798"/>
                  </a:cubicBezTo>
                  <a:cubicBezTo>
                    <a:pt x="2893" y="822"/>
                    <a:pt x="2877" y="822"/>
                    <a:pt x="2861" y="822"/>
                  </a:cubicBezTo>
                  <a:cubicBezTo>
                    <a:pt x="2853" y="822"/>
                    <a:pt x="2853" y="822"/>
                    <a:pt x="2846" y="830"/>
                  </a:cubicBezTo>
                  <a:lnTo>
                    <a:pt x="2846" y="830"/>
                  </a:lnTo>
                  <a:cubicBezTo>
                    <a:pt x="2846" y="830"/>
                    <a:pt x="2846" y="830"/>
                    <a:pt x="2853" y="830"/>
                  </a:cubicBezTo>
                  <a:cubicBezTo>
                    <a:pt x="2861" y="830"/>
                    <a:pt x="2877" y="830"/>
                    <a:pt x="2885" y="822"/>
                  </a:cubicBezTo>
                  <a:cubicBezTo>
                    <a:pt x="2909" y="822"/>
                    <a:pt x="2917" y="814"/>
                    <a:pt x="2924" y="806"/>
                  </a:cubicBezTo>
                  <a:cubicBezTo>
                    <a:pt x="2933" y="806"/>
                    <a:pt x="2940" y="798"/>
                    <a:pt x="2956" y="798"/>
                  </a:cubicBezTo>
                  <a:cubicBezTo>
                    <a:pt x="2972" y="791"/>
                    <a:pt x="2972" y="783"/>
                    <a:pt x="2972" y="759"/>
                  </a:cubicBezTo>
                  <a:cubicBezTo>
                    <a:pt x="2972" y="759"/>
                    <a:pt x="2972" y="743"/>
                    <a:pt x="2972" y="735"/>
                  </a:cubicBezTo>
                  <a:cubicBezTo>
                    <a:pt x="2972" y="735"/>
                    <a:pt x="2972" y="719"/>
                    <a:pt x="2980" y="719"/>
                  </a:cubicBezTo>
                  <a:cubicBezTo>
                    <a:pt x="2996" y="719"/>
                    <a:pt x="3004" y="743"/>
                    <a:pt x="3004" y="759"/>
                  </a:cubicBezTo>
                  <a:cubicBezTo>
                    <a:pt x="3004" y="783"/>
                    <a:pt x="3004" y="783"/>
                    <a:pt x="3019" y="798"/>
                  </a:cubicBezTo>
                  <a:lnTo>
                    <a:pt x="3019" y="798"/>
                  </a:lnTo>
                  <a:cubicBezTo>
                    <a:pt x="3019" y="806"/>
                    <a:pt x="3019" y="806"/>
                    <a:pt x="3019" y="806"/>
                  </a:cubicBezTo>
                  <a:cubicBezTo>
                    <a:pt x="3027" y="806"/>
                    <a:pt x="3027" y="791"/>
                    <a:pt x="3027" y="783"/>
                  </a:cubicBezTo>
                  <a:cubicBezTo>
                    <a:pt x="3035" y="775"/>
                    <a:pt x="3035" y="759"/>
                    <a:pt x="3051" y="751"/>
                  </a:cubicBezTo>
                  <a:cubicBezTo>
                    <a:pt x="3059" y="743"/>
                    <a:pt x="3059" y="743"/>
                    <a:pt x="3067" y="743"/>
                  </a:cubicBezTo>
                  <a:cubicBezTo>
                    <a:pt x="3067" y="751"/>
                    <a:pt x="3067" y="759"/>
                    <a:pt x="3067" y="775"/>
                  </a:cubicBezTo>
                  <a:cubicBezTo>
                    <a:pt x="3059" y="783"/>
                    <a:pt x="3059" y="791"/>
                    <a:pt x="3059" y="798"/>
                  </a:cubicBezTo>
                  <a:cubicBezTo>
                    <a:pt x="3059" y="806"/>
                    <a:pt x="3059" y="806"/>
                    <a:pt x="3059" y="806"/>
                  </a:cubicBezTo>
                  <a:lnTo>
                    <a:pt x="3059" y="806"/>
                  </a:lnTo>
                  <a:cubicBezTo>
                    <a:pt x="3067" y="806"/>
                    <a:pt x="3067" y="798"/>
                    <a:pt x="3075" y="798"/>
                  </a:cubicBezTo>
                  <a:cubicBezTo>
                    <a:pt x="3083" y="791"/>
                    <a:pt x="3091" y="798"/>
                    <a:pt x="3098" y="806"/>
                  </a:cubicBezTo>
                  <a:cubicBezTo>
                    <a:pt x="3098" y="806"/>
                    <a:pt x="3098" y="822"/>
                    <a:pt x="3083" y="830"/>
                  </a:cubicBezTo>
                  <a:cubicBezTo>
                    <a:pt x="3067" y="846"/>
                    <a:pt x="3043" y="893"/>
                    <a:pt x="3027" y="933"/>
                  </a:cubicBezTo>
                  <a:cubicBezTo>
                    <a:pt x="3019" y="965"/>
                    <a:pt x="3011" y="972"/>
                    <a:pt x="3011" y="972"/>
                  </a:cubicBezTo>
                  <a:cubicBezTo>
                    <a:pt x="3004" y="972"/>
                    <a:pt x="3004" y="965"/>
                    <a:pt x="3004" y="965"/>
                  </a:cubicBezTo>
                  <a:cubicBezTo>
                    <a:pt x="3004" y="965"/>
                    <a:pt x="3004" y="956"/>
                    <a:pt x="2996" y="956"/>
                  </a:cubicBezTo>
                  <a:cubicBezTo>
                    <a:pt x="2996" y="949"/>
                    <a:pt x="2996" y="941"/>
                    <a:pt x="2996" y="933"/>
                  </a:cubicBezTo>
                  <a:cubicBezTo>
                    <a:pt x="2996" y="925"/>
                    <a:pt x="2996" y="917"/>
                    <a:pt x="2988" y="909"/>
                  </a:cubicBezTo>
                  <a:cubicBezTo>
                    <a:pt x="2980" y="909"/>
                    <a:pt x="2980" y="909"/>
                    <a:pt x="2980" y="909"/>
                  </a:cubicBezTo>
                  <a:lnTo>
                    <a:pt x="2980" y="909"/>
                  </a:lnTo>
                  <a:cubicBezTo>
                    <a:pt x="2972" y="909"/>
                    <a:pt x="2964" y="917"/>
                    <a:pt x="2948" y="917"/>
                  </a:cubicBezTo>
                  <a:cubicBezTo>
                    <a:pt x="2933" y="917"/>
                    <a:pt x="2924" y="917"/>
                    <a:pt x="2924" y="909"/>
                  </a:cubicBezTo>
                  <a:lnTo>
                    <a:pt x="2924" y="909"/>
                  </a:lnTo>
                  <a:cubicBezTo>
                    <a:pt x="2917" y="909"/>
                    <a:pt x="2917" y="909"/>
                    <a:pt x="2917" y="909"/>
                  </a:cubicBezTo>
                  <a:cubicBezTo>
                    <a:pt x="2917" y="917"/>
                    <a:pt x="2917" y="925"/>
                    <a:pt x="2917" y="933"/>
                  </a:cubicBezTo>
                  <a:cubicBezTo>
                    <a:pt x="2917" y="941"/>
                    <a:pt x="2924" y="949"/>
                    <a:pt x="2909" y="956"/>
                  </a:cubicBezTo>
                  <a:cubicBezTo>
                    <a:pt x="2909" y="965"/>
                    <a:pt x="2885" y="965"/>
                    <a:pt x="2869" y="972"/>
                  </a:cubicBezTo>
                  <a:cubicBezTo>
                    <a:pt x="2853" y="980"/>
                    <a:pt x="2846" y="980"/>
                    <a:pt x="2838" y="988"/>
                  </a:cubicBezTo>
                  <a:cubicBezTo>
                    <a:pt x="2830" y="988"/>
                    <a:pt x="2830" y="988"/>
                    <a:pt x="2822" y="988"/>
                  </a:cubicBezTo>
                  <a:cubicBezTo>
                    <a:pt x="2806" y="988"/>
                    <a:pt x="2790" y="980"/>
                    <a:pt x="2782" y="972"/>
                  </a:cubicBezTo>
                  <a:lnTo>
                    <a:pt x="2774" y="972"/>
                  </a:lnTo>
                  <a:cubicBezTo>
                    <a:pt x="2774" y="972"/>
                    <a:pt x="2766" y="980"/>
                    <a:pt x="2758" y="1004"/>
                  </a:cubicBezTo>
                  <a:cubicBezTo>
                    <a:pt x="2758" y="1020"/>
                    <a:pt x="2743" y="1036"/>
                    <a:pt x="2735" y="1051"/>
                  </a:cubicBezTo>
                  <a:cubicBezTo>
                    <a:pt x="2735" y="1051"/>
                    <a:pt x="2735" y="1059"/>
                    <a:pt x="2727" y="1059"/>
                  </a:cubicBezTo>
                  <a:cubicBezTo>
                    <a:pt x="2727" y="1059"/>
                    <a:pt x="2727" y="1067"/>
                    <a:pt x="2719" y="1067"/>
                  </a:cubicBezTo>
                  <a:cubicBezTo>
                    <a:pt x="2711" y="1067"/>
                    <a:pt x="2695" y="1051"/>
                    <a:pt x="2687" y="1036"/>
                  </a:cubicBezTo>
                  <a:cubicBezTo>
                    <a:pt x="2680" y="1036"/>
                    <a:pt x="2680" y="1028"/>
                    <a:pt x="2687" y="1020"/>
                  </a:cubicBezTo>
                  <a:cubicBezTo>
                    <a:pt x="2680" y="1020"/>
                    <a:pt x="2680" y="1020"/>
                    <a:pt x="2680" y="1020"/>
                  </a:cubicBezTo>
                  <a:cubicBezTo>
                    <a:pt x="2680" y="1028"/>
                    <a:pt x="2680" y="1043"/>
                    <a:pt x="2687" y="1059"/>
                  </a:cubicBezTo>
                  <a:cubicBezTo>
                    <a:pt x="2687" y="1059"/>
                    <a:pt x="2687" y="1059"/>
                    <a:pt x="2695" y="1067"/>
                  </a:cubicBezTo>
                  <a:cubicBezTo>
                    <a:pt x="2695" y="1075"/>
                    <a:pt x="2703" y="1075"/>
                    <a:pt x="2703" y="1083"/>
                  </a:cubicBezTo>
                  <a:cubicBezTo>
                    <a:pt x="2703" y="1091"/>
                    <a:pt x="2695" y="1099"/>
                    <a:pt x="2687" y="1107"/>
                  </a:cubicBezTo>
                  <a:cubicBezTo>
                    <a:pt x="2656" y="1123"/>
                    <a:pt x="2529" y="1296"/>
                    <a:pt x="2521" y="1368"/>
                  </a:cubicBezTo>
                  <a:cubicBezTo>
                    <a:pt x="2521" y="1431"/>
                    <a:pt x="2498" y="1431"/>
                    <a:pt x="2458" y="1431"/>
                  </a:cubicBezTo>
                  <a:cubicBezTo>
                    <a:pt x="2450" y="1431"/>
                    <a:pt x="2442" y="1431"/>
                    <a:pt x="2427" y="1431"/>
                  </a:cubicBezTo>
                  <a:cubicBezTo>
                    <a:pt x="2395" y="1439"/>
                    <a:pt x="2387" y="1439"/>
                    <a:pt x="2371" y="1447"/>
                  </a:cubicBezTo>
                  <a:cubicBezTo>
                    <a:pt x="2363" y="1447"/>
                    <a:pt x="2347" y="1455"/>
                    <a:pt x="2332" y="1455"/>
                  </a:cubicBezTo>
                  <a:cubicBezTo>
                    <a:pt x="2316" y="1462"/>
                    <a:pt x="2308" y="1471"/>
                    <a:pt x="2300" y="1471"/>
                  </a:cubicBezTo>
                  <a:lnTo>
                    <a:pt x="2300" y="1478"/>
                  </a:lnTo>
                  <a:close/>
                  <a:moveTo>
                    <a:pt x="1810" y="1099"/>
                  </a:moveTo>
                  <a:lnTo>
                    <a:pt x="1810" y="1099"/>
                  </a:lnTo>
                  <a:lnTo>
                    <a:pt x="1810" y="1099"/>
                  </a:lnTo>
                  <a:cubicBezTo>
                    <a:pt x="2300" y="1462"/>
                    <a:pt x="2300" y="1462"/>
                    <a:pt x="2300" y="1462"/>
                  </a:cubicBezTo>
                  <a:cubicBezTo>
                    <a:pt x="2308" y="1462"/>
                    <a:pt x="2316" y="1455"/>
                    <a:pt x="2332" y="1455"/>
                  </a:cubicBezTo>
                  <a:cubicBezTo>
                    <a:pt x="2347" y="1447"/>
                    <a:pt x="2355" y="1447"/>
                    <a:pt x="2363" y="1439"/>
                  </a:cubicBezTo>
                  <a:cubicBezTo>
                    <a:pt x="2387" y="1431"/>
                    <a:pt x="2387" y="1431"/>
                    <a:pt x="2427" y="1423"/>
                  </a:cubicBezTo>
                  <a:cubicBezTo>
                    <a:pt x="2442" y="1423"/>
                    <a:pt x="2450" y="1423"/>
                    <a:pt x="2458" y="1423"/>
                  </a:cubicBezTo>
                  <a:cubicBezTo>
                    <a:pt x="2498" y="1423"/>
                    <a:pt x="2513" y="1423"/>
                    <a:pt x="2521" y="1368"/>
                  </a:cubicBezTo>
                  <a:cubicBezTo>
                    <a:pt x="2521" y="1296"/>
                    <a:pt x="2648" y="1115"/>
                    <a:pt x="2680" y="1099"/>
                  </a:cubicBezTo>
                  <a:cubicBezTo>
                    <a:pt x="2687" y="1091"/>
                    <a:pt x="2695" y="1091"/>
                    <a:pt x="2695" y="1083"/>
                  </a:cubicBezTo>
                  <a:cubicBezTo>
                    <a:pt x="2695" y="1083"/>
                    <a:pt x="2687" y="1075"/>
                    <a:pt x="2687" y="1067"/>
                  </a:cubicBezTo>
                  <a:cubicBezTo>
                    <a:pt x="2687" y="1067"/>
                    <a:pt x="2680" y="1067"/>
                    <a:pt x="2680" y="1059"/>
                  </a:cubicBezTo>
                  <a:cubicBezTo>
                    <a:pt x="2671" y="1051"/>
                    <a:pt x="2671" y="1028"/>
                    <a:pt x="2680" y="1020"/>
                  </a:cubicBezTo>
                  <a:lnTo>
                    <a:pt x="2680" y="1012"/>
                  </a:lnTo>
                  <a:cubicBezTo>
                    <a:pt x="2687" y="1012"/>
                    <a:pt x="2687" y="1012"/>
                    <a:pt x="2687" y="1012"/>
                  </a:cubicBezTo>
                  <a:cubicBezTo>
                    <a:pt x="2695" y="1020"/>
                    <a:pt x="2687" y="1020"/>
                    <a:pt x="2687" y="1020"/>
                  </a:cubicBezTo>
                  <a:cubicBezTo>
                    <a:pt x="2687" y="1028"/>
                    <a:pt x="2687" y="1028"/>
                    <a:pt x="2695" y="1036"/>
                  </a:cubicBezTo>
                  <a:cubicBezTo>
                    <a:pt x="2703" y="1043"/>
                    <a:pt x="2711" y="1059"/>
                    <a:pt x="2719" y="1059"/>
                  </a:cubicBezTo>
                  <a:lnTo>
                    <a:pt x="2727" y="1059"/>
                  </a:lnTo>
                  <a:cubicBezTo>
                    <a:pt x="2727" y="1051"/>
                    <a:pt x="2727" y="1051"/>
                    <a:pt x="2735" y="1043"/>
                  </a:cubicBezTo>
                  <a:cubicBezTo>
                    <a:pt x="2735" y="1036"/>
                    <a:pt x="2751" y="1020"/>
                    <a:pt x="2751" y="1004"/>
                  </a:cubicBezTo>
                  <a:cubicBezTo>
                    <a:pt x="2758" y="980"/>
                    <a:pt x="2766" y="965"/>
                    <a:pt x="2774" y="965"/>
                  </a:cubicBezTo>
                  <a:cubicBezTo>
                    <a:pt x="2782" y="965"/>
                    <a:pt x="2782" y="965"/>
                    <a:pt x="2782" y="972"/>
                  </a:cubicBezTo>
                  <a:cubicBezTo>
                    <a:pt x="2790" y="980"/>
                    <a:pt x="2806" y="980"/>
                    <a:pt x="2822" y="980"/>
                  </a:cubicBezTo>
                  <a:cubicBezTo>
                    <a:pt x="2830" y="980"/>
                    <a:pt x="2830" y="980"/>
                    <a:pt x="2830" y="980"/>
                  </a:cubicBezTo>
                  <a:cubicBezTo>
                    <a:pt x="2838" y="972"/>
                    <a:pt x="2853" y="972"/>
                    <a:pt x="2869" y="965"/>
                  </a:cubicBezTo>
                  <a:cubicBezTo>
                    <a:pt x="2885" y="965"/>
                    <a:pt x="2901" y="956"/>
                    <a:pt x="2909" y="949"/>
                  </a:cubicBezTo>
                  <a:cubicBezTo>
                    <a:pt x="2917" y="949"/>
                    <a:pt x="2909" y="941"/>
                    <a:pt x="2909" y="933"/>
                  </a:cubicBezTo>
                  <a:cubicBezTo>
                    <a:pt x="2909" y="925"/>
                    <a:pt x="2909" y="917"/>
                    <a:pt x="2917" y="909"/>
                  </a:cubicBezTo>
                  <a:cubicBezTo>
                    <a:pt x="2917" y="909"/>
                    <a:pt x="2917" y="901"/>
                    <a:pt x="2924" y="901"/>
                  </a:cubicBezTo>
                  <a:cubicBezTo>
                    <a:pt x="2924" y="901"/>
                    <a:pt x="2924" y="901"/>
                    <a:pt x="2924" y="909"/>
                  </a:cubicBezTo>
                  <a:cubicBezTo>
                    <a:pt x="2933" y="909"/>
                    <a:pt x="2933" y="909"/>
                    <a:pt x="2948" y="909"/>
                  </a:cubicBezTo>
                  <a:cubicBezTo>
                    <a:pt x="2964" y="909"/>
                    <a:pt x="2972" y="909"/>
                    <a:pt x="2972" y="901"/>
                  </a:cubicBezTo>
                  <a:cubicBezTo>
                    <a:pt x="2980" y="901"/>
                    <a:pt x="2980" y="901"/>
                    <a:pt x="2980" y="901"/>
                  </a:cubicBezTo>
                  <a:cubicBezTo>
                    <a:pt x="2988" y="901"/>
                    <a:pt x="2988" y="901"/>
                    <a:pt x="2996" y="909"/>
                  </a:cubicBezTo>
                  <a:cubicBezTo>
                    <a:pt x="3004" y="917"/>
                    <a:pt x="3004" y="925"/>
                    <a:pt x="3004" y="933"/>
                  </a:cubicBezTo>
                  <a:cubicBezTo>
                    <a:pt x="3004" y="941"/>
                    <a:pt x="3004" y="949"/>
                    <a:pt x="3004" y="956"/>
                  </a:cubicBezTo>
                  <a:cubicBezTo>
                    <a:pt x="3004" y="956"/>
                    <a:pt x="3011" y="956"/>
                    <a:pt x="3011" y="965"/>
                  </a:cubicBezTo>
                  <a:cubicBezTo>
                    <a:pt x="3011" y="956"/>
                    <a:pt x="3019" y="941"/>
                    <a:pt x="3019" y="933"/>
                  </a:cubicBezTo>
                  <a:cubicBezTo>
                    <a:pt x="3035" y="885"/>
                    <a:pt x="3067" y="838"/>
                    <a:pt x="3083" y="822"/>
                  </a:cubicBezTo>
                  <a:cubicBezTo>
                    <a:pt x="3091" y="814"/>
                    <a:pt x="3091" y="806"/>
                    <a:pt x="3091" y="806"/>
                  </a:cubicBezTo>
                  <a:cubicBezTo>
                    <a:pt x="3091" y="806"/>
                    <a:pt x="3083" y="798"/>
                    <a:pt x="3075" y="806"/>
                  </a:cubicBezTo>
                  <a:lnTo>
                    <a:pt x="3067" y="814"/>
                  </a:lnTo>
                  <a:lnTo>
                    <a:pt x="3059" y="822"/>
                  </a:lnTo>
                  <a:cubicBezTo>
                    <a:pt x="3059" y="822"/>
                    <a:pt x="3059" y="814"/>
                    <a:pt x="3051" y="814"/>
                  </a:cubicBezTo>
                  <a:cubicBezTo>
                    <a:pt x="3051" y="814"/>
                    <a:pt x="3051" y="806"/>
                    <a:pt x="3051" y="798"/>
                  </a:cubicBezTo>
                  <a:cubicBezTo>
                    <a:pt x="3051" y="791"/>
                    <a:pt x="3051" y="783"/>
                    <a:pt x="3059" y="775"/>
                  </a:cubicBezTo>
                  <a:cubicBezTo>
                    <a:pt x="3059" y="767"/>
                    <a:pt x="3059" y="751"/>
                    <a:pt x="3059" y="751"/>
                  </a:cubicBezTo>
                  <a:cubicBezTo>
                    <a:pt x="3059" y="751"/>
                    <a:pt x="3059" y="751"/>
                    <a:pt x="3051" y="751"/>
                  </a:cubicBezTo>
                  <a:cubicBezTo>
                    <a:pt x="3043" y="759"/>
                    <a:pt x="3043" y="775"/>
                    <a:pt x="3035" y="791"/>
                  </a:cubicBezTo>
                  <a:cubicBezTo>
                    <a:pt x="3035" y="798"/>
                    <a:pt x="3027" y="806"/>
                    <a:pt x="3019" y="806"/>
                  </a:cubicBezTo>
                  <a:cubicBezTo>
                    <a:pt x="3019" y="806"/>
                    <a:pt x="3019" y="806"/>
                    <a:pt x="3011" y="806"/>
                  </a:cubicBezTo>
                  <a:cubicBezTo>
                    <a:pt x="3011" y="798"/>
                    <a:pt x="3011" y="798"/>
                    <a:pt x="3011" y="798"/>
                  </a:cubicBezTo>
                  <a:cubicBezTo>
                    <a:pt x="2996" y="783"/>
                    <a:pt x="2996" y="783"/>
                    <a:pt x="2996" y="759"/>
                  </a:cubicBezTo>
                  <a:cubicBezTo>
                    <a:pt x="2996" y="743"/>
                    <a:pt x="2988" y="727"/>
                    <a:pt x="2980" y="727"/>
                  </a:cubicBezTo>
                  <a:cubicBezTo>
                    <a:pt x="2980" y="727"/>
                    <a:pt x="2980" y="727"/>
                    <a:pt x="2980" y="735"/>
                  </a:cubicBezTo>
                  <a:cubicBezTo>
                    <a:pt x="2980" y="751"/>
                    <a:pt x="2980" y="759"/>
                    <a:pt x="2980" y="759"/>
                  </a:cubicBezTo>
                  <a:cubicBezTo>
                    <a:pt x="2980" y="783"/>
                    <a:pt x="2980" y="798"/>
                    <a:pt x="2956" y="806"/>
                  </a:cubicBezTo>
                  <a:cubicBezTo>
                    <a:pt x="2948" y="806"/>
                    <a:pt x="2940" y="814"/>
                    <a:pt x="2933" y="814"/>
                  </a:cubicBezTo>
                  <a:cubicBezTo>
                    <a:pt x="2917" y="822"/>
                    <a:pt x="2909" y="830"/>
                    <a:pt x="2893" y="830"/>
                  </a:cubicBezTo>
                  <a:cubicBezTo>
                    <a:pt x="2877" y="830"/>
                    <a:pt x="2861" y="838"/>
                    <a:pt x="2853" y="838"/>
                  </a:cubicBezTo>
                  <a:cubicBezTo>
                    <a:pt x="2838" y="838"/>
                    <a:pt x="2830" y="830"/>
                    <a:pt x="2830" y="830"/>
                  </a:cubicBezTo>
                  <a:cubicBezTo>
                    <a:pt x="2830" y="822"/>
                    <a:pt x="2838" y="822"/>
                    <a:pt x="2838" y="822"/>
                  </a:cubicBezTo>
                  <a:cubicBezTo>
                    <a:pt x="2846" y="814"/>
                    <a:pt x="2853" y="814"/>
                    <a:pt x="2861" y="814"/>
                  </a:cubicBezTo>
                  <a:cubicBezTo>
                    <a:pt x="2877" y="814"/>
                    <a:pt x="2885" y="814"/>
                    <a:pt x="2901" y="791"/>
                  </a:cubicBezTo>
                  <a:cubicBezTo>
                    <a:pt x="2909" y="775"/>
                    <a:pt x="2917" y="767"/>
                    <a:pt x="2917" y="751"/>
                  </a:cubicBezTo>
                  <a:cubicBezTo>
                    <a:pt x="2924" y="743"/>
                    <a:pt x="2924" y="735"/>
                    <a:pt x="2933" y="719"/>
                  </a:cubicBezTo>
                  <a:cubicBezTo>
                    <a:pt x="2940" y="712"/>
                    <a:pt x="2948" y="696"/>
                    <a:pt x="2956" y="696"/>
                  </a:cubicBezTo>
                  <a:cubicBezTo>
                    <a:pt x="2964" y="688"/>
                    <a:pt x="2964" y="680"/>
                    <a:pt x="2964" y="680"/>
                  </a:cubicBezTo>
                  <a:cubicBezTo>
                    <a:pt x="2964" y="672"/>
                    <a:pt x="2964" y="672"/>
                    <a:pt x="2956" y="664"/>
                  </a:cubicBezTo>
                  <a:lnTo>
                    <a:pt x="2956" y="664"/>
                  </a:lnTo>
                  <a:cubicBezTo>
                    <a:pt x="2940" y="656"/>
                    <a:pt x="2940" y="656"/>
                    <a:pt x="2917" y="648"/>
                  </a:cubicBezTo>
                  <a:cubicBezTo>
                    <a:pt x="2917" y="648"/>
                    <a:pt x="2901" y="648"/>
                    <a:pt x="2893" y="640"/>
                  </a:cubicBezTo>
                  <a:cubicBezTo>
                    <a:pt x="2877" y="632"/>
                    <a:pt x="2853" y="632"/>
                    <a:pt x="2838" y="625"/>
                  </a:cubicBezTo>
                  <a:cubicBezTo>
                    <a:pt x="2814" y="625"/>
                    <a:pt x="2806" y="617"/>
                    <a:pt x="2798" y="617"/>
                  </a:cubicBezTo>
                  <a:cubicBezTo>
                    <a:pt x="2798" y="609"/>
                    <a:pt x="2806" y="609"/>
                    <a:pt x="2806" y="609"/>
                  </a:cubicBezTo>
                  <a:cubicBezTo>
                    <a:pt x="2814" y="601"/>
                    <a:pt x="2822" y="601"/>
                    <a:pt x="2830" y="601"/>
                  </a:cubicBezTo>
                  <a:lnTo>
                    <a:pt x="2838" y="601"/>
                  </a:lnTo>
                  <a:cubicBezTo>
                    <a:pt x="2846" y="601"/>
                    <a:pt x="2846" y="601"/>
                    <a:pt x="2853" y="601"/>
                  </a:cubicBezTo>
                  <a:cubicBezTo>
                    <a:pt x="2861" y="601"/>
                    <a:pt x="2869" y="601"/>
                    <a:pt x="2877" y="593"/>
                  </a:cubicBezTo>
                  <a:cubicBezTo>
                    <a:pt x="2885" y="593"/>
                    <a:pt x="2885" y="585"/>
                    <a:pt x="2893" y="577"/>
                  </a:cubicBezTo>
                  <a:cubicBezTo>
                    <a:pt x="2893" y="569"/>
                    <a:pt x="2893" y="561"/>
                    <a:pt x="2917" y="569"/>
                  </a:cubicBezTo>
                  <a:cubicBezTo>
                    <a:pt x="2924" y="569"/>
                    <a:pt x="2924" y="569"/>
                    <a:pt x="2924" y="577"/>
                  </a:cubicBezTo>
                  <a:cubicBezTo>
                    <a:pt x="2933" y="577"/>
                    <a:pt x="2933" y="577"/>
                    <a:pt x="2972" y="585"/>
                  </a:cubicBezTo>
                  <a:cubicBezTo>
                    <a:pt x="3004" y="593"/>
                    <a:pt x="3019" y="593"/>
                    <a:pt x="3027" y="593"/>
                  </a:cubicBezTo>
                  <a:cubicBezTo>
                    <a:pt x="3043" y="593"/>
                    <a:pt x="3051" y="601"/>
                    <a:pt x="3051" y="593"/>
                  </a:cubicBezTo>
                  <a:cubicBezTo>
                    <a:pt x="3067" y="593"/>
                    <a:pt x="3122" y="553"/>
                    <a:pt x="3130" y="490"/>
                  </a:cubicBezTo>
                  <a:cubicBezTo>
                    <a:pt x="3130" y="459"/>
                    <a:pt x="3130" y="443"/>
                    <a:pt x="3146" y="443"/>
                  </a:cubicBezTo>
                  <a:cubicBezTo>
                    <a:pt x="3146" y="443"/>
                    <a:pt x="3146" y="443"/>
                    <a:pt x="3154" y="451"/>
                  </a:cubicBezTo>
                  <a:lnTo>
                    <a:pt x="3162" y="451"/>
                  </a:lnTo>
                  <a:cubicBezTo>
                    <a:pt x="3170" y="451"/>
                    <a:pt x="3170" y="451"/>
                    <a:pt x="3170" y="451"/>
                  </a:cubicBezTo>
                  <a:cubicBezTo>
                    <a:pt x="3177" y="451"/>
                    <a:pt x="3186" y="451"/>
                    <a:pt x="3186" y="443"/>
                  </a:cubicBezTo>
                  <a:cubicBezTo>
                    <a:pt x="3193" y="443"/>
                    <a:pt x="3193" y="435"/>
                    <a:pt x="3186" y="427"/>
                  </a:cubicBezTo>
                  <a:cubicBezTo>
                    <a:pt x="3186" y="419"/>
                    <a:pt x="3186" y="403"/>
                    <a:pt x="3186" y="395"/>
                  </a:cubicBezTo>
                  <a:cubicBezTo>
                    <a:pt x="3177" y="372"/>
                    <a:pt x="3177" y="356"/>
                    <a:pt x="3177" y="332"/>
                  </a:cubicBezTo>
                  <a:cubicBezTo>
                    <a:pt x="3177" y="308"/>
                    <a:pt x="3154" y="301"/>
                    <a:pt x="3146" y="301"/>
                  </a:cubicBezTo>
                  <a:cubicBezTo>
                    <a:pt x="3146" y="292"/>
                    <a:pt x="3146" y="292"/>
                    <a:pt x="3138" y="292"/>
                  </a:cubicBezTo>
                  <a:lnTo>
                    <a:pt x="3130" y="292"/>
                  </a:lnTo>
                  <a:cubicBezTo>
                    <a:pt x="3122" y="292"/>
                    <a:pt x="3106" y="292"/>
                    <a:pt x="3106" y="308"/>
                  </a:cubicBezTo>
                  <a:cubicBezTo>
                    <a:pt x="3106" y="316"/>
                    <a:pt x="3098" y="324"/>
                    <a:pt x="3091" y="324"/>
                  </a:cubicBezTo>
                  <a:cubicBezTo>
                    <a:pt x="3091" y="324"/>
                    <a:pt x="3083" y="324"/>
                    <a:pt x="3083" y="332"/>
                  </a:cubicBezTo>
                  <a:cubicBezTo>
                    <a:pt x="3083" y="332"/>
                    <a:pt x="3083" y="332"/>
                    <a:pt x="3083" y="340"/>
                  </a:cubicBezTo>
                  <a:cubicBezTo>
                    <a:pt x="3098" y="364"/>
                    <a:pt x="3114" y="395"/>
                    <a:pt x="3091" y="419"/>
                  </a:cubicBezTo>
                  <a:cubicBezTo>
                    <a:pt x="3075" y="427"/>
                    <a:pt x="3067" y="435"/>
                    <a:pt x="3059" y="435"/>
                  </a:cubicBezTo>
                  <a:lnTo>
                    <a:pt x="3051" y="427"/>
                  </a:lnTo>
                  <a:cubicBezTo>
                    <a:pt x="3051" y="419"/>
                    <a:pt x="3051" y="411"/>
                    <a:pt x="3051" y="395"/>
                  </a:cubicBezTo>
                  <a:cubicBezTo>
                    <a:pt x="3051" y="372"/>
                    <a:pt x="3059" y="364"/>
                    <a:pt x="3067" y="348"/>
                  </a:cubicBezTo>
                  <a:cubicBezTo>
                    <a:pt x="3075" y="340"/>
                    <a:pt x="3075" y="332"/>
                    <a:pt x="3067" y="316"/>
                  </a:cubicBezTo>
                  <a:cubicBezTo>
                    <a:pt x="3059" y="308"/>
                    <a:pt x="3051" y="308"/>
                    <a:pt x="3051" y="301"/>
                  </a:cubicBezTo>
                  <a:cubicBezTo>
                    <a:pt x="3043" y="292"/>
                    <a:pt x="3035" y="285"/>
                    <a:pt x="3027" y="285"/>
                  </a:cubicBezTo>
                  <a:cubicBezTo>
                    <a:pt x="3027" y="285"/>
                    <a:pt x="3019" y="285"/>
                    <a:pt x="3019" y="292"/>
                  </a:cubicBezTo>
                  <a:cubicBezTo>
                    <a:pt x="3011" y="292"/>
                    <a:pt x="3004" y="301"/>
                    <a:pt x="2996" y="301"/>
                  </a:cubicBezTo>
                  <a:cubicBezTo>
                    <a:pt x="2980" y="308"/>
                    <a:pt x="2964" y="316"/>
                    <a:pt x="2964" y="332"/>
                  </a:cubicBezTo>
                  <a:cubicBezTo>
                    <a:pt x="2964" y="340"/>
                    <a:pt x="2956" y="340"/>
                    <a:pt x="2956" y="340"/>
                  </a:cubicBezTo>
                  <a:cubicBezTo>
                    <a:pt x="2948" y="340"/>
                    <a:pt x="2940" y="332"/>
                    <a:pt x="2924" y="324"/>
                  </a:cubicBezTo>
                  <a:cubicBezTo>
                    <a:pt x="2917" y="324"/>
                    <a:pt x="2909" y="316"/>
                    <a:pt x="2901" y="316"/>
                  </a:cubicBezTo>
                  <a:lnTo>
                    <a:pt x="2901" y="316"/>
                  </a:lnTo>
                  <a:cubicBezTo>
                    <a:pt x="2893" y="340"/>
                    <a:pt x="2869" y="364"/>
                    <a:pt x="2846" y="364"/>
                  </a:cubicBezTo>
                  <a:cubicBezTo>
                    <a:pt x="2838" y="364"/>
                    <a:pt x="2830" y="364"/>
                    <a:pt x="2822" y="356"/>
                  </a:cubicBezTo>
                  <a:cubicBezTo>
                    <a:pt x="2790" y="340"/>
                    <a:pt x="2766" y="316"/>
                    <a:pt x="2758" y="292"/>
                  </a:cubicBezTo>
                  <a:lnTo>
                    <a:pt x="2758" y="285"/>
                  </a:lnTo>
                  <a:lnTo>
                    <a:pt x="2758" y="285"/>
                  </a:lnTo>
                  <a:cubicBezTo>
                    <a:pt x="2766" y="285"/>
                    <a:pt x="2766" y="285"/>
                    <a:pt x="2766" y="285"/>
                  </a:cubicBezTo>
                  <a:lnTo>
                    <a:pt x="2766" y="285"/>
                  </a:lnTo>
                  <a:cubicBezTo>
                    <a:pt x="2774" y="292"/>
                    <a:pt x="2782" y="301"/>
                    <a:pt x="2798" y="301"/>
                  </a:cubicBezTo>
                  <a:cubicBezTo>
                    <a:pt x="2806" y="308"/>
                    <a:pt x="2814" y="308"/>
                    <a:pt x="2822" y="308"/>
                  </a:cubicBezTo>
                  <a:cubicBezTo>
                    <a:pt x="2830" y="316"/>
                    <a:pt x="2830" y="316"/>
                    <a:pt x="2846" y="308"/>
                  </a:cubicBezTo>
                  <a:cubicBezTo>
                    <a:pt x="2853" y="308"/>
                    <a:pt x="2861" y="308"/>
                    <a:pt x="2869" y="301"/>
                  </a:cubicBezTo>
                  <a:cubicBezTo>
                    <a:pt x="2885" y="301"/>
                    <a:pt x="2901" y="292"/>
                    <a:pt x="2909" y="277"/>
                  </a:cubicBezTo>
                  <a:cubicBezTo>
                    <a:pt x="2924" y="245"/>
                    <a:pt x="2940" y="237"/>
                    <a:pt x="2972" y="237"/>
                  </a:cubicBezTo>
                  <a:cubicBezTo>
                    <a:pt x="2996" y="229"/>
                    <a:pt x="3011" y="221"/>
                    <a:pt x="3019" y="214"/>
                  </a:cubicBezTo>
                  <a:cubicBezTo>
                    <a:pt x="3019" y="206"/>
                    <a:pt x="3011" y="206"/>
                    <a:pt x="3011" y="198"/>
                  </a:cubicBezTo>
                  <a:cubicBezTo>
                    <a:pt x="2996" y="190"/>
                    <a:pt x="2988" y="174"/>
                    <a:pt x="2988" y="166"/>
                  </a:cubicBezTo>
                  <a:cubicBezTo>
                    <a:pt x="2988" y="158"/>
                    <a:pt x="2996" y="158"/>
                    <a:pt x="3011" y="166"/>
                  </a:cubicBezTo>
                  <a:cubicBezTo>
                    <a:pt x="3019" y="166"/>
                    <a:pt x="3027" y="174"/>
                    <a:pt x="3027" y="174"/>
                  </a:cubicBezTo>
                  <a:cubicBezTo>
                    <a:pt x="3043" y="182"/>
                    <a:pt x="3059" y="190"/>
                    <a:pt x="3067" y="190"/>
                  </a:cubicBezTo>
                  <a:cubicBezTo>
                    <a:pt x="3075" y="190"/>
                    <a:pt x="3075" y="190"/>
                    <a:pt x="3075" y="190"/>
                  </a:cubicBezTo>
                  <a:cubicBezTo>
                    <a:pt x="3083" y="190"/>
                    <a:pt x="3091" y="190"/>
                    <a:pt x="3098" y="198"/>
                  </a:cubicBezTo>
                  <a:cubicBezTo>
                    <a:pt x="3098" y="198"/>
                    <a:pt x="3098" y="198"/>
                    <a:pt x="3106" y="198"/>
                  </a:cubicBezTo>
                  <a:cubicBezTo>
                    <a:pt x="3106" y="206"/>
                    <a:pt x="3114" y="206"/>
                    <a:pt x="3122" y="206"/>
                  </a:cubicBezTo>
                  <a:cubicBezTo>
                    <a:pt x="3122" y="206"/>
                    <a:pt x="3114" y="206"/>
                    <a:pt x="3114" y="198"/>
                  </a:cubicBezTo>
                  <a:cubicBezTo>
                    <a:pt x="3098" y="182"/>
                    <a:pt x="3091" y="166"/>
                    <a:pt x="3083" y="150"/>
                  </a:cubicBezTo>
                  <a:cubicBezTo>
                    <a:pt x="3075" y="134"/>
                    <a:pt x="3075" y="119"/>
                    <a:pt x="3067" y="111"/>
                  </a:cubicBezTo>
                  <a:cubicBezTo>
                    <a:pt x="3059" y="103"/>
                    <a:pt x="3051" y="103"/>
                    <a:pt x="3043" y="95"/>
                  </a:cubicBezTo>
                  <a:cubicBezTo>
                    <a:pt x="3027" y="87"/>
                    <a:pt x="3019" y="79"/>
                    <a:pt x="3011" y="63"/>
                  </a:cubicBezTo>
                  <a:cubicBezTo>
                    <a:pt x="3004" y="39"/>
                    <a:pt x="3004" y="24"/>
                    <a:pt x="3004" y="24"/>
                  </a:cubicBezTo>
                  <a:cubicBezTo>
                    <a:pt x="2719" y="87"/>
                    <a:pt x="1818" y="292"/>
                    <a:pt x="1011" y="403"/>
                  </a:cubicBezTo>
                  <a:cubicBezTo>
                    <a:pt x="1011" y="403"/>
                    <a:pt x="964" y="411"/>
                    <a:pt x="932" y="411"/>
                  </a:cubicBezTo>
                  <a:cubicBezTo>
                    <a:pt x="924" y="411"/>
                    <a:pt x="917" y="411"/>
                    <a:pt x="917" y="411"/>
                  </a:cubicBezTo>
                  <a:cubicBezTo>
                    <a:pt x="909" y="403"/>
                    <a:pt x="901" y="403"/>
                    <a:pt x="893" y="403"/>
                  </a:cubicBezTo>
                  <a:cubicBezTo>
                    <a:pt x="901" y="443"/>
                    <a:pt x="901" y="490"/>
                    <a:pt x="885" y="514"/>
                  </a:cubicBezTo>
                  <a:cubicBezTo>
                    <a:pt x="877" y="538"/>
                    <a:pt x="861" y="545"/>
                    <a:pt x="853" y="545"/>
                  </a:cubicBezTo>
                  <a:cubicBezTo>
                    <a:pt x="845" y="553"/>
                    <a:pt x="837" y="553"/>
                    <a:pt x="830" y="577"/>
                  </a:cubicBezTo>
                  <a:cubicBezTo>
                    <a:pt x="822" y="617"/>
                    <a:pt x="782" y="672"/>
                    <a:pt x="766" y="672"/>
                  </a:cubicBezTo>
                  <a:lnTo>
                    <a:pt x="758" y="672"/>
                  </a:lnTo>
                  <a:cubicBezTo>
                    <a:pt x="758" y="656"/>
                    <a:pt x="735" y="632"/>
                    <a:pt x="711" y="632"/>
                  </a:cubicBezTo>
                  <a:cubicBezTo>
                    <a:pt x="695" y="632"/>
                    <a:pt x="687" y="640"/>
                    <a:pt x="679" y="648"/>
                  </a:cubicBezTo>
                  <a:cubicBezTo>
                    <a:pt x="656" y="672"/>
                    <a:pt x="656" y="688"/>
                    <a:pt x="656" y="712"/>
                  </a:cubicBezTo>
                  <a:cubicBezTo>
                    <a:pt x="648" y="735"/>
                    <a:pt x="648" y="751"/>
                    <a:pt x="616" y="759"/>
                  </a:cubicBezTo>
                  <a:cubicBezTo>
                    <a:pt x="584" y="759"/>
                    <a:pt x="577" y="743"/>
                    <a:pt x="577" y="727"/>
                  </a:cubicBezTo>
                  <a:cubicBezTo>
                    <a:pt x="569" y="719"/>
                    <a:pt x="569" y="719"/>
                    <a:pt x="561" y="719"/>
                  </a:cubicBezTo>
                  <a:lnTo>
                    <a:pt x="553" y="719"/>
                  </a:lnTo>
                  <a:lnTo>
                    <a:pt x="553" y="727"/>
                  </a:lnTo>
                  <a:cubicBezTo>
                    <a:pt x="553" y="735"/>
                    <a:pt x="553" y="751"/>
                    <a:pt x="545" y="759"/>
                  </a:cubicBezTo>
                  <a:cubicBezTo>
                    <a:pt x="537" y="775"/>
                    <a:pt x="521" y="775"/>
                    <a:pt x="505" y="783"/>
                  </a:cubicBezTo>
                  <a:cubicBezTo>
                    <a:pt x="490" y="783"/>
                    <a:pt x="482" y="783"/>
                    <a:pt x="482" y="798"/>
                  </a:cubicBezTo>
                  <a:cubicBezTo>
                    <a:pt x="482" y="838"/>
                    <a:pt x="466" y="870"/>
                    <a:pt x="434" y="870"/>
                  </a:cubicBezTo>
                  <a:cubicBezTo>
                    <a:pt x="403" y="870"/>
                    <a:pt x="355" y="933"/>
                    <a:pt x="316" y="972"/>
                  </a:cubicBezTo>
                  <a:cubicBezTo>
                    <a:pt x="308" y="980"/>
                    <a:pt x="300" y="988"/>
                    <a:pt x="292" y="996"/>
                  </a:cubicBezTo>
                  <a:cubicBezTo>
                    <a:pt x="284" y="1004"/>
                    <a:pt x="276" y="1012"/>
                    <a:pt x="260" y="1012"/>
                  </a:cubicBezTo>
                  <a:cubicBezTo>
                    <a:pt x="260" y="1012"/>
                    <a:pt x="253" y="1004"/>
                    <a:pt x="245" y="1004"/>
                  </a:cubicBezTo>
                  <a:cubicBezTo>
                    <a:pt x="237" y="1004"/>
                    <a:pt x="229" y="1004"/>
                    <a:pt x="221" y="1004"/>
                  </a:cubicBezTo>
                  <a:cubicBezTo>
                    <a:pt x="205" y="1004"/>
                    <a:pt x="189" y="1012"/>
                    <a:pt x="173" y="1020"/>
                  </a:cubicBezTo>
                  <a:cubicBezTo>
                    <a:pt x="142" y="1043"/>
                    <a:pt x="126" y="1051"/>
                    <a:pt x="110" y="1051"/>
                  </a:cubicBezTo>
                  <a:cubicBezTo>
                    <a:pt x="94" y="1051"/>
                    <a:pt x="94" y="1051"/>
                    <a:pt x="94" y="1067"/>
                  </a:cubicBezTo>
                  <a:cubicBezTo>
                    <a:pt x="102" y="1075"/>
                    <a:pt x="102" y="1083"/>
                    <a:pt x="102" y="1083"/>
                  </a:cubicBezTo>
                  <a:cubicBezTo>
                    <a:pt x="110" y="1115"/>
                    <a:pt x="110" y="1138"/>
                    <a:pt x="94" y="1154"/>
                  </a:cubicBezTo>
                  <a:cubicBezTo>
                    <a:pt x="87" y="1162"/>
                    <a:pt x="63" y="1170"/>
                    <a:pt x="47" y="1170"/>
                  </a:cubicBezTo>
                  <a:cubicBezTo>
                    <a:pt x="23" y="1170"/>
                    <a:pt x="7" y="1178"/>
                    <a:pt x="7" y="1186"/>
                  </a:cubicBezTo>
                  <a:cubicBezTo>
                    <a:pt x="7" y="1194"/>
                    <a:pt x="7" y="1209"/>
                    <a:pt x="7" y="1233"/>
                  </a:cubicBezTo>
                  <a:cubicBezTo>
                    <a:pt x="7" y="1249"/>
                    <a:pt x="7" y="1273"/>
                    <a:pt x="7" y="1289"/>
                  </a:cubicBezTo>
                  <a:cubicBezTo>
                    <a:pt x="126" y="1273"/>
                    <a:pt x="126" y="1273"/>
                    <a:pt x="126" y="1273"/>
                  </a:cubicBezTo>
                  <a:cubicBezTo>
                    <a:pt x="308" y="1257"/>
                    <a:pt x="426" y="1241"/>
                    <a:pt x="450" y="1241"/>
                  </a:cubicBezTo>
                  <a:cubicBezTo>
                    <a:pt x="505" y="1241"/>
                    <a:pt x="529" y="1225"/>
                    <a:pt x="553" y="1202"/>
                  </a:cubicBezTo>
                  <a:cubicBezTo>
                    <a:pt x="561" y="1194"/>
                    <a:pt x="569" y="1186"/>
                    <a:pt x="584" y="1178"/>
                  </a:cubicBezTo>
                  <a:cubicBezTo>
                    <a:pt x="632" y="1154"/>
                    <a:pt x="774" y="1083"/>
                    <a:pt x="814" y="1075"/>
                  </a:cubicBezTo>
                  <a:cubicBezTo>
                    <a:pt x="837" y="1067"/>
                    <a:pt x="1130" y="1028"/>
                    <a:pt x="1209" y="1028"/>
                  </a:cubicBezTo>
                  <a:cubicBezTo>
                    <a:pt x="1225" y="1028"/>
                    <a:pt x="1233" y="1028"/>
                    <a:pt x="1233" y="1036"/>
                  </a:cubicBezTo>
                  <a:cubicBezTo>
                    <a:pt x="1233" y="1043"/>
                    <a:pt x="1233" y="1043"/>
                    <a:pt x="1233" y="1051"/>
                  </a:cubicBezTo>
                  <a:lnTo>
                    <a:pt x="1233" y="1059"/>
                  </a:lnTo>
                  <a:cubicBezTo>
                    <a:pt x="1233" y="1059"/>
                    <a:pt x="1241" y="1059"/>
                    <a:pt x="1257" y="1067"/>
                  </a:cubicBezTo>
                  <a:cubicBezTo>
                    <a:pt x="1264" y="1067"/>
                    <a:pt x="1272" y="1067"/>
                    <a:pt x="1280" y="1067"/>
                  </a:cubicBezTo>
                  <a:cubicBezTo>
                    <a:pt x="1288" y="1067"/>
                    <a:pt x="1288" y="1067"/>
                    <a:pt x="1296" y="1067"/>
                  </a:cubicBezTo>
                  <a:cubicBezTo>
                    <a:pt x="1312" y="1067"/>
                    <a:pt x="1320" y="1067"/>
                    <a:pt x="1328" y="1075"/>
                  </a:cubicBezTo>
                  <a:cubicBezTo>
                    <a:pt x="1343" y="1091"/>
                    <a:pt x="1367" y="1154"/>
                    <a:pt x="1367" y="1170"/>
                  </a:cubicBezTo>
                  <a:lnTo>
                    <a:pt x="1810" y="1099"/>
                  </a:lnTo>
                  <a:close/>
                  <a:moveTo>
                    <a:pt x="3083" y="340"/>
                  </a:moveTo>
                  <a:lnTo>
                    <a:pt x="3083" y="340"/>
                  </a:lnTo>
                  <a:cubicBezTo>
                    <a:pt x="3075" y="348"/>
                    <a:pt x="3075" y="348"/>
                    <a:pt x="3075" y="356"/>
                  </a:cubicBezTo>
                  <a:cubicBezTo>
                    <a:pt x="3067" y="364"/>
                    <a:pt x="3059" y="372"/>
                    <a:pt x="3059" y="395"/>
                  </a:cubicBezTo>
                  <a:cubicBezTo>
                    <a:pt x="3051" y="411"/>
                    <a:pt x="3059" y="419"/>
                    <a:pt x="3059" y="427"/>
                  </a:cubicBezTo>
                  <a:lnTo>
                    <a:pt x="3059" y="427"/>
                  </a:lnTo>
                  <a:cubicBezTo>
                    <a:pt x="3067" y="427"/>
                    <a:pt x="3083" y="411"/>
                    <a:pt x="3083" y="411"/>
                  </a:cubicBezTo>
                  <a:cubicBezTo>
                    <a:pt x="3106" y="395"/>
                    <a:pt x="3091" y="364"/>
                    <a:pt x="3083" y="340"/>
                  </a:cubicBezTo>
                  <a:close/>
                  <a:moveTo>
                    <a:pt x="3027" y="16"/>
                  </a:moveTo>
                  <a:lnTo>
                    <a:pt x="3027" y="16"/>
                  </a:lnTo>
                  <a:lnTo>
                    <a:pt x="3027" y="16"/>
                  </a:lnTo>
                  <a:cubicBezTo>
                    <a:pt x="3035" y="24"/>
                    <a:pt x="3035" y="24"/>
                    <a:pt x="3043" y="24"/>
                  </a:cubicBezTo>
                  <a:cubicBezTo>
                    <a:pt x="3059" y="32"/>
                    <a:pt x="3067" y="39"/>
                    <a:pt x="3075" y="71"/>
                  </a:cubicBezTo>
                  <a:cubicBezTo>
                    <a:pt x="3083" y="95"/>
                    <a:pt x="3098" y="111"/>
                    <a:pt x="3106" y="119"/>
                  </a:cubicBezTo>
                  <a:cubicBezTo>
                    <a:pt x="3114" y="126"/>
                    <a:pt x="3122" y="134"/>
                    <a:pt x="3122" y="142"/>
                  </a:cubicBezTo>
                  <a:cubicBezTo>
                    <a:pt x="3138" y="166"/>
                    <a:pt x="3146" y="182"/>
                    <a:pt x="3170" y="221"/>
                  </a:cubicBezTo>
                  <a:cubicBezTo>
                    <a:pt x="3193" y="261"/>
                    <a:pt x="3209" y="292"/>
                    <a:pt x="3225" y="308"/>
                  </a:cubicBezTo>
                  <a:cubicBezTo>
                    <a:pt x="3233" y="316"/>
                    <a:pt x="3249" y="316"/>
                    <a:pt x="3249" y="324"/>
                  </a:cubicBezTo>
                  <a:cubicBezTo>
                    <a:pt x="3249" y="316"/>
                    <a:pt x="3249" y="316"/>
                    <a:pt x="3249" y="316"/>
                  </a:cubicBezTo>
                  <a:cubicBezTo>
                    <a:pt x="3225" y="285"/>
                    <a:pt x="3209" y="269"/>
                    <a:pt x="3186" y="237"/>
                  </a:cubicBezTo>
                  <a:cubicBezTo>
                    <a:pt x="3177" y="221"/>
                    <a:pt x="3170" y="206"/>
                    <a:pt x="3162" y="182"/>
                  </a:cubicBezTo>
                  <a:cubicBezTo>
                    <a:pt x="3146" y="158"/>
                    <a:pt x="3130" y="134"/>
                    <a:pt x="3122" y="126"/>
                  </a:cubicBezTo>
                  <a:cubicBezTo>
                    <a:pt x="3114" y="111"/>
                    <a:pt x="3106" y="103"/>
                    <a:pt x="3098" y="87"/>
                  </a:cubicBezTo>
                  <a:cubicBezTo>
                    <a:pt x="3098" y="71"/>
                    <a:pt x="3091" y="48"/>
                    <a:pt x="3075" y="32"/>
                  </a:cubicBezTo>
                  <a:cubicBezTo>
                    <a:pt x="3067" y="16"/>
                    <a:pt x="3067" y="16"/>
                    <a:pt x="3059" y="8"/>
                  </a:cubicBezTo>
                  <a:cubicBezTo>
                    <a:pt x="3051" y="8"/>
                    <a:pt x="3043" y="16"/>
                    <a:pt x="3027" y="16"/>
                  </a:cubicBezTo>
                  <a:close/>
                </a:path>
              </a:pathLst>
            </a:custGeom>
            <a:grpFill/>
            <a:ln>
              <a:solidFill>
                <a:schemeClr val="bg1">
                  <a:lumMod val="95000"/>
                </a:schemeClr>
              </a:solidFill>
            </a:ln>
            <a:effectLst/>
          </p:spPr>
          <p:txBody>
            <a:bodyPr wrap="none" anchor="ctr"/>
            <a:lstStyle/>
            <a:p>
              <a:endParaRPr lang="en-US" sz="900"/>
            </a:p>
          </p:txBody>
        </p:sp>
        <p:sp>
          <p:nvSpPr>
            <p:cNvPr id="73" name="Freeform 639"/>
            <p:cNvSpPr>
              <a:spLocks noChangeArrowheads="1"/>
            </p:cNvSpPr>
            <p:nvPr/>
          </p:nvSpPr>
          <p:spPr bwMode="auto">
            <a:xfrm>
              <a:off x="14039000" y="4343060"/>
              <a:ext cx="786244" cy="1043688"/>
            </a:xfrm>
            <a:custGeom>
              <a:avLst/>
              <a:gdLst>
                <a:gd name="T0" fmla="*/ 751 w 1495"/>
                <a:gd name="T1" fmla="*/ 1929 h 1985"/>
                <a:gd name="T2" fmla="*/ 1218 w 1495"/>
                <a:gd name="T3" fmla="*/ 1826 h 1985"/>
                <a:gd name="T4" fmla="*/ 1321 w 1495"/>
                <a:gd name="T5" fmla="*/ 1684 h 1985"/>
                <a:gd name="T6" fmla="*/ 1376 w 1495"/>
                <a:gd name="T7" fmla="*/ 1510 h 1985"/>
                <a:gd name="T8" fmla="*/ 1360 w 1495"/>
                <a:gd name="T9" fmla="*/ 1423 h 1985"/>
                <a:gd name="T10" fmla="*/ 1486 w 1495"/>
                <a:gd name="T11" fmla="*/ 1399 h 1985"/>
                <a:gd name="T12" fmla="*/ 1494 w 1495"/>
                <a:gd name="T13" fmla="*/ 1194 h 1985"/>
                <a:gd name="T14" fmla="*/ 1455 w 1495"/>
                <a:gd name="T15" fmla="*/ 1115 h 1985"/>
                <a:gd name="T16" fmla="*/ 1344 w 1495"/>
                <a:gd name="T17" fmla="*/ 807 h 1985"/>
                <a:gd name="T18" fmla="*/ 1123 w 1495"/>
                <a:gd name="T19" fmla="*/ 807 h 1985"/>
                <a:gd name="T20" fmla="*/ 1099 w 1495"/>
                <a:gd name="T21" fmla="*/ 854 h 1985"/>
                <a:gd name="T22" fmla="*/ 1020 w 1495"/>
                <a:gd name="T23" fmla="*/ 965 h 1985"/>
                <a:gd name="T24" fmla="*/ 933 w 1495"/>
                <a:gd name="T25" fmla="*/ 822 h 1985"/>
                <a:gd name="T26" fmla="*/ 1020 w 1495"/>
                <a:gd name="T27" fmla="*/ 704 h 1985"/>
                <a:gd name="T28" fmla="*/ 1083 w 1495"/>
                <a:gd name="T29" fmla="*/ 609 h 1985"/>
                <a:gd name="T30" fmla="*/ 1075 w 1495"/>
                <a:gd name="T31" fmla="*/ 435 h 1985"/>
                <a:gd name="T32" fmla="*/ 1004 w 1495"/>
                <a:gd name="T33" fmla="*/ 293 h 1985"/>
                <a:gd name="T34" fmla="*/ 996 w 1495"/>
                <a:gd name="T35" fmla="*/ 214 h 1985"/>
                <a:gd name="T36" fmla="*/ 767 w 1495"/>
                <a:gd name="T37" fmla="*/ 103 h 1985"/>
                <a:gd name="T38" fmla="*/ 649 w 1495"/>
                <a:gd name="T39" fmla="*/ 56 h 1985"/>
                <a:gd name="T40" fmla="*/ 506 w 1495"/>
                <a:gd name="T41" fmla="*/ 16 h 1985"/>
                <a:gd name="T42" fmla="*/ 419 w 1495"/>
                <a:gd name="T43" fmla="*/ 143 h 1985"/>
                <a:gd name="T44" fmla="*/ 427 w 1495"/>
                <a:gd name="T45" fmla="*/ 214 h 1985"/>
                <a:gd name="T46" fmla="*/ 340 w 1495"/>
                <a:gd name="T47" fmla="*/ 277 h 1985"/>
                <a:gd name="T48" fmla="*/ 332 w 1495"/>
                <a:gd name="T49" fmla="*/ 482 h 1985"/>
                <a:gd name="T50" fmla="*/ 309 w 1495"/>
                <a:gd name="T51" fmla="*/ 451 h 1985"/>
                <a:gd name="T52" fmla="*/ 285 w 1495"/>
                <a:gd name="T53" fmla="*/ 403 h 1985"/>
                <a:gd name="T54" fmla="*/ 261 w 1495"/>
                <a:gd name="T55" fmla="*/ 324 h 1985"/>
                <a:gd name="T56" fmla="*/ 190 w 1495"/>
                <a:gd name="T57" fmla="*/ 451 h 1985"/>
                <a:gd name="T58" fmla="*/ 119 w 1495"/>
                <a:gd name="T59" fmla="*/ 538 h 1985"/>
                <a:gd name="T60" fmla="*/ 103 w 1495"/>
                <a:gd name="T61" fmla="*/ 648 h 1985"/>
                <a:gd name="T62" fmla="*/ 48 w 1495"/>
                <a:gd name="T63" fmla="*/ 838 h 1985"/>
                <a:gd name="T64" fmla="*/ 56 w 1495"/>
                <a:gd name="T65" fmla="*/ 973 h 1985"/>
                <a:gd name="T66" fmla="*/ 63 w 1495"/>
                <a:gd name="T67" fmla="*/ 1154 h 1985"/>
                <a:gd name="T68" fmla="*/ 182 w 1495"/>
                <a:gd name="T69" fmla="*/ 1660 h 1985"/>
                <a:gd name="T70" fmla="*/ 48 w 1495"/>
                <a:gd name="T71" fmla="*/ 1977 h 1985"/>
                <a:gd name="T72" fmla="*/ 712 w 1495"/>
                <a:gd name="T73" fmla="*/ 1905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5" h="1985">
                  <a:moveTo>
                    <a:pt x="751" y="1929"/>
                  </a:moveTo>
                  <a:lnTo>
                    <a:pt x="751" y="1929"/>
                  </a:lnTo>
                  <a:cubicBezTo>
                    <a:pt x="767" y="1953"/>
                    <a:pt x="1083" y="1874"/>
                    <a:pt x="1210" y="1834"/>
                  </a:cubicBezTo>
                  <a:cubicBezTo>
                    <a:pt x="1210" y="1834"/>
                    <a:pt x="1210" y="1826"/>
                    <a:pt x="1218" y="1826"/>
                  </a:cubicBezTo>
                  <a:cubicBezTo>
                    <a:pt x="1241" y="1787"/>
                    <a:pt x="1249" y="1747"/>
                    <a:pt x="1273" y="1739"/>
                  </a:cubicBezTo>
                  <a:cubicBezTo>
                    <a:pt x="1289" y="1724"/>
                    <a:pt x="1297" y="1692"/>
                    <a:pt x="1321" y="1684"/>
                  </a:cubicBezTo>
                  <a:cubicBezTo>
                    <a:pt x="1313" y="1660"/>
                    <a:pt x="1305" y="1629"/>
                    <a:pt x="1297" y="1613"/>
                  </a:cubicBezTo>
                  <a:cubicBezTo>
                    <a:pt x="1289" y="1597"/>
                    <a:pt x="1328" y="1557"/>
                    <a:pt x="1376" y="1510"/>
                  </a:cubicBezTo>
                  <a:cubicBezTo>
                    <a:pt x="1376" y="1510"/>
                    <a:pt x="1376" y="1502"/>
                    <a:pt x="1368" y="1486"/>
                  </a:cubicBezTo>
                  <a:cubicBezTo>
                    <a:pt x="1360" y="1455"/>
                    <a:pt x="1344" y="1455"/>
                    <a:pt x="1360" y="1423"/>
                  </a:cubicBezTo>
                  <a:cubicBezTo>
                    <a:pt x="1376" y="1399"/>
                    <a:pt x="1360" y="1368"/>
                    <a:pt x="1399" y="1376"/>
                  </a:cubicBezTo>
                  <a:cubicBezTo>
                    <a:pt x="1439" y="1384"/>
                    <a:pt x="1479" y="1391"/>
                    <a:pt x="1486" y="1399"/>
                  </a:cubicBezTo>
                  <a:cubicBezTo>
                    <a:pt x="1486" y="1391"/>
                    <a:pt x="1479" y="1384"/>
                    <a:pt x="1479" y="1384"/>
                  </a:cubicBezTo>
                  <a:cubicBezTo>
                    <a:pt x="1479" y="1344"/>
                    <a:pt x="1486" y="1273"/>
                    <a:pt x="1494" y="1194"/>
                  </a:cubicBezTo>
                  <a:cubicBezTo>
                    <a:pt x="1494" y="1202"/>
                    <a:pt x="1494" y="1202"/>
                    <a:pt x="1486" y="1178"/>
                  </a:cubicBezTo>
                  <a:cubicBezTo>
                    <a:pt x="1479" y="1146"/>
                    <a:pt x="1471" y="1162"/>
                    <a:pt x="1455" y="1115"/>
                  </a:cubicBezTo>
                  <a:cubicBezTo>
                    <a:pt x="1439" y="1067"/>
                    <a:pt x="1408" y="980"/>
                    <a:pt x="1392" y="941"/>
                  </a:cubicBezTo>
                  <a:cubicBezTo>
                    <a:pt x="1376" y="909"/>
                    <a:pt x="1352" y="846"/>
                    <a:pt x="1344" y="807"/>
                  </a:cubicBezTo>
                  <a:cubicBezTo>
                    <a:pt x="1336" y="775"/>
                    <a:pt x="1265" y="735"/>
                    <a:pt x="1234" y="735"/>
                  </a:cubicBezTo>
                  <a:cubicBezTo>
                    <a:pt x="1202" y="743"/>
                    <a:pt x="1139" y="783"/>
                    <a:pt x="1123" y="807"/>
                  </a:cubicBezTo>
                  <a:cubicBezTo>
                    <a:pt x="1123" y="807"/>
                    <a:pt x="1115" y="822"/>
                    <a:pt x="1107" y="814"/>
                  </a:cubicBezTo>
                  <a:cubicBezTo>
                    <a:pt x="1099" y="807"/>
                    <a:pt x="1099" y="830"/>
                    <a:pt x="1099" y="854"/>
                  </a:cubicBezTo>
                  <a:cubicBezTo>
                    <a:pt x="1099" y="878"/>
                    <a:pt x="1083" y="885"/>
                    <a:pt x="1068" y="909"/>
                  </a:cubicBezTo>
                  <a:cubicBezTo>
                    <a:pt x="1052" y="933"/>
                    <a:pt x="1028" y="957"/>
                    <a:pt x="1020" y="965"/>
                  </a:cubicBezTo>
                  <a:cubicBezTo>
                    <a:pt x="1020" y="980"/>
                    <a:pt x="965" y="980"/>
                    <a:pt x="941" y="949"/>
                  </a:cubicBezTo>
                  <a:cubicBezTo>
                    <a:pt x="909" y="917"/>
                    <a:pt x="909" y="846"/>
                    <a:pt x="933" y="822"/>
                  </a:cubicBezTo>
                  <a:cubicBezTo>
                    <a:pt x="957" y="807"/>
                    <a:pt x="981" y="830"/>
                    <a:pt x="996" y="791"/>
                  </a:cubicBezTo>
                  <a:cubicBezTo>
                    <a:pt x="1012" y="751"/>
                    <a:pt x="1020" y="727"/>
                    <a:pt x="1020" y="704"/>
                  </a:cubicBezTo>
                  <a:cubicBezTo>
                    <a:pt x="1020" y="688"/>
                    <a:pt x="1020" y="656"/>
                    <a:pt x="1044" y="648"/>
                  </a:cubicBezTo>
                  <a:cubicBezTo>
                    <a:pt x="1068" y="640"/>
                    <a:pt x="1075" y="648"/>
                    <a:pt x="1083" y="609"/>
                  </a:cubicBezTo>
                  <a:cubicBezTo>
                    <a:pt x="1091" y="577"/>
                    <a:pt x="1091" y="554"/>
                    <a:pt x="1075" y="522"/>
                  </a:cubicBezTo>
                  <a:cubicBezTo>
                    <a:pt x="1060" y="490"/>
                    <a:pt x="1075" y="474"/>
                    <a:pt x="1075" y="435"/>
                  </a:cubicBezTo>
                  <a:cubicBezTo>
                    <a:pt x="1075" y="403"/>
                    <a:pt x="1044" y="356"/>
                    <a:pt x="1028" y="340"/>
                  </a:cubicBezTo>
                  <a:cubicBezTo>
                    <a:pt x="1012" y="332"/>
                    <a:pt x="988" y="308"/>
                    <a:pt x="1004" y="293"/>
                  </a:cubicBezTo>
                  <a:cubicBezTo>
                    <a:pt x="1028" y="277"/>
                    <a:pt x="1052" y="253"/>
                    <a:pt x="1036" y="237"/>
                  </a:cubicBezTo>
                  <a:cubicBezTo>
                    <a:pt x="1028" y="229"/>
                    <a:pt x="1004" y="229"/>
                    <a:pt x="996" y="214"/>
                  </a:cubicBezTo>
                  <a:cubicBezTo>
                    <a:pt x="988" y="190"/>
                    <a:pt x="981" y="166"/>
                    <a:pt x="949" y="158"/>
                  </a:cubicBezTo>
                  <a:cubicBezTo>
                    <a:pt x="917" y="150"/>
                    <a:pt x="783" y="103"/>
                    <a:pt x="767" y="103"/>
                  </a:cubicBezTo>
                  <a:cubicBezTo>
                    <a:pt x="751" y="103"/>
                    <a:pt x="743" y="111"/>
                    <a:pt x="735" y="79"/>
                  </a:cubicBezTo>
                  <a:cubicBezTo>
                    <a:pt x="720" y="56"/>
                    <a:pt x="672" y="47"/>
                    <a:pt x="649" y="56"/>
                  </a:cubicBezTo>
                  <a:cubicBezTo>
                    <a:pt x="625" y="56"/>
                    <a:pt x="601" y="47"/>
                    <a:pt x="593" y="32"/>
                  </a:cubicBezTo>
                  <a:cubicBezTo>
                    <a:pt x="577" y="24"/>
                    <a:pt x="530" y="0"/>
                    <a:pt x="506" y="16"/>
                  </a:cubicBezTo>
                  <a:cubicBezTo>
                    <a:pt x="475" y="32"/>
                    <a:pt x="459" y="71"/>
                    <a:pt x="443" y="79"/>
                  </a:cubicBezTo>
                  <a:cubicBezTo>
                    <a:pt x="435" y="87"/>
                    <a:pt x="403" y="111"/>
                    <a:pt x="419" y="143"/>
                  </a:cubicBezTo>
                  <a:cubicBezTo>
                    <a:pt x="435" y="174"/>
                    <a:pt x="459" y="166"/>
                    <a:pt x="459" y="190"/>
                  </a:cubicBezTo>
                  <a:cubicBezTo>
                    <a:pt x="459" y="206"/>
                    <a:pt x="459" y="214"/>
                    <a:pt x="427" y="214"/>
                  </a:cubicBezTo>
                  <a:cubicBezTo>
                    <a:pt x="403" y="214"/>
                    <a:pt x="380" y="221"/>
                    <a:pt x="372" y="237"/>
                  </a:cubicBezTo>
                  <a:cubicBezTo>
                    <a:pt x="356" y="253"/>
                    <a:pt x="348" y="229"/>
                    <a:pt x="340" y="277"/>
                  </a:cubicBezTo>
                  <a:cubicBezTo>
                    <a:pt x="340" y="316"/>
                    <a:pt x="348" y="364"/>
                    <a:pt x="348" y="403"/>
                  </a:cubicBezTo>
                  <a:cubicBezTo>
                    <a:pt x="356" y="435"/>
                    <a:pt x="348" y="490"/>
                    <a:pt x="332" y="482"/>
                  </a:cubicBezTo>
                  <a:cubicBezTo>
                    <a:pt x="316" y="467"/>
                    <a:pt x="324" y="419"/>
                    <a:pt x="316" y="411"/>
                  </a:cubicBezTo>
                  <a:cubicBezTo>
                    <a:pt x="301" y="411"/>
                    <a:pt x="309" y="435"/>
                    <a:pt x="309" y="451"/>
                  </a:cubicBezTo>
                  <a:cubicBezTo>
                    <a:pt x="309" y="467"/>
                    <a:pt x="316" y="514"/>
                    <a:pt x="301" y="482"/>
                  </a:cubicBezTo>
                  <a:cubicBezTo>
                    <a:pt x="285" y="458"/>
                    <a:pt x="285" y="435"/>
                    <a:pt x="285" y="403"/>
                  </a:cubicBezTo>
                  <a:cubicBezTo>
                    <a:pt x="293" y="372"/>
                    <a:pt x="293" y="324"/>
                    <a:pt x="285" y="316"/>
                  </a:cubicBezTo>
                  <a:cubicBezTo>
                    <a:pt x="277" y="308"/>
                    <a:pt x="261" y="308"/>
                    <a:pt x="261" y="324"/>
                  </a:cubicBezTo>
                  <a:cubicBezTo>
                    <a:pt x="261" y="340"/>
                    <a:pt x="238" y="387"/>
                    <a:pt x="222" y="403"/>
                  </a:cubicBezTo>
                  <a:cubicBezTo>
                    <a:pt x="206" y="419"/>
                    <a:pt x="238" y="458"/>
                    <a:pt x="190" y="451"/>
                  </a:cubicBezTo>
                  <a:cubicBezTo>
                    <a:pt x="151" y="435"/>
                    <a:pt x="158" y="435"/>
                    <a:pt x="151" y="467"/>
                  </a:cubicBezTo>
                  <a:cubicBezTo>
                    <a:pt x="143" y="498"/>
                    <a:pt x="135" y="538"/>
                    <a:pt x="119" y="538"/>
                  </a:cubicBezTo>
                  <a:cubicBezTo>
                    <a:pt x="111" y="538"/>
                    <a:pt x="71" y="554"/>
                    <a:pt x="79" y="585"/>
                  </a:cubicBezTo>
                  <a:cubicBezTo>
                    <a:pt x="95" y="609"/>
                    <a:pt x="111" y="625"/>
                    <a:pt x="103" y="648"/>
                  </a:cubicBezTo>
                  <a:cubicBezTo>
                    <a:pt x="95" y="664"/>
                    <a:pt x="119" y="743"/>
                    <a:pt x="103" y="767"/>
                  </a:cubicBezTo>
                  <a:cubicBezTo>
                    <a:pt x="87" y="783"/>
                    <a:pt x="63" y="822"/>
                    <a:pt x="48" y="838"/>
                  </a:cubicBezTo>
                  <a:cubicBezTo>
                    <a:pt x="32" y="862"/>
                    <a:pt x="0" y="885"/>
                    <a:pt x="24" y="901"/>
                  </a:cubicBezTo>
                  <a:cubicBezTo>
                    <a:pt x="48" y="925"/>
                    <a:pt x="63" y="941"/>
                    <a:pt x="56" y="973"/>
                  </a:cubicBezTo>
                  <a:cubicBezTo>
                    <a:pt x="56" y="1004"/>
                    <a:pt x="71" y="1036"/>
                    <a:pt x="56" y="1051"/>
                  </a:cubicBezTo>
                  <a:cubicBezTo>
                    <a:pt x="40" y="1067"/>
                    <a:pt x="48" y="1131"/>
                    <a:pt x="63" y="1154"/>
                  </a:cubicBezTo>
                  <a:cubicBezTo>
                    <a:pt x="79" y="1170"/>
                    <a:pt x="95" y="1194"/>
                    <a:pt x="119" y="1233"/>
                  </a:cubicBezTo>
                  <a:cubicBezTo>
                    <a:pt x="143" y="1273"/>
                    <a:pt x="238" y="1510"/>
                    <a:pt x="182" y="1660"/>
                  </a:cubicBezTo>
                  <a:cubicBezTo>
                    <a:pt x="127" y="1803"/>
                    <a:pt x="135" y="1834"/>
                    <a:pt x="127" y="1858"/>
                  </a:cubicBezTo>
                  <a:cubicBezTo>
                    <a:pt x="119" y="1874"/>
                    <a:pt x="79" y="1945"/>
                    <a:pt x="48" y="1977"/>
                  </a:cubicBezTo>
                  <a:lnTo>
                    <a:pt x="40" y="1984"/>
                  </a:lnTo>
                  <a:cubicBezTo>
                    <a:pt x="712" y="1905"/>
                    <a:pt x="712" y="1905"/>
                    <a:pt x="712" y="1905"/>
                  </a:cubicBezTo>
                  <a:cubicBezTo>
                    <a:pt x="712" y="1905"/>
                    <a:pt x="728" y="1897"/>
                    <a:pt x="751" y="1929"/>
                  </a:cubicBezTo>
                </a:path>
              </a:pathLst>
            </a:custGeom>
            <a:grpFill/>
            <a:ln>
              <a:solidFill>
                <a:schemeClr val="bg1">
                  <a:lumMod val="95000"/>
                </a:schemeClr>
              </a:solidFill>
            </a:ln>
            <a:effectLst/>
          </p:spPr>
          <p:txBody>
            <a:bodyPr wrap="none" anchor="ctr"/>
            <a:lstStyle/>
            <a:p>
              <a:endParaRPr lang="en-US" sz="900"/>
            </a:p>
          </p:txBody>
        </p:sp>
        <p:sp>
          <p:nvSpPr>
            <p:cNvPr id="74" name="Freeform 640"/>
            <p:cNvSpPr>
              <a:spLocks noChangeArrowheads="1"/>
            </p:cNvSpPr>
            <p:nvPr/>
          </p:nvSpPr>
          <p:spPr bwMode="auto">
            <a:xfrm>
              <a:off x="14039000" y="4347698"/>
              <a:ext cx="786244" cy="1039049"/>
            </a:xfrm>
            <a:custGeom>
              <a:avLst/>
              <a:gdLst>
                <a:gd name="T0" fmla="*/ 119 w 1495"/>
                <a:gd name="T1" fmla="*/ 1858 h 1977"/>
                <a:gd name="T2" fmla="*/ 71 w 1495"/>
                <a:gd name="T3" fmla="*/ 1162 h 1977"/>
                <a:gd name="T4" fmla="*/ 24 w 1495"/>
                <a:gd name="T5" fmla="*/ 901 h 1977"/>
                <a:gd name="T6" fmla="*/ 103 w 1495"/>
                <a:gd name="T7" fmla="*/ 751 h 1977"/>
                <a:gd name="T8" fmla="*/ 79 w 1495"/>
                <a:gd name="T9" fmla="*/ 553 h 1977"/>
                <a:gd name="T10" fmla="*/ 158 w 1495"/>
                <a:gd name="T11" fmla="*/ 427 h 1977"/>
                <a:gd name="T12" fmla="*/ 222 w 1495"/>
                <a:gd name="T13" fmla="*/ 395 h 1977"/>
                <a:gd name="T14" fmla="*/ 301 w 1495"/>
                <a:gd name="T15" fmla="*/ 474 h 1977"/>
                <a:gd name="T16" fmla="*/ 309 w 1495"/>
                <a:gd name="T17" fmla="*/ 403 h 1977"/>
                <a:gd name="T18" fmla="*/ 340 w 1495"/>
                <a:gd name="T19" fmla="*/ 466 h 1977"/>
                <a:gd name="T20" fmla="*/ 364 w 1495"/>
                <a:gd name="T21" fmla="*/ 221 h 1977"/>
                <a:gd name="T22" fmla="*/ 411 w 1495"/>
                <a:gd name="T23" fmla="*/ 135 h 1977"/>
                <a:gd name="T24" fmla="*/ 530 w 1495"/>
                <a:gd name="T25" fmla="*/ 0 h 1977"/>
                <a:gd name="T26" fmla="*/ 735 w 1495"/>
                <a:gd name="T27" fmla="*/ 71 h 1977"/>
                <a:gd name="T28" fmla="*/ 878 w 1495"/>
                <a:gd name="T29" fmla="*/ 119 h 1977"/>
                <a:gd name="T30" fmla="*/ 1044 w 1495"/>
                <a:gd name="T31" fmla="*/ 237 h 1977"/>
                <a:gd name="T32" fmla="*/ 1075 w 1495"/>
                <a:gd name="T33" fmla="*/ 427 h 1977"/>
                <a:gd name="T34" fmla="*/ 1044 w 1495"/>
                <a:gd name="T35" fmla="*/ 648 h 1977"/>
                <a:gd name="T36" fmla="*/ 917 w 1495"/>
                <a:gd name="T37" fmla="*/ 854 h 1977"/>
                <a:gd name="T38" fmla="*/ 1068 w 1495"/>
                <a:gd name="T39" fmla="*/ 901 h 1977"/>
                <a:gd name="T40" fmla="*/ 1123 w 1495"/>
                <a:gd name="T41" fmla="*/ 799 h 1977"/>
                <a:gd name="T42" fmla="*/ 1455 w 1495"/>
                <a:gd name="T43" fmla="*/ 1107 h 1977"/>
                <a:gd name="T44" fmla="*/ 1494 w 1495"/>
                <a:gd name="T45" fmla="*/ 1186 h 1977"/>
                <a:gd name="T46" fmla="*/ 1423 w 1495"/>
                <a:gd name="T47" fmla="*/ 1376 h 1977"/>
                <a:gd name="T48" fmla="*/ 1368 w 1495"/>
                <a:gd name="T49" fmla="*/ 1455 h 1977"/>
                <a:gd name="T50" fmla="*/ 1305 w 1495"/>
                <a:gd name="T51" fmla="*/ 1605 h 1977"/>
                <a:gd name="T52" fmla="*/ 1297 w 1495"/>
                <a:gd name="T53" fmla="*/ 1707 h 1977"/>
                <a:gd name="T54" fmla="*/ 1210 w 1495"/>
                <a:gd name="T55" fmla="*/ 1834 h 1977"/>
                <a:gd name="T56" fmla="*/ 24 w 1495"/>
                <a:gd name="T57" fmla="*/ 1976 h 1977"/>
                <a:gd name="T58" fmla="*/ 143 w 1495"/>
                <a:gd name="T59" fmla="*/ 490 h 1977"/>
                <a:gd name="T60" fmla="*/ 103 w 1495"/>
                <a:gd name="T61" fmla="*/ 640 h 1977"/>
                <a:gd name="T62" fmla="*/ 40 w 1495"/>
                <a:gd name="T63" fmla="*/ 846 h 1977"/>
                <a:gd name="T64" fmla="*/ 56 w 1495"/>
                <a:gd name="T65" fmla="*/ 1043 h 1977"/>
                <a:gd name="T66" fmla="*/ 135 w 1495"/>
                <a:gd name="T67" fmla="*/ 1818 h 1977"/>
                <a:gd name="T68" fmla="*/ 712 w 1495"/>
                <a:gd name="T69" fmla="*/ 1889 h 1977"/>
                <a:gd name="T70" fmla="*/ 1210 w 1495"/>
                <a:gd name="T71" fmla="*/ 1810 h 1977"/>
                <a:gd name="T72" fmla="*/ 1305 w 1495"/>
                <a:gd name="T73" fmla="*/ 1636 h 1977"/>
                <a:gd name="T74" fmla="*/ 1360 w 1495"/>
                <a:gd name="T75" fmla="*/ 1415 h 1977"/>
                <a:gd name="T76" fmla="*/ 1479 w 1495"/>
                <a:gd name="T77" fmla="*/ 1383 h 1977"/>
                <a:gd name="T78" fmla="*/ 1486 w 1495"/>
                <a:gd name="T79" fmla="*/ 1186 h 1977"/>
                <a:gd name="T80" fmla="*/ 1392 w 1495"/>
                <a:gd name="T81" fmla="*/ 941 h 1977"/>
                <a:gd name="T82" fmla="*/ 1107 w 1495"/>
                <a:gd name="T83" fmla="*/ 806 h 1977"/>
                <a:gd name="T84" fmla="*/ 1044 w 1495"/>
                <a:gd name="T85" fmla="*/ 933 h 1977"/>
                <a:gd name="T86" fmla="*/ 933 w 1495"/>
                <a:gd name="T87" fmla="*/ 814 h 1977"/>
                <a:gd name="T88" fmla="*/ 1060 w 1495"/>
                <a:gd name="T89" fmla="*/ 632 h 1977"/>
                <a:gd name="T90" fmla="*/ 1028 w 1495"/>
                <a:gd name="T91" fmla="*/ 340 h 1977"/>
                <a:gd name="T92" fmla="*/ 1036 w 1495"/>
                <a:gd name="T93" fmla="*/ 237 h 1977"/>
                <a:gd name="T94" fmla="*/ 767 w 1495"/>
                <a:gd name="T95" fmla="*/ 95 h 1977"/>
                <a:gd name="T96" fmla="*/ 649 w 1495"/>
                <a:gd name="T97" fmla="*/ 48 h 1977"/>
                <a:gd name="T98" fmla="*/ 467 w 1495"/>
                <a:gd name="T99" fmla="*/ 55 h 1977"/>
                <a:gd name="T100" fmla="*/ 459 w 1495"/>
                <a:gd name="T101" fmla="*/ 182 h 1977"/>
                <a:gd name="T102" fmla="*/ 348 w 1495"/>
                <a:gd name="T103" fmla="*/ 269 h 1977"/>
                <a:gd name="T104" fmla="*/ 316 w 1495"/>
                <a:gd name="T105" fmla="*/ 435 h 1977"/>
                <a:gd name="T106" fmla="*/ 309 w 1495"/>
                <a:gd name="T107" fmla="*/ 450 h 1977"/>
                <a:gd name="T108" fmla="*/ 285 w 1495"/>
                <a:gd name="T109" fmla="*/ 308 h 1977"/>
                <a:gd name="T110" fmla="*/ 206 w 1495"/>
                <a:gd name="T111" fmla="*/ 443 h 1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5" h="1977">
                  <a:moveTo>
                    <a:pt x="24" y="1976"/>
                  </a:moveTo>
                  <a:lnTo>
                    <a:pt x="24" y="1976"/>
                  </a:lnTo>
                  <a:cubicBezTo>
                    <a:pt x="40" y="1976"/>
                    <a:pt x="40" y="1976"/>
                    <a:pt x="40" y="1976"/>
                  </a:cubicBezTo>
                  <a:cubicBezTo>
                    <a:pt x="40" y="1969"/>
                    <a:pt x="40" y="1969"/>
                    <a:pt x="48" y="1969"/>
                  </a:cubicBezTo>
                  <a:cubicBezTo>
                    <a:pt x="71" y="1937"/>
                    <a:pt x="103" y="1889"/>
                    <a:pt x="119" y="1858"/>
                  </a:cubicBezTo>
                  <a:cubicBezTo>
                    <a:pt x="119" y="1858"/>
                    <a:pt x="119" y="1850"/>
                    <a:pt x="127" y="1850"/>
                  </a:cubicBezTo>
                  <a:cubicBezTo>
                    <a:pt x="127" y="1842"/>
                    <a:pt x="127" y="1834"/>
                    <a:pt x="135" y="1818"/>
                  </a:cubicBezTo>
                  <a:cubicBezTo>
                    <a:pt x="135" y="1787"/>
                    <a:pt x="143" y="1739"/>
                    <a:pt x="182" y="1644"/>
                  </a:cubicBezTo>
                  <a:cubicBezTo>
                    <a:pt x="229" y="1510"/>
                    <a:pt x="143" y="1273"/>
                    <a:pt x="119" y="1225"/>
                  </a:cubicBezTo>
                  <a:cubicBezTo>
                    <a:pt x="103" y="1202"/>
                    <a:pt x="87" y="1178"/>
                    <a:pt x="71" y="1162"/>
                  </a:cubicBezTo>
                  <a:cubicBezTo>
                    <a:pt x="71" y="1154"/>
                    <a:pt x="63" y="1154"/>
                    <a:pt x="63" y="1146"/>
                  </a:cubicBezTo>
                  <a:cubicBezTo>
                    <a:pt x="48" y="1123"/>
                    <a:pt x="32" y="1059"/>
                    <a:pt x="56" y="1043"/>
                  </a:cubicBezTo>
                  <a:cubicBezTo>
                    <a:pt x="63" y="1036"/>
                    <a:pt x="56" y="1020"/>
                    <a:pt x="56" y="1004"/>
                  </a:cubicBezTo>
                  <a:cubicBezTo>
                    <a:pt x="56" y="988"/>
                    <a:pt x="56" y="980"/>
                    <a:pt x="56" y="965"/>
                  </a:cubicBezTo>
                  <a:cubicBezTo>
                    <a:pt x="56" y="933"/>
                    <a:pt x="48" y="925"/>
                    <a:pt x="24" y="901"/>
                  </a:cubicBezTo>
                  <a:lnTo>
                    <a:pt x="24" y="901"/>
                  </a:lnTo>
                  <a:cubicBezTo>
                    <a:pt x="0" y="877"/>
                    <a:pt x="24" y="862"/>
                    <a:pt x="32" y="846"/>
                  </a:cubicBezTo>
                  <a:cubicBezTo>
                    <a:pt x="40" y="838"/>
                    <a:pt x="48" y="838"/>
                    <a:pt x="48" y="830"/>
                  </a:cubicBezTo>
                  <a:cubicBezTo>
                    <a:pt x="56" y="822"/>
                    <a:pt x="63" y="814"/>
                    <a:pt x="71" y="799"/>
                  </a:cubicBezTo>
                  <a:cubicBezTo>
                    <a:pt x="79" y="783"/>
                    <a:pt x="87" y="767"/>
                    <a:pt x="103" y="751"/>
                  </a:cubicBezTo>
                  <a:cubicBezTo>
                    <a:pt x="111" y="743"/>
                    <a:pt x="103" y="712"/>
                    <a:pt x="103" y="688"/>
                  </a:cubicBezTo>
                  <a:cubicBezTo>
                    <a:pt x="95" y="664"/>
                    <a:pt x="95" y="648"/>
                    <a:pt x="103" y="632"/>
                  </a:cubicBezTo>
                  <a:cubicBezTo>
                    <a:pt x="103" y="625"/>
                    <a:pt x="103" y="609"/>
                    <a:pt x="87" y="601"/>
                  </a:cubicBezTo>
                  <a:cubicBezTo>
                    <a:pt x="87" y="593"/>
                    <a:pt x="79" y="585"/>
                    <a:pt x="79" y="577"/>
                  </a:cubicBezTo>
                  <a:cubicBezTo>
                    <a:pt x="71" y="569"/>
                    <a:pt x="71" y="561"/>
                    <a:pt x="79" y="553"/>
                  </a:cubicBezTo>
                  <a:cubicBezTo>
                    <a:pt x="87" y="538"/>
                    <a:pt x="111" y="530"/>
                    <a:pt x="119" y="530"/>
                  </a:cubicBezTo>
                  <a:cubicBezTo>
                    <a:pt x="127" y="530"/>
                    <a:pt x="135" y="506"/>
                    <a:pt x="135" y="482"/>
                  </a:cubicBezTo>
                  <a:cubicBezTo>
                    <a:pt x="143" y="474"/>
                    <a:pt x="143" y="466"/>
                    <a:pt x="143" y="459"/>
                  </a:cubicBezTo>
                  <a:cubicBezTo>
                    <a:pt x="151" y="450"/>
                    <a:pt x="151" y="443"/>
                    <a:pt x="151" y="443"/>
                  </a:cubicBezTo>
                  <a:cubicBezTo>
                    <a:pt x="151" y="435"/>
                    <a:pt x="151" y="427"/>
                    <a:pt x="158" y="427"/>
                  </a:cubicBezTo>
                  <a:cubicBezTo>
                    <a:pt x="166" y="427"/>
                    <a:pt x="174" y="427"/>
                    <a:pt x="182" y="435"/>
                  </a:cubicBezTo>
                  <a:cubicBezTo>
                    <a:pt x="190" y="435"/>
                    <a:pt x="190" y="435"/>
                    <a:pt x="190" y="435"/>
                  </a:cubicBezTo>
                  <a:cubicBezTo>
                    <a:pt x="198" y="435"/>
                    <a:pt x="198" y="435"/>
                    <a:pt x="206" y="435"/>
                  </a:cubicBezTo>
                  <a:cubicBezTo>
                    <a:pt x="214" y="435"/>
                    <a:pt x="214" y="435"/>
                    <a:pt x="214" y="419"/>
                  </a:cubicBezTo>
                  <a:cubicBezTo>
                    <a:pt x="214" y="411"/>
                    <a:pt x="214" y="403"/>
                    <a:pt x="222" y="395"/>
                  </a:cubicBezTo>
                  <a:cubicBezTo>
                    <a:pt x="238" y="379"/>
                    <a:pt x="253" y="332"/>
                    <a:pt x="261" y="316"/>
                  </a:cubicBezTo>
                  <a:cubicBezTo>
                    <a:pt x="261" y="300"/>
                    <a:pt x="269" y="300"/>
                    <a:pt x="277" y="300"/>
                  </a:cubicBezTo>
                  <a:cubicBezTo>
                    <a:pt x="277" y="300"/>
                    <a:pt x="285" y="300"/>
                    <a:pt x="293" y="308"/>
                  </a:cubicBezTo>
                  <a:cubicBezTo>
                    <a:pt x="293" y="316"/>
                    <a:pt x="293" y="372"/>
                    <a:pt x="293" y="395"/>
                  </a:cubicBezTo>
                  <a:cubicBezTo>
                    <a:pt x="293" y="427"/>
                    <a:pt x="285" y="450"/>
                    <a:pt x="301" y="474"/>
                  </a:cubicBezTo>
                  <a:cubicBezTo>
                    <a:pt x="309" y="474"/>
                    <a:pt x="309" y="482"/>
                    <a:pt x="309" y="482"/>
                  </a:cubicBezTo>
                  <a:cubicBezTo>
                    <a:pt x="309" y="474"/>
                    <a:pt x="309" y="459"/>
                    <a:pt x="309" y="459"/>
                  </a:cubicBezTo>
                  <a:cubicBezTo>
                    <a:pt x="301" y="450"/>
                    <a:pt x="301" y="443"/>
                    <a:pt x="301" y="443"/>
                  </a:cubicBezTo>
                  <a:cubicBezTo>
                    <a:pt x="301" y="435"/>
                    <a:pt x="301" y="435"/>
                    <a:pt x="301" y="435"/>
                  </a:cubicBezTo>
                  <a:cubicBezTo>
                    <a:pt x="301" y="419"/>
                    <a:pt x="301" y="411"/>
                    <a:pt x="309" y="403"/>
                  </a:cubicBezTo>
                  <a:cubicBezTo>
                    <a:pt x="309" y="403"/>
                    <a:pt x="309" y="403"/>
                    <a:pt x="316" y="403"/>
                  </a:cubicBezTo>
                  <a:cubicBezTo>
                    <a:pt x="324" y="403"/>
                    <a:pt x="324" y="419"/>
                    <a:pt x="324" y="435"/>
                  </a:cubicBezTo>
                  <a:cubicBezTo>
                    <a:pt x="324" y="450"/>
                    <a:pt x="324" y="466"/>
                    <a:pt x="332" y="466"/>
                  </a:cubicBezTo>
                  <a:lnTo>
                    <a:pt x="332" y="466"/>
                  </a:lnTo>
                  <a:cubicBezTo>
                    <a:pt x="340" y="466"/>
                    <a:pt x="340" y="466"/>
                    <a:pt x="340" y="466"/>
                  </a:cubicBezTo>
                  <a:cubicBezTo>
                    <a:pt x="348" y="459"/>
                    <a:pt x="348" y="427"/>
                    <a:pt x="348" y="395"/>
                  </a:cubicBezTo>
                  <a:cubicBezTo>
                    <a:pt x="348" y="379"/>
                    <a:pt x="348" y="364"/>
                    <a:pt x="340" y="348"/>
                  </a:cubicBezTo>
                  <a:cubicBezTo>
                    <a:pt x="340" y="324"/>
                    <a:pt x="332" y="293"/>
                    <a:pt x="340" y="269"/>
                  </a:cubicBezTo>
                  <a:cubicBezTo>
                    <a:pt x="340" y="237"/>
                    <a:pt x="348" y="229"/>
                    <a:pt x="356" y="229"/>
                  </a:cubicBezTo>
                  <a:cubicBezTo>
                    <a:pt x="364" y="229"/>
                    <a:pt x="364" y="229"/>
                    <a:pt x="364" y="221"/>
                  </a:cubicBezTo>
                  <a:cubicBezTo>
                    <a:pt x="380" y="206"/>
                    <a:pt x="403" y="198"/>
                    <a:pt x="427" y="198"/>
                  </a:cubicBezTo>
                  <a:cubicBezTo>
                    <a:pt x="451" y="198"/>
                    <a:pt x="451" y="198"/>
                    <a:pt x="459" y="182"/>
                  </a:cubicBezTo>
                  <a:lnTo>
                    <a:pt x="459" y="182"/>
                  </a:lnTo>
                  <a:cubicBezTo>
                    <a:pt x="459" y="174"/>
                    <a:pt x="451" y="166"/>
                    <a:pt x="443" y="158"/>
                  </a:cubicBezTo>
                  <a:cubicBezTo>
                    <a:pt x="435" y="158"/>
                    <a:pt x="427" y="150"/>
                    <a:pt x="411" y="135"/>
                  </a:cubicBezTo>
                  <a:cubicBezTo>
                    <a:pt x="411" y="126"/>
                    <a:pt x="411" y="119"/>
                    <a:pt x="411" y="103"/>
                  </a:cubicBezTo>
                  <a:cubicBezTo>
                    <a:pt x="419" y="87"/>
                    <a:pt x="435" y="71"/>
                    <a:pt x="443" y="71"/>
                  </a:cubicBezTo>
                  <a:cubicBezTo>
                    <a:pt x="443" y="63"/>
                    <a:pt x="451" y="55"/>
                    <a:pt x="459" y="48"/>
                  </a:cubicBezTo>
                  <a:cubicBezTo>
                    <a:pt x="467" y="32"/>
                    <a:pt x="482" y="16"/>
                    <a:pt x="498" y="0"/>
                  </a:cubicBezTo>
                  <a:cubicBezTo>
                    <a:pt x="506" y="0"/>
                    <a:pt x="514" y="0"/>
                    <a:pt x="530" y="0"/>
                  </a:cubicBezTo>
                  <a:cubicBezTo>
                    <a:pt x="554" y="0"/>
                    <a:pt x="585" y="16"/>
                    <a:pt x="593" y="24"/>
                  </a:cubicBezTo>
                  <a:cubicBezTo>
                    <a:pt x="601" y="32"/>
                    <a:pt x="617" y="39"/>
                    <a:pt x="641" y="39"/>
                  </a:cubicBezTo>
                  <a:lnTo>
                    <a:pt x="649" y="39"/>
                  </a:lnTo>
                  <a:cubicBezTo>
                    <a:pt x="656" y="39"/>
                    <a:pt x="656" y="39"/>
                    <a:pt x="664" y="39"/>
                  </a:cubicBezTo>
                  <a:cubicBezTo>
                    <a:pt x="696" y="39"/>
                    <a:pt x="728" y="48"/>
                    <a:pt x="735" y="71"/>
                  </a:cubicBezTo>
                  <a:cubicBezTo>
                    <a:pt x="743" y="87"/>
                    <a:pt x="751" y="87"/>
                    <a:pt x="751" y="87"/>
                  </a:cubicBezTo>
                  <a:cubicBezTo>
                    <a:pt x="759" y="87"/>
                    <a:pt x="759" y="87"/>
                    <a:pt x="759" y="87"/>
                  </a:cubicBezTo>
                  <a:cubicBezTo>
                    <a:pt x="767" y="87"/>
                    <a:pt x="767" y="87"/>
                    <a:pt x="767" y="87"/>
                  </a:cubicBezTo>
                  <a:lnTo>
                    <a:pt x="767" y="87"/>
                  </a:lnTo>
                  <a:cubicBezTo>
                    <a:pt x="783" y="87"/>
                    <a:pt x="822" y="103"/>
                    <a:pt x="878" y="119"/>
                  </a:cubicBezTo>
                  <a:cubicBezTo>
                    <a:pt x="909" y="135"/>
                    <a:pt x="941" y="142"/>
                    <a:pt x="949" y="142"/>
                  </a:cubicBezTo>
                  <a:cubicBezTo>
                    <a:pt x="981" y="158"/>
                    <a:pt x="996" y="190"/>
                    <a:pt x="1004" y="198"/>
                  </a:cubicBezTo>
                  <a:cubicBezTo>
                    <a:pt x="1004" y="213"/>
                    <a:pt x="1012" y="213"/>
                    <a:pt x="1028" y="221"/>
                  </a:cubicBezTo>
                  <a:cubicBezTo>
                    <a:pt x="1028" y="221"/>
                    <a:pt x="1036" y="229"/>
                    <a:pt x="1044" y="229"/>
                  </a:cubicBezTo>
                  <a:lnTo>
                    <a:pt x="1044" y="237"/>
                  </a:lnTo>
                  <a:cubicBezTo>
                    <a:pt x="1044" y="253"/>
                    <a:pt x="1020" y="277"/>
                    <a:pt x="1012" y="293"/>
                  </a:cubicBezTo>
                  <a:cubicBezTo>
                    <a:pt x="1004" y="293"/>
                    <a:pt x="1004" y="293"/>
                    <a:pt x="1004" y="300"/>
                  </a:cubicBezTo>
                  <a:cubicBezTo>
                    <a:pt x="1004" y="308"/>
                    <a:pt x="1020" y="324"/>
                    <a:pt x="1028" y="332"/>
                  </a:cubicBezTo>
                  <a:lnTo>
                    <a:pt x="1028" y="332"/>
                  </a:lnTo>
                  <a:cubicBezTo>
                    <a:pt x="1044" y="340"/>
                    <a:pt x="1075" y="395"/>
                    <a:pt x="1075" y="427"/>
                  </a:cubicBezTo>
                  <a:cubicBezTo>
                    <a:pt x="1075" y="443"/>
                    <a:pt x="1075" y="450"/>
                    <a:pt x="1075" y="459"/>
                  </a:cubicBezTo>
                  <a:cubicBezTo>
                    <a:pt x="1068" y="482"/>
                    <a:pt x="1068" y="490"/>
                    <a:pt x="1083" y="514"/>
                  </a:cubicBezTo>
                  <a:cubicBezTo>
                    <a:pt x="1099" y="546"/>
                    <a:pt x="1091" y="569"/>
                    <a:pt x="1083" y="609"/>
                  </a:cubicBezTo>
                  <a:cubicBezTo>
                    <a:pt x="1075" y="632"/>
                    <a:pt x="1075" y="632"/>
                    <a:pt x="1060" y="640"/>
                  </a:cubicBezTo>
                  <a:cubicBezTo>
                    <a:pt x="1052" y="640"/>
                    <a:pt x="1052" y="640"/>
                    <a:pt x="1044" y="648"/>
                  </a:cubicBezTo>
                  <a:cubicBezTo>
                    <a:pt x="1028" y="656"/>
                    <a:pt x="1020" y="680"/>
                    <a:pt x="1020" y="696"/>
                  </a:cubicBezTo>
                  <a:cubicBezTo>
                    <a:pt x="1020" y="712"/>
                    <a:pt x="1020" y="743"/>
                    <a:pt x="996" y="783"/>
                  </a:cubicBezTo>
                  <a:cubicBezTo>
                    <a:pt x="988" y="806"/>
                    <a:pt x="973" y="814"/>
                    <a:pt x="957" y="814"/>
                  </a:cubicBezTo>
                  <a:cubicBezTo>
                    <a:pt x="949" y="814"/>
                    <a:pt x="941" y="814"/>
                    <a:pt x="933" y="822"/>
                  </a:cubicBezTo>
                  <a:cubicBezTo>
                    <a:pt x="925" y="822"/>
                    <a:pt x="917" y="838"/>
                    <a:pt x="917" y="854"/>
                  </a:cubicBezTo>
                  <a:cubicBezTo>
                    <a:pt x="917" y="885"/>
                    <a:pt x="925" y="917"/>
                    <a:pt x="941" y="933"/>
                  </a:cubicBezTo>
                  <a:cubicBezTo>
                    <a:pt x="957" y="957"/>
                    <a:pt x="988" y="965"/>
                    <a:pt x="1004" y="965"/>
                  </a:cubicBezTo>
                  <a:cubicBezTo>
                    <a:pt x="1012" y="965"/>
                    <a:pt x="1020" y="965"/>
                    <a:pt x="1020" y="957"/>
                  </a:cubicBezTo>
                  <a:cubicBezTo>
                    <a:pt x="1028" y="949"/>
                    <a:pt x="1036" y="941"/>
                    <a:pt x="1044" y="933"/>
                  </a:cubicBezTo>
                  <a:cubicBezTo>
                    <a:pt x="1052" y="925"/>
                    <a:pt x="1060" y="909"/>
                    <a:pt x="1068" y="901"/>
                  </a:cubicBezTo>
                  <a:cubicBezTo>
                    <a:pt x="1068" y="893"/>
                    <a:pt x="1075" y="893"/>
                    <a:pt x="1075" y="885"/>
                  </a:cubicBezTo>
                  <a:cubicBezTo>
                    <a:pt x="1083" y="870"/>
                    <a:pt x="1091" y="862"/>
                    <a:pt x="1091" y="846"/>
                  </a:cubicBezTo>
                  <a:cubicBezTo>
                    <a:pt x="1091" y="822"/>
                    <a:pt x="1091" y="814"/>
                    <a:pt x="1099" y="806"/>
                  </a:cubicBezTo>
                  <a:cubicBezTo>
                    <a:pt x="1099" y="799"/>
                    <a:pt x="1107" y="799"/>
                    <a:pt x="1107" y="806"/>
                  </a:cubicBezTo>
                  <a:cubicBezTo>
                    <a:pt x="1115" y="806"/>
                    <a:pt x="1123" y="799"/>
                    <a:pt x="1123" y="799"/>
                  </a:cubicBezTo>
                  <a:cubicBezTo>
                    <a:pt x="1131" y="767"/>
                    <a:pt x="1194" y="727"/>
                    <a:pt x="1234" y="727"/>
                  </a:cubicBezTo>
                  <a:cubicBezTo>
                    <a:pt x="1273" y="719"/>
                    <a:pt x="1344" y="767"/>
                    <a:pt x="1344" y="799"/>
                  </a:cubicBezTo>
                  <a:cubicBezTo>
                    <a:pt x="1352" y="838"/>
                    <a:pt x="1376" y="901"/>
                    <a:pt x="1392" y="933"/>
                  </a:cubicBezTo>
                  <a:cubicBezTo>
                    <a:pt x="1408" y="965"/>
                    <a:pt x="1431" y="1028"/>
                    <a:pt x="1447" y="1075"/>
                  </a:cubicBezTo>
                  <a:cubicBezTo>
                    <a:pt x="1455" y="1091"/>
                    <a:pt x="1455" y="1099"/>
                    <a:pt x="1455" y="1107"/>
                  </a:cubicBezTo>
                  <a:cubicBezTo>
                    <a:pt x="1471" y="1130"/>
                    <a:pt x="1471" y="1138"/>
                    <a:pt x="1479" y="1146"/>
                  </a:cubicBezTo>
                  <a:cubicBezTo>
                    <a:pt x="1479" y="1154"/>
                    <a:pt x="1486" y="1154"/>
                    <a:pt x="1486" y="1170"/>
                  </a:cubicBezTo>
                  <a:cubicBezTo>
                    <a:pt x="1494" y="1178"/>
                    <a:pt x="1494" y="1178"/>
                    <a:pt x="1494" y="1178"/>
                  </a:cubicBezTo>
                  <a:cubicBezTo>
                    <a:pt x="1494" y="1186"/>
                    <a:pt x="1494" y="1186"/>
                    <a:pt x="1494" y="1186"/>
                  </a:cubicBezTo>
                  <a:lnTo>
                    <a:pt x="1494" y="1186"/>
                  </a:lnTo>
                  <a:cubicBezTo>
                    <a:pt x="1486" y="1249"/>
                    <a:pt x="1479" y="1328"/>
                    <a:pt x="1486" y="1376"/>
                  </a:cubicBezTo>
                  <a:cubicBezTo>
                    <a:pt x="1486" y="1376"/>
                    <a:pt x="1494" y="1383"/>
                    <a:pt x="1486" y="1391"/>
                  </a:cubicBezTo>
                  <a:cubicBezTo>
                    <a:pt x="1486" y="1407"/>
                    <a:pt x="1486" y="1407"/>
                    <a:pt x="1486" y="1407"/>
                  </a:cubicBezTo>
                  <a:cubicBezTo>
                    <a:pt x="1479" y="1391"/>
                    <a:pt x="1479" y="1391"/>
                    <a:pt x="1479" y="1391"/>
                  </a:cubicBezTo>
                  <a:cubicBezTo>
                    <a:pt x="1479" y="1383"/>
                    <a:pt x="1447" y="1383"/>
                    <a:pt x="1423" y="1376"/>
                  </a:cubicBezTo>
                  <a:cubicBezTo>
                    <a:pt x="1415" y="1376"/>
                    <a:pt x="1408" y="1376"/>
                    <a:pt x="1399" y="1376"/>
                  </a:cubicBezTo>
                  <a:lnTo>
                    <a:pt x="1392" y="1376"/>
                  </a:lnTo>
                  <a:cubicBezTo>
                    <a:pt x="1376" y="1376"/>
                    <a:pt x="1376" y="1376"/>
                    <a:pt x="1376" y="1391"/>
                  </a:cubicBezTo>
                  <a:cubicBezTo>
                    <a:pt x="1376" y="1399"/>
                    <a:pt x="1368" y="1407"/>
                    <a:pt x="1368" y="1415"/>
                  </a:cubicBezTo>
                  <a:cubicBezTo>
                    <a:pt x="1360" y="1431"/>
                    <a:pt x="1360" y="1439"/>
                    <a:pt x="1368" y="1455"/>
                  </a:cubicBezTo>
                  <a:cubicBezTo>
                    <a:pt x="1368" y="1463"/>
                    <a:pt x="1368" y="1470"/>
                    <a:pt x="1376" y="1478"/>
                  </a:cubicBezTo>
                  <a:cubicBezTo>
                    <a:pt x="1376" y="1494"/>
                    <a:pt x="1376" y="1502"/>
                    <a:pt x="1376" y="1502"/>
                  </a:cubicBezTo>
                  <a:lnTo>
                    <a:pt x="1376" y="1502"/>
                  </a:lnTo>
                  <a:cubicBezTo>
                    <a:pt x="1376" y="1510"/>
                    <a:pt x="1376" y="1510"/>
                    <a:pt x="1376" y="1510"/>
                  </a:cubicBezTo>
                  <a:cubicBezTo>
                    <a:pt x="1305" y="1573"/>
                    <a:pt x="1297" y="1597"/>
                    <a:pt x="1305" y="1605"/>
                  </a:cubicBezTo>
                  <a:cubicBezTo>
                    <a:pt x="1305" y="1613"/>
                    <a:pt x="1305" y="1629"/>
                    <a:pt x="1313" y="1636"/>
                  </a:cubicBezTo>
                  <a:cubicBezTo>
                    <a:pt x="1313" y="1652"/>
                    <a:pt x="1321" y="1660"/>
                    <a:pt x="1321" y="1676"/>
                  </a:cubicBezTo>
                  <a:cubicBezTo>
                    <a:pt x="1321" y="1684"/>
                    <a:pt x="1321" y="1684"/>
                    <a:pt x="1321" y="1684"/>
                  </a:cubicBezTo>
                  <a:lnTo>
                    <a:pt x="1321" y="1684"/>
                  </a:lnTo>
                  <a:cubicBezTo>
                    <a:pt x="1313" y="1684"/>
                    <a:pt x="1305" y="1700"/>
                    <a:pt x="1297" y="1707"/>
                  </a:cubicBezTo>
                  <a:cubicBezTo>
                    <a:pt x="1289" y="1716"/>
                    <a:pt x="1281" y="1723"/>
                    <a:pt x="1273" y="1731"/>
                  </a:cubicBezTo>
                  <a:cubicBezTo>
                    <a:pt x="1257" y="1739"/>
                    <a:pt x="1249" y="1763"/>
                    <a:pt x="1241" y="1787"/>
                  </a:cubicBezTo>
                  <a:cubicBezTo>
                    <a:pt x="1234" y="1795"/>
                    <a:pt x="1226" y="1802"/>
                    <a:pt x="1218" y="1818"/>
                  </a:cubicBezTo>
                  <a:cubicBezTo>
                    <a:pt x="1218" y="1826"/>
                    <a:pt x="1218" y="1826"/>
                    <a:pt x="1218" y="1834"/>
                  </a:cubicBezTo>
                  <a:cubicBezTo>
                    <a:pt x="1210" y="1834"/>
                    <a:pt x="1210" y="1834"/>
                    <a:pt x="1210" y="1834"/>
                  </a:cubicBezTo>
                  <a:lnTo>
                    <a:pt x="1210" y="1834"/>
                  </a:lnTo>
                  <a:cubicBezTo>
                    <a:pt x="1107" y="1866"/>
                    <a:pt x="846" y="1929"/>
                    <a:pt x="767" y="1929"/>
                  </a:cubicBezTo>
                  <a:cubicBezTo>
                    <a:pt x="759" y="1929"/>
                    <a:pt x="751" y="1929"/>
                    <a:pt x="751" y="1921"/>
                  </a:cubicBezTo>
                  <a:cubicBezTo>
                    <a:pt x="728" y="1897"/>
                    <a:pt x="712" y="1897"/>
                    <a:pt x="712" y="1897"/>
                  </a:cubicBezTo>
                  <a:lnTo>
                    <a:pt x="24" y="1976"/>
                  </a:lnTo>
                  <a:close/>
                  <a:moveTo>
                    <a:pt x="158" y="435"/>
                  </a:moveTo>
                  <a:lnTo>
                    <a:pt x="158" y="435"/>
                  </a:lnTo>
                  <a:cubicBezTo>
                    <a:pt x="158" y="435"/>
                    <a:pt x="158" y="435"/>
                    <a:pt x="158" y="443"/>
                  </a:cubicBezTo>
                  <a:cubicBezTo>
                    <a:pt x="158" y="450"/>
                    <a:pt x="158" y="450"/>
                    <a:pt x="151" y="459"/>
                  </a:cubicBezTo>
                  <a:cubicBezTo>
                    <a:pt x="151" y="466"/>
                    <a:pt x="151" y="474"/>
                    <a:pt x="143" y="490"/>
                  </a:cubicBezTo>
                  <a:cubicBezTo>
                    <a:pt x="135" y="514"/>
                    <a:pt x="135" y="530"/>
                    <a:pt x="119" y="538"/>
                  </a:cubicBezTo>
                  <a:cubicBezTo>
                    <a:pt x="111" y="538"/>
                    <a:pt x="95" y="546"/>
                    <a:pt x="87" y="553"/>
                  </a:cubicBezTo>
                  <a:cubicBezTo>
                    <a:pt x="79" y="561"/>
                    <a:pt x="79" y="569"/>
                    <a:pt x="87" y="577"/>
                  </a:cubicBezTo>
                  <a:cubicBezTo>
                    <a:pt x="87" y="577"/>
                    <a:pt x="95" y="585"/>
                    <a:pt x="95" y="593"/>
                  </a:cubicBezTo>
                  <a:cubicBezTo>
                    <a:pt x="103" y="609"/>
                    <a:pt x="111" y="625"/>
                    <a:pt x="103" y="640"/>
                  </a:cubicBezTo>
                  <a:cubicBezTo>
                    <a:pt x="103" y="648"/>
                    <a:pt x="103" y="672"/>
                    <a:pt x="111" y="688"/>
                  </a:cubicBezTo>
                  <a:cubicBezTo>
                    <a:pt x="111" y="719"/>
                    <a:pt x="119" y="743"/>
                    <a:pt x="103" y="759"/>
                  </a:cubicBezTo>
                  <a:cubicBezTo>
                    <a:pt x="95" y="767"/>
                    <a:pt x="87" y="790"/>
                    <a:pt x="71" y="806"/>
                  </a:cubicBezTo>
                  <a:cubicBezTo>
                    <a:pt x="63" y="814"/>
                    <a:pt x="63" y="822"/>
                    <a:pt x="56" y="830"/>
                  </a:cubicBezTo>
                  <a:cubicBezTo>
                    <a:pt x="48" y="838"/>
                    <a:pt x="48" y="846"/>
                    <a:pt x="40" y="846"/>
                  </a:cubicBezTo>
                  <a:cubicBezTo>
                    <a:pt x="24" y="870"/>
                    <a:pt x="16" y="877"/>
                    <a:pt x="24" y="893"/>
                  </a:cubicBezTo>
                  <a:cubicBezTo>
                    <a:pt x="32" y="893"/>
                    <a:pt x="32" y="893"/>
                    <a:pt x="32" y="893"/>
                  </a:cubicBezTo>
                  <a:cubicBezTo>
                    <a:pt x="48" y="917"/>
                    <a:pt x="63" y="925"/>
                    <a:pt x="63" y="965"/>
                  </a:cubicBezTo>
                  <a:cubicBezTo>
                    <a:pt x="63" y="980"/>
                    <a:pt x="63" y="988"/>
                    <a:pt x="63" y="1004"/>
                  </a:cubicBezTo>
                  <a:cubicBezTo>
                    <a:pt x="63" y="1020"/>
                    <a:pt x="71" y="1036"/>
                    <a:pt x="56" y="1043"/>
                  </a:cubicBezTo>
                  <a:cubicBezTo>
                    <a:pt x="48" y="1059"/>
                    <a:pt x="56" y="1123"/>
                    <a:pt x="71" y="1138"/>
                  </a:cubicBezTo>
                  <a:cubicBezTo>
                    <a:pt x="71" y="1146"/>
                    <a:pt x="79" y="1154"/>
                    <a:pt x="79" y="1162"/>
                  </a:cubicBezTo>
                  <a:cubicBezTo>
                    <a:pt x="95" y="1178"/>
                    <a:pt x="103" y="1194"/>
                    <a:pt x="127" y="1225"/>
                  </a:cubicBezTo>
                  <a:cubicBezTo>
                    <a:pt x="151" y="1273"/>
                    <a:pt x="238" y="1510"/>
                    <a:pt x="190" y="1652"/>
                  </a:cubicBezTo>
                  <a:cubicBezTo>
                    <a:pt x="151" y="1747"/>
                    <a:pt x="143" y="1795"/>
                    <a:pt x="135" y="1818"/>
                  </a:cubicBezTo>
                  <a:cubicBezTo>
                    <a:pt x="135" y="1834"/>
                    <a:pt x="135" y="1842"/>
                    <a:pt x="127" y="1850"/>
                  </a:cubicBezTo>
                  <a:cubicBezTo>
                    <a:pt x="127" y="1850"/>
                    <a:pt x="127" y="1858"/>
                    <a:pt x="127" y="1866"/>
                  </a:cubicBezTo>
                  <a:cubicBezTo>
                    <a:pt x="111" y="1889"/>
                    <a:pt x="79" y="1945"/>
                    <a:pt x="48" y="1969"/>
                  </a:cubicBezTo>
                  <a:lnTo>
                    <a:pt x="48" y="1969"/>
                  </a:lnTo>
                  <a:cubicBezTo>
                    <a:pt x="712" y="1889"/>
                    <a:pt x="712" y="1889"/>
                    <a:pt x="712" y="1889"/>
                  </a:cubicBezTo>
                  <a:lnTo>
                    <a:pt x="712" y="1889"/>
                  </a:lnTo>
                  <a:cubicBezTo>
                    <a:pt x="720" y="1889"/>
                    <a:pt x="735" y="1897"/>
                    <a:pt x="751" y="1921"/>
                  </a:cubicBezTo>
                  <a:cubicBezTo>
                    <a:pt x="751" y="1921"/>
                    <a:pt x="759" y="1921"/>
                    <a:pt x="767" y="1921"/>
                  </a:cubicBezTo>
                  <a:cubicBezTo>
                    <a:pt x="846" y="1921"/>
                    <a:pt x="1099" y="1858"/>
                    <a:pt x="1210" y="1826"/>
                  </a:cubicBezTo>
                  <a:cubicBezTo>
                    <a:pt x="1210" y="1826"/>
                    <a:pt x="1210" y="1818"/>
                    <a:pt x="1210" y="1810"/>
                  </a:cubicBezTo>
                  <a:cubicBezTo>
                    <a:pt x="1218" y="1802"/>
                    <a:pt x="1226" y="1795"/>
                    <a:pt x="1234" y="1779"/>
                  </a:cubicBezTo>
                  <a:cubicBezTo>
                    <a:pt x="1241" y="1755"/>
                    <a:pt x="1257" y="1731"/>
                    <a:pt x="1273" y="1723"/>
                  </a:cubicBezTo>
                  <a:cubicBezTo>
                    <a:pt x="1273" y="1723"/>
                    <a:pt x="1281" y="1716"/>
                    <a:pt x="1289" y="1707"/>
                  </a:cubicBezTo>
                  <a:cubicBezTo>
                    <a:pt x="1297" y="1692"/>
                    <a:pt x="1305" y="1684"/>
                    <a:pt x="1313" y="1676"/>
                  </a:cubicBezTo>
                  <a:cubicBezTo>
                    <a:pt x="1313" y="1660"/>
                    <a:pt x="1305" y="1652"/>
                    <a:pt x="1305" y="1636"/>
                  </a:cubicBezTo>
                  <a:cubicBezTo>
                    <a:pt x="1297" y="1629"/>
                    <a:pt x="1297" y="1613"/>
                    <a:pt x="1297" y="1613"/>
                  </a:cubicBezTo>
                  <a:cubicBezTo>
                    <a:pt x="1289" y="1597"/>
                    <a:pt x="1297" y="1581"/>
                    <a:pt x="1368" y="1502"/>
                  </a:cubicBezTo>
                  <a:cubicBezTo>
                    <a:pt x="1368" y="1502"/>
                    <a:pt x="1368" y="1494"/>
                    <a:pt x="1368" y="1486"/>
                  </a:cubicBezTo>
                  <a:cubicBezTo>
                    <a:pt x="1360" y="1470"/>
                    <a:pt x="1360" y="1463"/>
                    <a:pt x="1360" y="1455"/>
                  </a:cubicBezTo>
                  <a:cubicBezTo>
                    <a:pt x="1352" y="1439"/>
                    <a:pt x="1352" y="1431"/>
                    <a:pt x="1360" y="1415"/>
                  </a:cubicBezTo>
                  <a:cubicBezTo>
                    <a:pt x="1368" y="1407"/>
                    <a:pt x="1368" y="1399"/>
                    <a:pt x="1368" y="1391"/>
                  </a:cubicBezTo>
                  <a:cubicBezTo>
                    <a:pt x="1368" y="1376"/>
                    <a:pt x="1368" y="1368"/>
                    <a:pt x="1392" y="1368"/>
                  </a:cubicBezTo>
                  <a:lnTo>
                    <a:pt x="1399" y="1368"/>
                  </a:lnTo>
                  <a:cubicBezTo>
                    <a:pt x="1408" y="1368"/>
                    <a:pt x="1415" y="1368"/>
                    <a:pt x="1423" y="1368"/>
                  </a:cubicBezTo>
                  <a:cubicBezTo>
                    <a:pt x="1455" y="1376"/>
                    <a:pt x="1471" y="1376"/>
                    <a:pt x="1479" y="1383"/>
                  </a:cubicBezTo>
                  <a:lnTo>
                    <a:pt x="1479" y="1383"/>
                  </a:lnTo>
                  <a:lnTo>
                    <a:pt x="1479" y="1383"/>
                  </a:lnTo>
                  <a:cubicBezTo>
                    <a:pt x="1479" y="1376"/>
                    <a:pt x="1479" y="1376"/>
                    <a:pt x="1479" y="1376"/>
                  </a:cubicBezTo>
                  <a:cubicBezTo>
                    <a:pt x="1471" y="1336"/>
                    <a:pt x="1479" y="1257"/>
                    <a:pt x="1486" y="1194"/>
                  </a:cubicBezTo>
                  <a:lnTo>
                    <a:pt x="1486" y="1186"/>
                  </a:lnTo>
                  <a:cubicBezTo>
                    <a:pt x="1486" y="1170"/>
                    <a:pt x="1486" y="1170"/>
                    <a:pt x="1486" y="1170"/>
                  </a:cubicBezTo>
                  <a:cubicBezTo>
                    <a:pt x="1479" y="1162"/>
                    <a:pt x="1471" y="1154"/>
                    <a:pt x="1471" y="1146"/>
                  </a:cubicBezTo>
                  <a:cubicBezTo>
                    <a:pt x="1463" y="1146"/>
                    <a:pt x="1463" y="1138"/>
                    <a:pt x="1455" y="1107"/>
                  </a:cubicBezTo>
                  <a:cubicBezTo>
                    <a:pt x="1447" y="1099"/>
                    <a:pt x="1447" y="1091"/>
                    <a:pt x="1439" y="1075"/>
                  </a:cubicBezTo>
                  <a:cubicBezTo>
                    <a:pt x="1423" y="1028"/>
                    <a:pt x="1399" y="965"/>
                    <a:pt x="1392" y="941"/>
                  </a:cubicBezTo>
                  <a:cubicBezTo>
                    <a:pt x="1368" y="901"/>
                    <a:pt x="1344" y="838"/>
                    <a:pt x="1344" y="806"/>
                  </a:cubicBezTo>
                  <a:cubicBezTo>
                    <a:pt x="1336" y="775"/>
                    <a:pt x="1265" y="727"/>
                    <a:pt x="1234" y="735"/>
                  </a:cubicBezTo>
                  <a:cubicBezTo>
                    <a:pt x="1202" y="735"/>
                    <a:pt x="1139" y="775"/>
                    <a:pt x="1131" y="799"/>
                  </a:cubicBezTo>
                  <a:cubicBezTo>
                    <a:pt x="1131" y="799"/>
                    <a:pt x="1123" y="814"/>
                    <a:pt x="1115" y="814"/>
                  </a:cubicBezTo>
                  <a:cubicBezTo>
                    <a:pt x="1107" y="814"/>
                    <a:pt x="1107" y="814"/>
                    <a:pt x="1107" y="806"/>
                  </a:cubicBezTo>
                  <a:lnTo>
                    <a:pt x="1107" y="806"/>
                  </a:lnTo>
                  <a:cubicBezTo>
                    <a:pt x="1099" y="814"/>
                    <a:pt x="1099" y="838"/>
                    <a:pt x="1099" y="846"/>
                  </a:cubicBezTo>
                  <a:cubicBezTo>
                    <a:pt x="1099" y="862"/>
                    <a:pt x="1091" y="877"/>
                    <a:pt x="1083" y="885"/>
                  </a:cubicBezTo>
                  <a:cubicBezTo>
                    <a:pt x="1075" y="893"/>
                    <a:pt x="1075" y="901"/>
                    <a:pt x="1075" y="901"/>
                  </a:cubicBezTo>
                  <a:cubicBezTo>
                    <a:pt x="1068" y="917"/>
                    <a:pt x="1052" y="925"/>
                    <a:pt x="1044" y="933"/>
                  </a:cubicBezTo>
                  <a:cubicBezTo>
                    <a:pt x="1036" y="949"/>
                    <a:pt x="1028" y="957"/>
                    <a:pt x="1028" y="965"/>
                  </a:cubicBezTo>
                  <a:cubicBezTo>
                    <a:pt x="1020" y="972"/>
                    <a:pt x="1012" y="972"/>
                    <a:pt x="1004" y="972"/>
                  </a:cubicBezTo>
                  <a:cubicBezTo>
                    <a:pt x="981" y="972"/>
                    <a:pt x="957" y="965"/>
                    <a:pt x="933" y="941"/>
                  </a:cubicBezTo>
                  <a:cubicBezTo>
                    <a:pt x="917" y="925"/>
                    <a:pt x="909" y="885"/>
                    <a:pt x="909" y="854"/>
                  </a:cubicBezTo>
                  <a:cubicBezTo>
                    <a:pt x="909" y="838"/>
                    <a:pt x="917" y="822"/>
                    <a:pt x="933" y="814"/>
                  </a:cubicBezTo>
                  <a:cubicBezTo>
                    <a:pt x="941" y="806"/>
                    <a:pt x="949" y="806"/>
                    <a:pt x="957" y="806"/>
                  </a:cubicBezTo>
                  <a:cubicBezTo>
                    <a:pt x="973" y="806"/>
                    <a:pt x="981" y="806"/>
                    <a:pt x="996" y="783"/>
                  </a:cubicBezTo>
                  <a:cubicBezTo>
                    <a:pt x="1012" y="735"/>
                    <a:pt x="1012" y="712"/>
                    <a:pt x="1012" y="696"/>
                  </a:cubicBezTo>
                  <a:cubicBezTo>
                    <a:pt x="1012" y="680"/>
                    <a:pt x="1020" y="648"/>
                    <a:pt x="1044" y="640"/>
                  </a:cubicBezTo>
                  <a:cubicBezTo>
                    <a:pt x="1052" y="632"/>
                    <a:pt x="1052" y="632"/>
                    <a:pt x="1060" y="632"/>
                  </a:cubicBezTo>
                  <a:cubicBezTo>
                    <a:pt x="1068" y="632"/>
                    <a:pt x="1075" y="625"/>
                    <a:pt x="1075" y="601"/>
                  </a:cubicBezTo>
                  <a:cubicBezTo>
                    <a:pt x="1083" y="569"/>
                    <a:pt x="1091" y="553"/>
                    <a:pt x="1075" y="522"/>
                  </a:cubicBezTo>
                  <a:cubicBezTo>
                    <a:pt x="1060" y="498"/>
                    <a:pt x="1068" y="474"/>
                    <a:pt x="1068" y="459"/>
                  </a:cubicBezTo>
                  <a:cubicBezTo>
                    <a:pt x="1068" y="450"/>
                    <a:pt x="1068" y="443"/>
                    <a:pt x="1068" y="427"/>
                  </a:cubicBezTo>
                  <a:cubicBezTo>
                    <a:pt x="1068" y="395"/>
                    <a:pt x="1036" y="348"/>
                    <a:pt x="1028" y="340"/>
                  </a:cubicBezTo>
                  <a:lnTo>
                    <a:pt x="1028" y="340"/>
                  </a:lnTo>
                  <a:cubicBezTo>
                    <a:pt x="1012" y="324"/>
                    <a:pt x="996" y="308"/>
                    <a:pt x="996" y="300"/>
                  </a:cubicBezTo>
                  <a:cubicBezTo>
                    <a:pt x="996" y="293"/>
                    <a:pt x="996" y="285"/>
                    <a:pt x="1004" y="285"/>
                  </a:cubicBezTo>
                  <a:cubicBezTo>
                    <a:pt x="1020" y="269"/>
                    <a:pt x="1036" y="253"/>
                    <a:pt x="1036" y="237"/>
                  </a:cubicBezTo>
                  <a:lnTo>
                    <a:pt x="1036" y="237"/>
                  </a:lnTo>
                  <a:cubicBezTo>
                    <a:pt x="1028" y="229"/>
                    <a:pt x="1028" y="229"/>
                    <a:pt x="1020" y="229"/>
                  </a:cubicBezTo>
                  <a:cubicBezTo>
                    <a:pt x="1012" y="221"/>
                    <a:pt x="996" y="213"/>
                    <a:pt x="996" y="206"/>
                  </a:cubicBezTo>
                  <a:cubicBezTo>
                    <a:pt x="988" y="190"/>
                    <a:pt x="981" y="158"/>
                    <a:pt x="949" y="150"/>
                  </a:cubicBezTo>
                  <a:cubicBezTo>
                    <a:pt x="933" y="150"/>
                    <a:pt x="909" y="142"/>
                    <a:pt x="878" y="126"/>
                  </a:cubicBezTo>
                  <a:cubicBezTo>
                    <a:pt x="830" y="119"/>
                    <a:pt x="783" y="95"/>
                    <a:pt x="767" y="95"/>
                  </a:cubicBezTo>
                  <a:cubicBezTo>
                    <a:pt x="767" y="95"/>
                    <a:pt x="767" y="95"/>
                    <a:pt x="759" y="95"/>
                  </a:cubicBezTo>
                  <a:cubicBezTo>
                    <a:pt x="759" y="95"/>
                    <a:pt x="759" y="95"/>
                    <a:pt x="751" y="95"/>
                  </a:cubicBezTo>
                  <a:cubicBezTo>
                    <a:pt x="743" y="95"/>
                    <a:pt x="735" y="95"/>
                    <a:pt x="728" y="71"/>
                  </a:cubicBezTo>
                  <a:cubicBezTo>
                    <a:pt x="720" y="55"/>
                    <a:pt x="688" y="48"/>
                    <a:pt x="664" y="48"/>
                  </a:cubicBezTo>
                  <a:cubicBezTo>
                    <a:pt x="656" y="48"/>
                    <a:pt x="656" y="48"/>
                    <a:pt x="649" y="48"/>
                  </a:cubicBezTo>
                  <a:lnTo>
                    <a:pt x="641" y="48"/>
                  </a:lnTo>
                  <a:cubicBezTo>
                    <a:pt x="617" y="48"/>
                    <a:pt x="601" y="39"/>
                    <a:pt x="585" y="32"/>
                  </a:cubicBezTo>
                  <a:cubicBezTo>
                    <a:pt x="577" y="16"/>
                    <a:pt x="554" y="8"/>
                    <a:pt x="530" y="8"/>
                  </a:cubicBezTo>
                  <a:cubicBezTo>
                    <a:pt x="522" y="8"/>
                    <a:pt x="514" y="8"/>
                    <a:pt x="506" y="8"/>
                  </a:cubicBezTo>
                  <a:cubicBezTo>
                    <a:pt x="491" y="16"/>
                    <a:pt x="475" y="39"/>
                    <a:pt x="467" y="55"/>
                  </a:cubicBezTo>
                  <a:cubicBezTo>
                    <a:pt x="459" y="63"/>
                    <a:pt x="451" y="71"/>
                    <a:pt x="443" y="71"/>
                  </a:cubicBezTo>
                  <a:cubicBezTo>
                    <a:pt x="435" y="79"/>
                    <a:pt x="419" y="95"/>
                    <a:pt x="419" y="111"/>
                  </a:cubicBezTo>
                  <a:cubicBezTo>
                    <a:pt x="419" y="119"/>
                    <a:pt x="419" y="126"/>
                    <a:pt x="419" y="135"/>
                  </a:cubicBezTo>
                  <a:cubicBezTo>
                    <a:pt x="427" y="142"/>
                    <a:pt x="435" y="150"/>
                    <a:pt x="443" y="158"/>
                  </a:cubicBezTo>
                  <a:cubicBezTo>
                    <a:pt x="459" y="158"/>
                    <a:pt x="467" y="166"/>
                    <a:pt x="459" y="182"/>
                  </a:cubicBezTo>
                  <a:lnTo>
                    <a:pt x="459" y="182"/>
                  </a:lnTo>
                  <a:cubicBezTo>
                    <a:pt x="459" y="206"/>
                    <a:pt x="459" y="206"/>
                    <a:pt x="427" y="206"/>
                  </a:cubicBezTo>
                  <a:cubicBezTo>
                    <a:pt x="403" y="206"/>
                    <a:pt x="380" y="213"/>
                    <a:pt x="372" y="229"/>
                  </a:cubicBezTo>
                  <a:cubicBezTo>
                    <a:pt x="372" y="237"/>
                    <a:pt x="364" y="237"/>
                    <a:pt x="356" y="237"/>
                  </a:cubicBezTo>
                  <a:cubicBezTo>
                    <a:pt x="356" y="237"/>
                    <a:pt x="348" y="237"/>
                    <a:pt x="348" y="269"/>
                  </a:cubicBezTo>
                  <a:cubicBezTo>
                    <a:pt x="340" y="293"/>
                    <a:pt x="348" y="324"/>
                    <a:pt x="348" y="348"/>
                  </a:cubicBezTo>
                  <a:cubicBezTo>
                    <a:pt x="356" y="364"/>
                    <a:pt x="356" y="379"/>
                    <a:pt x="356" y="395"/>
                  </a:cubicBezTo>
                  <a:cubicBezTo>
                    <a:pt x="356" y="411"/>
                    <a:pt x="356" y="459"/>
                    <a:pt x="340" y="474"/>
                  </a:cubicBezTo>
                  <a:lnTo>
                    <a:pt x="332" y="474"/>
                  </a:lnTo>
                  <a:cubicBezTo>
                    <a:pt x="316" y="466"/>
                    <a:pt x="316" y="450"/>
                    <a:pt x="316" y="435"/>
                  </a:cubicBezTo>
                  <a:cubicBezTo>
                    <a:pt x="316" y="419"/>
                    <a:pt x="316" y="411"/>
                    <a:pt x="316" y="411"/>
                  </a:cubicBezTo>
                  <a:cubicBezTo>
                    <a:pt x="309" y="411"/>
                    <a:pt x="309" y="411"/>
                    <a:pt x="309" y="411"/>
                  </a:cubicBezTo>
                  <a:cubicBezTo>
                    <a:pt x="309" y="411"/>
                    <a:pt x="309" y="427"/>
                    <a:pt x="309" y="435"/>
                  </a:cubicBezTo>
                  <a:cubicBezTo>
                    <a:pt x="309" y="443"/>
                    <a:pt x="309" y="443"/>
                    <a:pt x="309" y="443"/>
                  </a:cubicBezTo>
                  <a:lnTo>
                    <a:pt x="309" y="450"/>
                  </a:lnTo>
                  <a:cubicBezTo>
                    <a:pt x="316" y="474"/>
                    <a:pt x="316" y="482"/>
                    <a:pt x="316" y="490"/>
                  </a:cubicBezTo>
                  <a:cubicBezTo>
                    <a:pt x="309" y="490"/>
                    <a:pt x="309" y="490"/>
                    <a:pt x="309" y="490"/>
                  </a:cubicBezTo>
                  <a:lnTo>
                    <a:pt x="301" y="482"/>
                  </a:lnTo>
                  <a:cubicBezTo>
                    <a:pt x="277" y="450"/>
                    <a:pt x="285" y="427"/>
                    <a:pt x="285" y="395"/>
                  </a:cubicBezTo>
                  <a:cubicBezTo>
                    <a:pt x="285" y="364"/>
                    <a:pt x="285" y="316"/>
                    <a:pt x="285" y="308"/>
                  </a:cubicBezTo>
                  <a:lnTo>
                    <a:pt x="277" y="308"/>
                  </a:lnTo>
                  <a:cubicBezTo>
                    <a:pt x="269" y="308"/>
                    <a:pt x="269" y="308"/>
                    <a:pt x="269" y="316"/>
                  </a:cubicBezTo>
                  <a:cubicBezTo>
                    <a:pt x="261" y="332"/>
                    <a:pt x="245" y="379"/>
                    <a:pt x="229" y="403"/>
                  </a:cubicBezTo>
                  <a:cubicBezTo>
                    <a:pt x="222" y="403"/>
                    <a:pt x="222" y="411"/>
                    <a:pt x="222" y="419"/>
                  </a:cubicBezTo>
                  <a:cubicBezTo>
                    <a:pt x="222" y="435"/>
                    <a:pt x="222" y="443"/>
                    <a:pt x="206" y="443"/>
                  </a:cubicBezTo>
                  <a:cubicBezTo>
                    <a:pt x="198" y="443"/>
                    <a:pt x="198" y="443"/>
                    <a:pt x="190" y="443"/>
                  </a:cubicBezTo>
                  <a:cubicBezTo>
                    <a:pt x="182" y="443"/>
                    <a:pt x="182" y="443"/>
                    <a:pt x="182" y="443"/>
                  </a:cubicBezTo>
                  <a:cubicBezTo>
                    <a:pt x="174" y="435"/>
                    <a:pt x="166" y="435"/>
                    <a:pt x="158" y="435"/>
                  </a:cubicBezTo>
                  <a:close/>
                </a:path>
              </a:pathLst>
            </a:custGeom>
            <a:grpFill/>
            <a:ln>
              <a:solidFill>
                <a:schemeClr val="bg1">
                  <a:lumMod val="95000"/>
                </a:schemeClr>
              </a:solidFill>
            </a:ln>
            <a:effectLst/>
          </p:spPr>
          <p:txBody>
            <a:bodyPr wrap="none" anchor="ctr"/>
            <a:lstStyle/>
            <a:p>
              <a:endParaRPr lang="en-US" sz="900"/>
            </a:p>
          </p:txBody>
        </p:sp>
        <p:sp>
          <p:nvSpPr>
            <p:cNvPr id="75" name="Freeform 641"/>
            <p:cNvSpPr>
              <a:spLocks noChangeArrowheads="1"/>
            </p:cNvSpPr>
            <p:nvPr/>
          </p:nvSpPr>
          <p:spPr bwMode="auto">
            <a:xfrm>
              <a:off x="13322334" y="3985886"/>
              <a:ext cx="1189805" cy="586784"/>
            </a:xfrm>
            <a:custGeom>
              <a:avLst/>
              <a:gdLst>
                <a:gd name="T0" fmla="*/ 24 w 2263"/>
                <a:gd name="T1" fmla="*/ 522 h 1116"/>
                <a:gd name="T2" fmla="*/ 190 w 2263"/>
                <a:gd name="T3" fmla="*/ 633 h 1116"/>
                <a:gd name="T4" fmla="*/ 578 w 2263"/>
                <a:gd name="T5" fmla="*/ 720 h 1116"/>
                <a:gd name="T6" fmla="*/ 775 w 2263"/>
                <a:gd name="T7" fmla="*/ 743 h 1116"/>
                <a:gd name="T8" fmla="*/ 878 w 2263"/>
                <a:gd name="T9" fmla="*/ 901 h 1116"/>
                <a:gd name="T10" fmla="*/ 933 w 2263"/>
                <a:gd name="T11" fmla="*/ 1028 h 1116"/>
                <a:gd name="T12" fmla="*/ 973 w 2263"/>
                <a:gd name="T13" fmla="*/ 1115 h 1116"/>
                <a:gd name="T14" fmla="*/ 1044 w 2263"/>
                <a:gd name="T15" fmla="*/ 988 h 1116"/>
                <a:gd name="T16" fmla="*/ 1139 w 2263"/>
                <a:gd name="T17" fmla="*/ 775 h 1116"/>
                <a:gd name="T18" fmla="*/ 1218 w 2263"/>
                <a:gd name="T19" fmla="*/ 751 h 1116"/>
                <a:gd name="T20" fmla="*/ 1281 w 2263"/>
                <a:gd name="T21" fmla="*/ 767 h 1116"/>
                <a:gd name="T22" fmla="*/ 1265 w 2263"/>
                <a:gd name="T23" fmla="*/ 830 h 1116"/>
                <a:gd name="T24" fmla="*/ 1352 w 2263"/>
                <a:gd name="T25" fmla="*/ 743 h 1116"/>
                <a:gd name="T26" fmla="*/ 1526 w 2263"/>
                <a:gd name="T27" fmla="*/ 641 h 1116"/>
                <a:gd name="T28" fmla="*/ 1629 w 2263"/>
                <a:gd name="T29" fmla="*/ 570 h 1116"/>
                <a:gd name="T30" fmla="*/ 1740 w 2263"/>
                <a:gd name="T31" fmla="*/ 585 h 1116"/>
                <a:gd name="T32" fmla="*/ 1866 w 2263"/>
                <a:gd name="T33" fmla="*/ 648 h 1116"/>
                <a:gd name="T34" fmla="*/ 1937 w 2263"/>
                <a:gd name="T35" fmla="*/ 577 h 1116"/>
                <a:gd name="T36" fmla="*/ 2072 w 2263"/>
                <a:gd name="T37" fmla="*/ 585 h 1116"/>
                <a:gd name="T38" fmla="*/ 2159 w 2263"/>
                <a:gd name="T39" fmla="*/ 577 h 1116"/>
                <a:gd name="T40" fmla="*/ 2254 w 2263"/>
                <a:gd name="T41" fmla="*/ 554 h 1116"/>
                <a:gd name="T42" fmla="*/ 2198 w 2263"/>
                <a:gd name="T43" fmla="*/ 522 h 1116"/>
                <a:gd name="T44" fmla="*/ 2127 w 2263"/>
                <a:gd name="T45" fmla="*/ 522 h 1116"/>
                <a:gd name="T46" fmla="*/ 2024 w 2263"/>
                <a:gd name="T47" fmla="*/ 435 h 1116"/>
                <a:gd name="T48" fmla="*/ 1929 w 2263"/>
                <a:gd name="T49" fmla="*/ 372 h 1116"/>
                <a:gd name="T50" fmla="*/ 1795 w 2263"/>
                <a:gd name="T51" fmla="*/ 364 h 1116"/>
                <a:gd name="T52" fmla="*/ 1724 w 2263"/>
                <a:gd name="T53" fmla="*/ 230 h 1116"/>
                <a:gd name="T54" fmla="*/ 1503 w 2263"/>
                <a:gd name="T55" fmla="*/ 301 h 1116"/>
                <a:gd name="T56" fmla="*/ 1218 w 2263"/>
                <a:gd name="T57" fmla="*/ 443 h 1116"/>
                <a:gd name="T58" fmla="*/ 1099 w 2263"/>
                <a:gd name="T59" fmla="*/ 411 h 1116"/>
                <a:gd name="T60" fmla="*/ 933 w 2263"/>
                <a:gd name="T61" fmla="*/ 380 h 1116"/>
                <a:gd name="T62" fmla="*/ 728 w 2263"/>
                <a:gd name="T63" fmla="*/ 269 h 1116"/>
                <a:gd name="T64" fmla="*/ 625 w 2263"/>
                <a:gd name="T65" fmla="*/ 340 h 1116"/>
                <a:gd name="T66" fmla="*/ 696 w 2263"/>
                <a:gd name="T67" fmla="*/ 143 h 1116"/>
                <a:gd name="T68" fmla="*/ 791 w 2263"/>
                <a:gd name="T69" fmla="*/ 56 h 1116"/>
                <a:gd name="T70" fmla="*/ 672 w 2263"/>
                <a:gd name="T71" fmla="*/ 32 h 1116"/>
                <a:gd name="T72" fmla="*/ 546 w 2263"/>
                <a:gd name="T73" fmla="*/ 174 h 1116"/>
                <a:gd name="T74" fmla="*/ 514 w 2263"/>
                <a:gd name="T75" fmla="*/ 158 h 1116"/>
                <a:gd name="T76" fmla="*/ 435 w 2263"/>
                <a:gd name="T77" fmla="*/ 261 h 1116"/>
                <a:gd name="T78" fmla="*/ 269 w 2263"/>
                <a:gd name="T79" fmla="*/ 348 h 1116"/>
                <a:gd name="T80" fmla="*/ 72 w 2263"/>
                <a:gd name="T81" fmla="*/ 459 h 1116"/>
                <a:gd name="T82" fmla="*/ 24 w 2263"/>
                <a:gd name="T83" fmla="*/ 52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3" h="1116">
                  <a:moveTo>
                    <a:pt x="24" y="522"/>
                  </a:moveTo>
                  <a:lnTo>
                    <a:pt x="24" y="522"/>
                  </a:lnTo>
                  <a:cubicBezTo>
                    <a:pt x="56" y="538"/>
                    <a:pt x="80" y="577"/>
                    <a:pt x="88" y="593"/>
                  </a:cubicBezTo>
                  <a:cubicBezTo>
                    <a:pt x="103" y="617"/>
                    <a:pt x="119" y="633"/>
                    <a:pt x="190" y="633"/>
                  </a:cubicBezTo>
                  <a:cubicBezTo>
                    <a:pt x="261" y="633"/>
                    <a:pt x="459" y="656"/>
                    <a:pt x="491" y="688"/>
                  </a:cubicBezTo>
                  <a:cubicBezTo>
                    <a:pt x="530" y="720"/>
                    <a:pt x="522" y="736"/>
                    <a:pt x="578" y="720"/>
                  </a:cubicBezTo>
                  <a:cubicBezTo>
                    <a:pt x="633" y="704"/>
                    <a:pt x="649" y="680"/>
                    <a:pt x="672" y="704"/>
                  </a:cubicBezTo>
                  <a:cubicBezTo>
                    <a:pt x="696" y="736"/>
                    <a:pt x="775" y="704"/>
                    <a:pt x="775" y="743"/>
                  </a:cubicBezTo>
                  <a:cubicBezTo>
                    <a:pt x="783" y="783"/>
                    <a:pt x="783" y="807"/>
                    <a:pt x="807" y="807"/>
                  </a:cubicBezTo>
                  <a:cubicBezTo>
                    <a:pt x="823" y="814"/>
                    <a:pt x="878" y="823"/>
                    <a:pt x="878" y="901"/>
                  </a:cubicBezTo>
                  <a:cubicBezTo>
                    <a:pt x="878" y="981"/>
                    <a:pt x="846" y="988"/>
                    <a:pt x="878" y="996"/>
                  </a:cubicBezTo>
                  <a:cubicBezTo>
                    <a:pt x="910" y="1004"/>
                    <a:pt x="933" y="996"/>
                    <a:pt x="933" y="1028"/>
                  </a:cubicBezTo>
                  <a:cubicBezTo>
                    <a:pt x="933" y="1060"/>
                    <a:pt x="933" y="1099"/>
                    <a:pt x="965" y="1115"/>
                  </a:cubicBezTo>
                  <a:cubicBezTo>
                    <a:pt x="973" y="1115"/>
                    <a:pt x="973" y="1115"/>
                    <a:pt x="973" y="1115"/>
                  </a:cubicBezTo>
                  <a:cubicBezTo>
                    <a:pt x="981" y="1099"/>
                    <a:pt x="981" y="1083"/>
                    <a:pt x="997" y="1067"/>
                  </a:cubicBezTo>
                  <a:cubicBezTo>
                    <a:pt x="1020" y="1028"/>
                    <a:pt x="1044" y="1004"/>
                    <a:pt x="1044" y="988"/>
                  </a:cubicBezTo>
                  <a:cubicBezTo>
                    <a:pt x="1044" y="965"/>
                    <a:pt x="1115" y="830"/>
                    <a:pt x="1115" y="799"/>
                  </a:cubicBezTo>
                  <a:cubicBezTo>
                    <a:pt x="1115" y="775"/>
                    <a:pt x="1131" y="751"/>
                    <a:pt x="1139" y="775"/>
                  </a:cubicBezTo>
                  <a:cubicBezTo>
                    <a:pt x="1147" y="791"/>
                    <a:pt x="1139" y="823"/>
                    <a:pt x="1163" y="807"/>
                  </a:cubicBezTo>
                  <a:cubicBezTo>
                    <a:pt x="1194" y="791"/>
                    <a:pt x="1194" y="767"/>
                    <a:pt x="1218" y="751"/>
                  </a:cubicBezTo>
                  <a:cubicBezTo>
                    <a:pt x="1242" y="727"/>
                    <a:pt x="1250" y="704"/>
                    <a:pt x="1265" y="720"/>
                  </a:cubicBezTo>
                  <a:cubicBezTo>
                    <a:pt x="1281" y="736"/>
                    <a:pt x="1305" y="743"/>
                    <a:pt x="1281" y="767"/>
                  </a:cubicBezTo>
                  <a:cubicBezTo>
                    <a:pt x="1258" y="783"/>
                    <a:pt x="1234" y="799"/>
                    <a:pt x="1242" y="814"/>
                  </a:cubicBezTo>
                  <a:cubicBezTo>
                    <a:pt x="1242" y="830"/>
                    <a:pt x="1250" y="854"/>
                    <a:pt x="1265" y="830"/>
                  </a:cubicBezTo>
                  <a:cubicBezTo>
                    <a:pt x="1273" y="807"/>
                    <a:pt x="1281" y="791"/>
                    <a:pt x="1297" y="783"/>
                  </a:cubicBezTo>
                  <a:cubicBezTo>
                    <a:pt x="1321" y="767"/>
                    <a:pt x="1352" y="759"/>
                    <a:pt x="1352" y="743"/>
                  </a:cubicBezTo>
                  <a:cubicBezTo>
                    <a:pt x="1352" y="720"/>
                    <a:pt x="1368" y="664"/>
                    <a:pt x="1416" y="664"/>
                  </a:cubicBezTo>
                  <a:cubicBezTo>
                    <a:pt x="1471" y="656"/>
                    <a:pt x="1487" y="648"/>
                    <a:pt x="1526" y="641"/>
                  </a:cubicBezTo>
                  <a:cubicBezTo>
                    <a:pt x="1566" y="641"/>
                    <a:pt x="1582" y="641"/>
                    <a:pt x="1589" y="617"/>
                  </a:cubicBezTo>
                  <a:cubicBezTo>
                    <a:pt x="1589" y="585"/>
                    <a:pt x="1605" y="570"/>
                    <a:pt x="1629" y="570"/>
                  </a:cubicBezTo>
                  <a:cubicBezTo>
                    <a:pt x="1653" y="570"/>
                    <a:pt x="1637" y="577"/>
                    <a:pt x="1669" y="577"/>
                  </a:cubicBezTo>
                  <a:cubicBezTo>
                    <a:pt x="1700" y="577"/>
                    <a:pt x="1708" y="577"/>
                    <a:pt x="1740" y="585"/>
                  </a:cubicBezTo>
                  <a:cubicBezTo>
                    <a:pt x="1771" y="593"/>
                    <a:pt x="1771" y="585"/>
                    <a:pt x="1803" y="617"/>
                  </a:cubicBezTo>
                  <a:cubicBezTo>
                    <a:pt x="1842" y="641"/>
                    <a:pt x="1835" y="664"/>
                    <a:pt x="1866" y="648"/>
                  </a:cubicBezTo>
                  <a:cubicBezTo>
                    <a:pt x="1890" y="633"/>
                    <a:pt x="1874" y="617"/>
                    <a:pt x="1890" y="601"/>
                  </a:cubicBezTo>
                  <a:cubicBezTo>
                    <a:pt x="1898" y="577"/>
                    <a:pt x="1914" y="570"/>
                    <a:pt x="1937" y="577"/>
                  </a:cubicBezTo>
                  <a:cubicBezTo>
                    <a:pt x="1945" y="585"/>
                    <a:pt x="1985" y="585"/>
                    <a:pt x="2016" y="585"/>
                  </a:cubicBezTo>
                  <a:cubicBezTo>
                    <a:pt x="2040" y="585"/>
                    <a:pt x="2064" y="577"/>
                    <a:pt x="2072" y="585"/>
                  </a:cubicBezTo>
                  <a:cubicBezTo>
                    <a:pt x="2088" y="585"/>
                    <a:pt x="2135" y="577"/>
                    <a:pt x="2135" y="577"/>
                  </a:cubicBezTo>
                  <a:cubicBezTo>
                    <a:pt x="2143" y="577"/>
                    <a:pt x="2135" y="577"/>
                    <a:pt x="2159" y="577"/>
                  </a:cubicBezTo>
                  <a:cubicBezTo>
                    <a:pt x="2182" y="577"/>
                    <a:pt x="2182" y="577"/>
                    <a:pt x="2214" y="585"/>
                  </a:cubicBezTo>
                  <a:cubicBezTo>
                    <a:pt x="2254" y="585"/>
                    <a:pt x="2254" y="577"/>
                    <a:pt x="2254" y="554"/>
                  </a:cubicBezTo>
                  <a:cubicBezTo>
                    <a:pt x="2262" y="538"/>
                    <a:pt x="2254" y="506"/>
                    <a:pt x="2238" y="506"/>
                  </a:cubicBezTo>
                  <a:cubicBezTo>
                    <a:pt x="2222" y="498"/>
                    <a:pt x="2214" y="506"/>
                    <a:pt x="2198" y="522"/>
                  </a:cubicBezTo>
                  <a:cubicBezTo>
                    <a:pt x="2182" y="538"/>
                    <a:pt x="2175" y="561"/>
                    <a:pt x="2159" y="546"/>
                  </a:cubicBezTo>
                  <a:cubicBezTo>
                    <a:pt x="2135" y="538"/>
                    <a:pt x="2135" y="522"/>
                    <a:pt x="2127" y="522"/>
                  </a:cubicBezTo>
                  <a:cubicBezTo>
                    <a:pt x="2111" y="522"/>
                    <a:pt x="2080" y="498"/>
                    <a:pt x="2064" y="483"/>
                  </a:cubicBezTo>
                  <a:cubicBezTo>
                    <a:pt x="2040" y="467"/>
                    <a:pt x="2032" y="459"/>
                    <a:pt x="2024" y="435"/>
                  </a:cubicBezTo>
                  <a:cubicBezTo>
                    <a:pt x="2024" y="411"/>
                    <a:pt x="2024" y="364"/>
                    <a:pt x="2001" y="364"/>
                  </a:cubicBezTo>
                  <a:cubicBezTo>
                    <a:pt x="1977" y="364"/>
                    <a:pt x="1945" y="364"/>
                    <a:pt x="1929" y="372"/>
                  </a:cubicBezTo>
                  <a:cubicBezTo>
                    <a:pt x="1914" y="380"/>
                    <a:pt x="1866" y="372"/>
                    <a:pt x="1851" y="372"/>
                  </a:cubicBezTo>
                  <a:cubicBezTo>
                    <a:pt x="1842" y="364"/>
                    <a:pt x="1835" y="364"/>
                    <a:pt x="1795" y="364"/>
                  </a:cubicBezTo>
                  <a:cubicBezTo>
                    <a:pt x="1756" y="372"/>
                    <a:pt x="1740" y="348"/>
                    <a:pt x="1740" y="293"/>
                  </a:cubicBezTo>
                  <a:cubicBezTo>
                    <a:pt x="1740" y="237"/>
                    <a:pt x="1756" y="230"/>
                    <a:pt x="1724" y="230"/>
                  </a:cubicBezTo>
                  <a:cubicBezTo>
                    <a:pt x="1700" y="237"/>
                    <a:pt x="1661" y="253"/>
                    <a:pt x="1637" y="269"/>
                  </a:cubicBezTo>
                  <a:cubicBezTo>
                    <a:pt x="1613" y="285"/>
                    <a:pt x="1574" y="309"/>
                    <a:pt x="1503" y="301"/>
                  </a:cubicBezTo>
                  <a:cubicBezTo>
                    <a:pt x="1431" y="293"/>
                    <a:pt x="1321" y="348"/>
                    <a:pt x="1289" y="388"/>
                  </a:cubicBezTo>
                  <a:cubicBezTo>
                    <a:pt x="1265" y="427"/>
                    <a:pt x="1250" y="443"/>
                    <a:pt x="1218" y="443"/>
                  </a:cubicBezTo>
                  <a:cubicBezTo>
                    <a:pt x="1194" y="443"/>
                    <a:pt x="1139" y="451"/>
                    <a:pt x="1131" y="435"/>
                  </a:cubicBezTo>
                  <a:cubicBezTo>
                    <a:pt x="1131" y="411"/>
                    <a:pt x="1123" y="403"/>
                    <a:pt x="1099" y="411"/>
                  </a:cubicBezTo>
                  <a:cubicBezTo>
                    <a:pt x="1076" y="427"/>
                    <a:pt x="1036" y="459"/>
                    <a:pt x="1020" y="451"/>
                  </a:cubicBezTo>
                  <a:cubicBezTo>
                    <a:pt x="997" y="435"/>
                    <a:pt x="957" y="427"/>
                    <a:pt x="933" y="380"/>
                  </a:cubicBezTo>
                  <a:cubicBezTo>
                    <a:pt x="918" y="340"/>
                    <a:pt x="854" y="309"/>
                    <a:pt x="831" y="293"/>
                  </a:cubicBezTo>
                  <a:cubicBezTo>
                    <a:pt x="815" y="269"/>
                    <a:pt x="752" y="261"/>
                    <a:pt x="728" y="269"/>
                  </a:cubicBezTo>
                  <a:cubicBezTo>
                    <a:pt x="704" y="277"/>
                    <a:pt x="665" y="285"/>
                    <a:pt x="649" y="309"/>
                  </a:cubicBezTo>
                  <a:cubicBezTo>
                    <a:pt x="633" y="324"/>
                    <a:pt x="625" y="372"/>
                    <a:pt x="625" y="340"/>
                  </a:cubicBezTo>
                  <a:cubicBezTo>
                    <a:pt x="617" y="309"/>
                    <a:pt x="601" y="285"/>
                    <a:pt x="625" y="253"/>
                  </a:cubicBezTo>
                  <a:cubicBezTo>
                    <a:pt x="649" y="222"/>
                    <a:pt x="665" y="174"/>
                    <a:pt x="696" y="143"/>
                  </a:cubicBezTo>
                  <a:cubicBezTo>
                    <a:pt x="728" y="111"/>
                    <a:pt x="744" y="79"/>
                    <a:pt x="759" y="71"/>
                  </a:cubicBezTo>
                  <a:cubicBezTo>
                    <a:pt x="767" y="56"/>
                    <a:pt x="752" y="56"/>
                    <a:pt x="791" y="56"/>
                  </a:cubicBezTo>
                  <a:cubicBezTo>
                    <a:pt x="831" y="56"/>
                    <a:pt x="831" y="32"/>
                    <a:pt x="815" y="16"/>
                  </a:cubicBezTo>
                  <a:cubicBezTo>
                    <a:pt x="799" y="8"/>
                    <a:pt x="704" y="0"/>
                    <a:pt x="672" y="32"/>
                  </a:cubicBezTo>
                  <a:cubicBezTo>
                    <a:pt x="633" y="56"/>
                    <a:pt x="586" y="87"/>
                    <a:pt x="570" y="119"/>
                  </a:cubicBezTo>
                  <a:cubicBezTo>
                    <a:pt x="554" y="150"/>
                    <a:pt x="554" y="166"/>
                    <a:pt x="546" y="174"/>
                  </a:cubicBezTo>
                  <a:cubicBezTo>
                    <a:pt x="538" y="190"/>
                    <a:pt x="538" y="182"/>
                    <a:pt x="530" y="166"/>
                  </a:cubicBezTo>
                  <a:cubicBezTo>
                    <a:pt x="522" y="150"/>
                    <a:pt x="522" y="143"/>
                    <a:pt x="514" y="158"/>
                  </a:cubicBezTo>
                  <a:cubicBezTo>
                    <a:pt x="506" y="174"/>
                    <a:pt x="483" y="198"/>
                    <a:pt x="459" y="222"/>
                  </a:cubicBezTo>
                  <a:cubicBezTo>
                    <a:pt x="443" y="245"/>
                    <a:pt x="475" y="245"/>
                    <a:pt x="435" y="261"/>
                  </a:cubicBezTo>
                  <a:cubicBezTo>
                    <a:pt x="388" y="285"/>
                    <a:pt x="356" y="301"/>
                    <a:pt x="325" y="324"/>
                  </a:cubicBezTo>
                  <a:cubicBezTo>
                    <a:pt x="293" y="348"/>
                    <a:pt x="293" y="356"/>
                    <a:pt x="269" y="348"/>
                  </a:cubicBezTo>
                  <a:cubicBezTo>
                    <a:pt x="246" y="348"/>
                    <a:pt x="222" y="348"/>
                    <a:pt x="198" y="364"/>
                  </a:cubicBezTo>
                  <a:cubicBezTo>
                    <a:pt x="175" y="372"/>
                    <a:pt x="103" y="419"/>
                    <a:pt x="72" y="459"/>
                  </a:cubicBezTo>
                  <a:cubicBezTo>
                    <a:pt x="48" y="490"/>
                    <a:pt x="32" y="498"/>
                    <a:pt x="0" y="498"/>
                  </a:cubicBezTo>
                  <a:cubicBezTo>
                    <a:pt x="8" y="506"/>
                    <a:pt x="16" y="514"/>
                    <a:pt x="24" y="522"/>
                  </a:cubicBezTo>
                </a:path>
              </a:pathLst>
            </a:custGeom>
            <a:grpFill/>
            <a:ln>
              <a:solidFill>
                <a:schemeClr val="bg1">
                  <a:lumMod val="95000"/>
                </a:schemeClr>
              </a:solidFill>
            </a:ln>
            <a:effectLst/>
          </p:spPr>
          <p:txBody>
            <a:bodyPr wrap="none" anchor="ctr"/>
            <a:lstStyle/>
            <a:p>
              <a:endParaRPr lang="en-US" sz="900"/>
            </a:p>
          </p:txBody>
        </p:sp>
        <p:sp>
          <p:nvSpPr>
            <p:cNvPr id="76" name="Freeform 642"/>
            <p:cNvSpPr>
              <a:spLocks noChangeArrowheads="1"/>
            </p:cNvSpPr>
            <p:nvPr/>
          </p:nvSpPr>
          <p:spPr bwMode="auto">
            <a:xfrm>
              <a:off x="13320015" y="3990525"/>
              <a:ext cx="1194442" cy="586784"/>
            </a:xfrm>
            <a:custGeom>
              <a:avLst/>
              <a:gdLst>
                <a:gd name="T0" fmla="*/ 940 w 2270"/>
                <a:gd name="T1" fmla="*/ 1020 h 1116"/>
                <a:gd name="T2" fmla="*/ 814 w 2270"/>
                <a:gd name="T3" fmla="*/ 806 h 1116"/>
                <a:gd name="T4" fmla="*/ 664 w 2270"/>
                <a:gd name="T5" fmla="*/ 688 h 1116"/>
                <a:gd name="T6" fmla="*/ 197 w 2270"/>
                <a:gd name="T7" fmla="*/ 633 h 1116"/>
                <a:gd name="T8" fmla="*/ 0 w 2270"/>
                <a:gd name="T9" fmla="*/ 482 h 1116"/>
                <a:gd name="T10" fmla="*/ 284 w 2270"/>
                <a:gd name="T11" fmla="*/ 340 h 1116"/>
                <a:gd name="T12" fmla="*/ 466 w 2270"/>
                <a:gd name="T13" fmla="*/ 214 h 1116"/>
                <a:gd name="T14" fmla="*/ 545 w 2270"/>
                <a:gd name="T15" fmla="*/ 174 h 1116"/>
                <a:gd name="T16" fmla="*/ 766 w 2270"/>
                <a:gd name="T17" fmla="*/ 0 h 1116"/>
                <a:gd name="T18" fmla="*/ 751 w 2270"/>
                <a:gd name="T19" fmla="*/ 79 h 1116"/>
                <a:gd name="T20" fmla="*/ 632 w 2270"/>
                <a:gd name="T21" fmla="*/ 340 h 1116"/>
                <a:gd name="T22" fmla="*/ 838 w 2270"/>
                <a:gd name="T23" fmla="*/ 285 h 1116"/>
                <a:gd name="T24" fmla="*/ 1083 w 2270"/>
                <a:gd name="T25" fmla="*/ 419 h 1116"/>
                <a:gd name="T26" fmla="*/ 1296 w 2270"/>
                <a:gd name="T27" fmla="*/ 372 h 1116"/>
                <a:gd name="T28" fmla="*/ 1644 w 2270"/>
                <a:gd name="T29" fmla="*/ 253 h 1116"/>
                <a:gd name="T30" fmla="*/ 1763 w 2270"/>
                <a:gd name="T31" fmla="*/ 348 h 1116"/>
                <a:gd name="T32" fmla="*/ 1936 w 2270"/>
                <a:gd name="T33" fmla="*/ 364 h 1116"/>
                <a:gd name="T34" fmla="*/ 2071 w 2270"/>
                <a:gd name="T35" fmla="*/ 467 h 1116"/>
                <a:gd name="T36" fmla="*/ 2189 w 2270"/>
                <a:gd name="T37" fmla="*/ 522 h 1116"/>
                <a:gd name="T38" fmla="*/ 2261 w 2270"/>
                <a:gd name="T39" fmla="*/ 553 h 1116"/>
                <a:gd name="T40" fmla="*/ 2142 w 2270"/>
                <a:gd name="T41" fmla="*/ 577 h 1116"/>
                <a:gd name="T42" fmla="*/ 1992 w 2270"/>
                <a:gd name="T43" fmla="*/ 577 h 1116"/>
                <a:gd name="T44" fmla="*/ 1810 w 2270"/>
                <a:gd name="T45" fmla="*/ 609 h 1116"/>
                <a:gd name="T46" fmla="*/ 1660 w 2270"/>
                <a:gd name="T47" fmla="*/ 569 h 1116"/>
                <a:gd name="T48" fmla="*/ 1486 w 2270"/>
                <a:gd name="T49" fmla="*/ 648 h 1116"/>
                <a:gd name="T50" fmla="*/ 1272 w 2270"/>
                <a:gd name="T51" fmla="*/ 822 h 1116"/>
                <a:gd name="T52" fmla="*/ 1272 w 2270"/>
                <a:gd name="T53" fmla="*/ 719 h 1116"/>
                <a:gd name="T54" fmla="*/ 1170 w 2270"/>
                <a:gd name="T55" fmla="*/ 799 h 1116"/>
                <a:gd name="T56" fmla="*/ 1090 w 2270"/>
                <a:gd name="T57" fmla="*/ 901 h 1116"/>
                <a:gd name="T58" fmla="*/ 664 w 2270"/>
                <a:gd name="T59" fmla="*/ 680 h 1116"/>
                <a:gd name="T60" fmla="*/ 814 w 2270"/>
                <a:gd name="T61" fmla="*/ 799 h 1116"/>
                <a:gd name="T62" fmla="*/ 909 w 2270"/>
                <a:gd name="T63" fmla="*/ 988 h 1116"/>
                <a:gd name="T64" fmla="*/ 1019 w 2270"/>
                <a:gd name="T65" fmla="*/ 1028 h 1116"/>
                <a:gd name="T66" fmla="*/ 1154 w 2270"/>
                <a:gd name="T67" fmla="*/ 783 h 1116"/>
                <a:gd name="T68" fmla="*/ 1265 w 2270"/>
                <a:gd name="T69" fmla="*/ 704 h 1116"/>
                <a:gd name="T70" fmla="*/ 1249 w 2270"/>
                <a:gd name="T71" fmla="*/ 806 h 1116"/>
                <a:gd name="T72" fmla="*/ 1359 w 2270"/>
                <a:gd name="T73" fmla="*/ 735 h 1116"/>
                <a:gd name="T74" fmla="*/ 1636 w 2270"/>
                <a:gd name="T75" fmla="*/ 562 h 1116"/>
                <a:gd name="T76" fmla="*/ 1747 w 2270"/>
                <a:gd name="T77" fmla="*/ 577 h 1116"/>
                <a:gd name="T78" fmla="*/ 1889 w 2270"/>
                <a:gd name="T79" fmla="*/ 609 h 1116"/>
                <a:gd name="T80" fmla="*/ 2079 w 2270"/>
                <a:gd name="T81" fmla="*/ 569 h 1116"/>
                <a:gd name="T82" fmla="*/ 2229 w 2270"/>
                <a:gd name="T83" fmla="*/ 569 h 1116"/>
                <a:gd name="T84" fmla="*/ 2205 w 2270"/>
                <a:gd name="T85" fmla="*/ 514 h 1116"/>
                <a:gd name="T86" fmla="*/ 2079 w 2270"/>
                <a:gd name="T87" fmla="*/ 490 h 1116"/>
                <a:gd name="T88" fmla="*/ 1992 w 2270"/>
                <a:gd name="T89" fmla="*/ 356 h 1116"/>
                <a:gd name="T90" fmla="*/ 1763 w 2270"/>
                <a:gd name="T91" fmla="*/ 348 h 1116"/>
                <a:gd name="T92" fmla="*/ 1644 w 2270"/>
                <a:gd name="T93" fmla="*/ 261 h 1116"/>
                <a:gd name="T94" fmla="*/ 1225 w 2270"/>
                <a:gd name="T95" fmla="*/ 443 h 1116"/>
                <a:gd name="T96" fmla="*/ 1083 w 2270"/>
                <a:gd name="T97" fmla="*/ 419 h 1116"/>
                <a:gd name="T98" fmla="*/ 838 w 2270"/>
                <a:gd name="T99" fmla="*/ 285 h 1116"/>
                <a:gd name="T100" fmla="*/ 632 w 2270"/>
                <a:gd name="T101" fmla="*/ 348 h 1116"/>
                <a:gd name="T102" fmla="*/ 751 w 2270"/>
                <a:gd name="T103" fmla="*/ 79 h 1116"/>
                <a:gd name="T104" fmla="*/ 766 w 2270"/>
                <a:gd name="T105" fmla="*/ 8 h 1116"/>
                <a:gd name="T106" fmla="*/ 545 w 2270"/>
                <a:gd name="T107" fmla="*/ 182 h 1116"/>
                <a:gd name="T108" fmla="*/ 474 w 2270"/>
                <a:gd name="T109" fmla="*/ 214 h 1116"/>
                <a:gd name="T110" fmla="*/ 284 w 2270"/>
                <a:gd name="T111" fmla="*/ 348 h 1116"/>
                <a:gd name="T112" fmla="*/ 31 w 2270"/>
                <a:gd name="T113" fmla="*/ 506 h 1116"/>
                <a:gd name="T114" fmla="*/ 513 w 2270"/>
                <a:gd name="T115" fmla="*/ 69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1116">
                  <a:moveTo>
                    <a:pt x="988" y="1115"/>
                  </a:moveTo>
                  <a:lnTo>
                    <a:pt x="988" y="1115"/>
                  </a:lnTo>
                  <a:cubicBezTo>
                    <a:pt x="980" y="1115"/>
                    <a:pt x="980" y="1115"/>
                    <a:pt x="980" y="1115"/>
                  </a:cubicBezTo>
                  <a:lnTo>
                    <a:pt x="972" y="1107"/>
                  </a:lnTo>
                  <a:cubicBezTo>
                    <a:pt x="940" y="1091"/>
                    <a:pt x="940" y="1059"/>
                    <a:pt x="940" y="1028"/>
                  </a:cubicBezTo>
                  <a:lnTo>
                    <a:pt x="940" y="1020"/>
                  </a:lnTo>
                  <a:cubicBezTo>
                    <a:pt x="940" y="1004"/>
                    <a:pt x="932" y="1004"/>
                    <a:pt x="909" y="996"/>
                  </a:cubicBezTo>
                  <a:cubicBezTo>
                    <a:pt x="901" y="996"/>
                    <a:pt x="893" y="996"/>
                    <a:pt x="885" y="996"/>
                  </a:cubicBezTo>
                  <a:cubicBezTo>
                    <a:pt x="877" y="988"/>
                    <a:pt x="869" y="988"/>
                    <a:pt x="869" y="988"/>
                  </a:cubicBezTo>
                  <a:cubicBezTo>
                    <a:pt x="861" y="980"/>
                    <a:pt x="869" y="973"/>
                    <a:pt x="869" y="965"/>
                  </a:cubicBezTo>
                  <a:cubicBezTo>
                    <a:pt x="877" y="957"/>
                    <a:pt x="885" y="933"/>
                    <a:pt x="885" y="893"/>
                  </a:cubicBezTo>
                  <a:cubicBezTo>
                    <a:pt x="885" y="815"/>
                    <a:pt x="838" y="806"/>
                    <a:pt x="814" y="806"/>
                  </a:cubicBezTo>
                  <a:lnTo>
                    <a:pt x="814" y="806"/>
                  </a:lnTo>
                  <a:cubicBezTo>
                    <a:pt x="790" y="799"/>
                    <a:pt x="790" y="783"/>
                    <a:pt x="782" y="743"/>
                  </a:cubicBezTo>
                  <a:cubicBezTo>
                    <a:pt x="782" y="735"/>
                    <a:pt x="782" y="735"/>
                    <a:pt x="782" y="735"/>
                  </a:cubicBezTo>
                  <a:cubicBezTo>
                    <a:pt x="782" y="719"/>
                    <a:pt x="759" y="712"/>
                    <a:pt x="727" y="712"/>
                  </a:cubicBezTo>
                  <a:cubicBezTo>
                    <a:pt x="711" y="712"/>
                    <a:pt x="687" y="712"/>
                    <a:pt x="679" y="704"/>
                  </a:cubicBezTo>
                  <a:cubicBezTo>
                    <a:pt x="672" y="696"/>
                    <a:pt x="664" y="688"/>
                    <a:pt x="664" y="688"/>
                  </a:cubicBezTo>
                  <a:cubicBezTo>
                    <a:pt x="656" y="688"/>
                    <a:pt x="648" y="696"/>
                    <a:pt x="632" y="696"/>
                  </a:cubicBezTo>
                  <a:cubicBezTo>
                    <a:pt x="624" y="704"/>
                    <a:pt x="608" y="712"/>
                    <a:pt x="585" y="712"/>
                  </a:cubicBezTo>
                  <a:cubicBezTo>
                    <a:pt x="569" y="719"/>
                    <a:pt x="561" y="719"/>
                    <a:pt x="553" y="719"/>
                  </a:cubicBezTo>
                  <a:cubicBezTo>
                    <a:pt x="529" y="719"/>
                    <a:pt x="521" y="712"/>
                    <a:pt x="513" y="696"/>
                  </a:cubicBezTo>
                  <a:cubicBezTo>
                    <a:pt x="506" y="696"/>
                    <a:pt x="506" y="688"/>
                    <a:pt x="498" y="680"/>
                  </a:cubicBezTo>
                  <a:cubicBezTo>
                    <a:pt x="466" y="648"/>
                    <a:pt x="268" y="633"/>
                    <a:pt x="197" y="633"/>
                  </a:cubicBezTo>
                  <a:cubicBezTo>
                    <a:pt x="126" y="633"/>
                    <a:pt x="110" y="609"/>
                    <a:pt x="95" y="593"/>
                  </a:cubicBezTo>
                  <a:lnTo>
                    <a:pt x="95" y="593"/>
                  </a:lnTo>
                  <a:cubicBezTo>
                    <a:pt x="95" y="585"/>
                    <a:pt x="87" y="577"/>
                    <a:pt x="87" y="577"/>
                  </a:cubicBezTo>
                  <a:cubicBezTo>
                    <a:pt x="71" y="553"/>
                    <a:pt x="55" y="530"/>
                    <a:pt x="31" y="514"/>
                  </a:cubicBezTo>
                  <a:cubicBezTo>
                    <a:pt x="23" y="506"/>
                    <a:pt x="15" y="498"/>
                    <a:pt x="7" y="490"/>
                  </a:cubicBezTo>
                  <a:cubicBezTo>
                    <a:pt x="0" y="482"/>
                    <a:pt x="0" y="482"/>
                    <a:pt x="0" y="482"/>
                  </a:cubicBezTo>
                  <a:cubicBezTo>
                    <a:pt x="7" y="482"/>
                    <a:pt x="7" y="482"/>
                    <a:pt x="7" y="482"/>
                  </a:cubicBezTo>
                  <a:cubicBezTo>
                    <a:pt x="39" y="482"/>
                    <a:pt x="55" y="482"/>
                    <a:pt x="79" y="443"/>
                  </a:cubicBezTo>
                  <a:cubicBezTo>
                    <a:pt x="102" y="411"/>
                    <a:pt x="182" y="364"/>
                    <a:pt x="205" y="348"/>
                  </a:cubicBezTo>
                  <a:cubicBezTo>
                    <a:pt x="221" y="340"/>
                    <a:pt x="237" y="340"/>
                    <a:pt x="260" y="340"/>
                  </a:cubicBezTo>
                  <a:cubicBezTo>
                    <a:pt x="268" y="340"/>
                    <a:pt x="268" y="340"/>
                    <a:pt x="276" y="340"/>
                  </a:cubicBezTo>
                  <a:lnTo>
                    <a:pt x="284" y="340"/>
                  </a:lnTo>
                  <a:cubicBezTo>
                    <a:pt x="300" y="340"/>
                    <a:pt x="300" y="340"/>
                    <a:pt x="316" y="324"/>
                  </a:cubicBezTo>
                  <a:cubicBezTo>
                    <a:pt x="316" y="324"/>
                    <a:pt x="324" y="324"/>
                    <a:pt x="324" y="316"/>
                  </a:cubicBezTo>
                  <a:cubicBezTo>
                    <a:pt x="355" y="293"/>
                    <a:pt x="387" y="277"/>
                    <a:pt x="419" y="261"/>
                  </a:cubicBezTo>
                  <a:cubicBezTo>
                    <a:pt x="426" y="261"/>
                    <a:pt x="435" y="253"/>
                    <a:pt x="435" y="253"/>
                  </a:cubicBezTo>
                  <a:cubicBezTo>
                    <a:pt x="458" y="237"/>
                    <a:pt x="458" y="237"/>
                    <a:pt x="458" y="229"/>
                  </a:cubicBezTo>
                  <a:cubicBezTo>
                    <a:pt x="458" y="229"/>
                    <a:pt x="458" y="222"/>
                    <a:pt x="466" y="214"/>
                  </a:cubicBezTo>
                  <a:cubicBezTo>
                    <a:pt x="474" y="198"/>
                    <a:pt x="490" y="182"/>
                    <a:pt x="498" y="174"/>
                  </a:cubicBezTo>
                  <a:cubicBezTo>
                    <a:pt x="506" y="158"/>
                    <a:pt x="513" y="150"/>
                    <a:pt x="521" y="142"/>
                  </a:cubicBezTo>
                  <a:lnTo>
                    <a:pt x="529" y="135"/>
                  </a:lnTo>
                  <a:cubicBezTo>
                    <a:pt x="537" y="135"/>
                    <a:pt x="537" y="142"/>
                    <a:pt x="537" y="150"/>
                  </a:cubicBezTo>
                  <a:cubicBezTo>
                    <a:pt x="537" y="150"/>
                    <a:pt x="537" y="158"/>
                    <a:pt x="545" y="158"/>
                  </a:cubicBezTo>
                  <a:cubicBezTo>
                    <a:pt x="545" y="166"/>
                    <a:pt x="545" y="166"/>
                    <a:pt x="545" y="174"/>
                  </a:cubicBezTo>
                  <a:lnTo>
                    <a:pt x="553" y="166"/>
                  </a:lnTo>
                  <a:cubicBezTo>
                    <a:pt x="553" y="166"/>
                    <a:pt x="553" y="158"/>
                    <a:pt x="553" y="150"/>
                  </a:cubicBezTo>
                  <a:cubicBezTo>
                    <a:pt x="561" y="142"/>
                    <a:pt x="561" y="127"/>
                    <a:pt x="577" y="103"/>
                  </a:cubicBezTo>
                  <a:cubicBezTo>
                    <a:pt x="593" y="79"/>
                    <a:pt x="632" y="48"/>
                    <a:pt x="664" y="24"/>
                  </a:cubicBezTo>
                  <a:cubicBezTo>
                    <a:pt x="679" y="16"/>
                    <a:pt x="679" y="16"/>
                    <a:pt x="679" y="16"/>
                  </a:cubicBezTo>
                  <a:cubicBezTo>
                    <a:pt x="695" y="8"/>
                    <a:pt x="727" y="0"/>
                    <a:pt x="766" y="0"/>
                  </a:cubicBezTo>
                  <a:cubicBezTo>
                    <a:pt x="790" y="0"/>
                    <a:pt x="814" y="0"/>
                    <a:pt x="822" y="8"/>
                  </a:cubicBezTo>
                  <a:cubicBezTo>
                    <a:pt x="830" y="16"/>
                    <a:pt x="838" y="24"/>
                    <a:pt x="838" y="32"/>
                  </a:cubicBezTo>
                  <a:cubicBezTo>
                    <a:pt x="838" y="40"/>
                    <a:pt x="830" y="48"/>
                    <a:pt x="798" y="48"/>
                  </a:cubicBezTo>
                  <a:cubicBezTo>
                    <a:pt x="774" y="56"/>
                    <a:pt x="774" y="56"/>
                    <a:pt x="774" y="56"/>
                  </a:cubicBezTo>
                  <a:cubicBezTo>
                    <a:pt x="766" y="56"/>
                    <a:pt x="766" y="63"/>
                    <a:pt x="766" y="63"/>
                  </a:cubicBezTo>
                  <a:cubicBezTo>
                    <a:pt x="759" y="63"/>
                    <a:pt x="759" y="71"/>
                    <a:pt x="751" y="79"/>
                  </a:cubicBezTo>
                  <a:cubicBezTo>
                    <a:pt x="743" y="95"/>
                    <a:pt x="727" y="119"/>
                    <a:pt x="703" y="142"/>
                  </a:cubicBezTo>
                  <a:cubicBezTo>
                    <a:pt x="687" y="158"/>
                    <a:pt x="672" y="182"/>
                    <a:pt x="664" y="206"/>
                  </a:cubicBezTo>
                  <a:cubicBezTo>
                    <a:pt x="656" y="222"/>
                    <a:pt x="648" y="237"/>
                    <a:pt x="632" y="253"/>
                  </a:cubicBezTo>
                  <a:cubicBezTo>
                    <a:pt x="616" y="269"/>
                    <a:pt x="624" y="285"/>
                    <a:pt x="624" y="309"/>
                  </a:cubicBezTo>
                  <a:cubicBezTo>
                    <a:pt x="632" y="316"/>
                    <a:pt x="632" y="324"/>
                    <a:pt x="632" y="332"/>
                  </a:cubicBezTo>
                  <a:cubicBezTo>
                    <a:pt x="632" y="332"/>
                    <a:pt x="632" y="332"/>
                    <a:pt x="632" y="340"/>
                  </a:cubicBezTo>
                  <a:cubicBezTo>
                    <a:pt x="632" y="332"/>
                    <a:pt x="640" y="332"/>
                    <a:pt x="640" y="324"/>
                  </a:cubicBezTo>
                  <a:cubicBezTo>
                    <a:pt x="640" y="316"/>
                    <a:pt x="648" y="301"/>
                    <a:pt x="648" y="293"/>
                  </a:cubicBezTo>
                  <a:cubicBezTo>
                    <a:pt x="664" y="277"/>
                    <a:pt x="687" y="269"/>
                    <a:pt x="711" y="269"/>
                  </a:cubicBezTo>
                  <a:cubicBezTo>
                    <a:pt x="719" y="261"/>
                    <a:pt x="727" y="261"/>
                    <a:pt x="735" y="261"/>
                  </a:cubicBezTo>
                  <a:cubicBezTo>
                    <a:pt x="743" y="261"/>
                    <a:pt x="751" y="253"/>
                    <a:pt x="759" y="253"/>
                  </a:cubicBezTo>
                  <a:cubicBezTo>
                    <a:pt x="790" y="253"/>
                    <a:pt x="822" y="261"/>
                    <a:pt x="838" y="285"/>
                  </a:cubicBezTo>
                  <a:cubicBezTo>
                    <a:pt x="846" y="285"/>
                    <a:pt x="861" y="293"/>
                    <a:pt x="869" y="301"/>
                  </a:cubicBezTo>
                  <a:cubicBezTo>
                    <a:pt x="901" y="324"/>
                    <a:pt x="932" y="340"/>
                    <a:pt x="948" y="372"/>
                  </a:cubicBezTo>
                  <a:cubicBezTo>
                    <a:pt x="964" y="403"/>
                    <a:pt x="996" y="419"/>
                    <a:pt x="1019" y="427"/>
                  </a:cubicBezTo>
                  <a:cubicBezTo>
                    <a:pt x="1019" y="435"/>
                    <a:pt x="1019" y="435"/>
                    <a:pt x="1027" y="435"/>
                  </a:cubicBezTo>
                  <a:cubicBezTo>
                    <a:pt x="1027" y="435"/>
                    <a:pt x="1027" y="435"/>
                    <a:pt x="1035" y="435"/>
                  </a:cubicBezTo>
                  <a:cubicBezTo>
                    <a:pt x="1043" y="435"/>
                    <a:pt x="1067" y="427"/>
                    <a:pt x="1083" y="419"/>
                  </a:cubicBezTo>
                  <a:cubicBezTo>
                    <a:pt x="1090" y="411"/>
                    <a:pt x="1099" y="403"/>
                    <a:pt x="1106" y="403"/>
                  </a:cubicBezTo>
                  <a:cubicBezTo>
                    <a:pt x="1130" y="395"/>
                    <a:pt x="1138" y="403"/>
                    <a:pt x="1146" y="427"/>
                  </a:cubicBezTo>
                  <a:cubicBezTo>
                    <a:pt x="1146" y="435"/>
                    <a:pt x="1154" y="435"/>
                    <a:pt x="1178" y="435"/>
                  </a:cubicBezTo>
                  <a:cubicBezTo>
                    <a:pt x="1185" y="435"/>
                    <a:pt x="1193" y="435"/>
                    <a:pt x="1201" y="435"/>
                  </a:cubicBezTo>
                  <a:cubicBezTo>
                    <a:pt x="1209" y="435"/>
                    <a:pt x="1217" y="435"/>
                    <a:pt x="1225" y="435"/>
                  </a:cubicBezTo>
                  <a:cubicBezTo>
                    <a:pt x="1257" y="435"/>
                    <a:pt x="1265" y="419"/>
                    <a:pt x="1296" y="372"/>
                  </a:cubicBezTo>
                  <a:cubicBezTo>
                    <a:pt x="1320" y="340"/>
                    <a:pt x="1423" y="293"/>
                    <a:pt x="1494" y="293"/>
                  </a:cubicBezTo>
                  <a:cubicBezTo>
                    <a:pt x="1502" y="293"/>
                    <a:pt x="1510" y="293"/>
                    <a:pt x="1510" y="293"/>
                  </a:cubicBezTo>
                  <a:cubicBezTo>
                    <a:pt x="1518" y="293"/>
                    <a:pt x="1525" y="293"/>
                    <a:pt x="1541" y="293"/>
                  </a:cubicBezTo>
                  <a:cubicBezTo>
                    <a:pt x="1581" y="293"/>
                    <a:pt x="1612" y="277"/>
                    <a:pt x="1628" y="261"/>
                  </a:cubicBezTo>
                  <a:cubicBezTo>
                    <a:pt x="1636" y="261"/>
                    <a:pt x="1636" y="261"/>
                    <a:pt x="1644" y="261"/>
                  </a:cubicBezTo>
                  <a:cubicBezTo>
                    <a:pt x="1644" y="253"/>
                    <a:pt x="1644" y="253"/>
                    <a:pt x="1644" y="253"/>
                  </a:cubicBezTo>
                  <a:cubicBezTo>
                    <a:pt x="1676" y="237"/>
                    <a:pt x="1707" y="222"/>
                    <a:pt x="1731" y="222"/>
                  </a:cubicBezTo>
                  <a:cubicBezTo>
                    <a:pt x="1739" y="222"/>
                    <a:pt x="1739" y="222"/>
                    <a:pt x="1739" y="222"/>
                  </a:cubicBezTo>
                  <a:cubicBezTo>
                    <a:pt x="1747" y="222"/>
                    <a:pt x="1747" y="222"/>
                    <a:pt x="1755" y="222"/>
                  </a:cubicBezTo>
                  <a:cubicBezTo>
                    <a:pt x="1755" y="229"/>
                    <a:pt x="1755" y="237"/>
                    <a:pt x="1755" y="253"/>
                  </a:cubicBezTo>
                  <a:cubicBezTo>
                    <a:pt x="1755" y="261"/>
                    <a:pt x="1755" y="269"/>
                    <a:pt x="1755" y="285"/>
                  </a:cubicBezTo>
                  <a:cubicBezTo>
                    <a:pt x="1755" y="316"/>
                    <a:pt x="1755" y="340"/>
                    <a:pt x="1763" y="348"/>
                  </a:cubicBezTo>
                  <a:cubicBezTo>
                    <a:pt x="1770" y="356"/>
                    <a:pt x="1786" y="356"/>
                    <a:pt x="1802" y="356"/>
                  </a:cubicBezTo>
                  <a:cubicBezTo>
                    <a:pt x="1810" y="356"/>
                    <a:pt x="1826" y="356"/>
                    <a:pt x="1834" y="356"/>
                  </a:cubicBezTo>
                  <a:cubicBezTo>
                    <a:pt x="1834" y="356"/>
                    <a:pt x="1842" y="356"/>
                    <a:pt x="1849" y="356"/>
                  </a:cubicBezTo>
                  <a:cubicBezTo>
                    <a:pt x="1849" y="356"/>
                    <a:pt x="1858" y="356"/>
                    <a:pt x="1865" y="356"/>
                  </a:cubicBezTo>
                  <a:cubicBezTo>
                    <a:pt x="1865" y="364"/>
                    <a:pt x="1889" y="364"/>
                    <a:pt x="1913" y="364"/>
                  </a:cubicBezTo>
                  <a:cubicBezTo>
                    <a:pt x="1921" y="364"/>
                    <a:pt x="1929" y="364"/>
                    <a:pt x="1936" y="364"/>
                  </a:cubicBezTo>
                  <a:cubicBezTo>
                    <a:pt x="1944" y="356"/>
                    <a:pt x="1968" y="348"/>
                    <a:pt x="1992" y="348"/>
                  </a:cubicBezTo>
                  <a:cubicBezTo>
                    <a:pt x="2000" y="348"/>
                    <a:pt x="2000" y="348"/>
                    <a:pt x="2008" y="348"/>
                  </a:cubicBezTo>
                  <a:cubicBezTo>
                    <a:pt x="2031" y="356"/>
                    <a:pt x="2031" y="380"/>
                    <a:pt x="2031" y="403"/>
                  </a:cubicBezTo>
                  <a:cubicBezTo>
                    <a:pt x="2031" y="411"/>
                    <a:pt x="2039" y="419"/>
                    <a:pt x="2039" y="427"/>
                  </a:cubicBezTo>
                  <a:cubicBezTo>
                    <a:pt x="2039" y="451"/>
                    <a:pt x="2047" y="451"/>
                    <a:pt x="2063" y="467"/>
                  </a:cubicBezTo>
                  <a:cubicBezTo>
                    <a:pt x="2063" y="467"/>
                    <a:pt x="2063" y="467"/>
                    <a:pt x="2071" y="467"/>
                  </a:cubicBezTo>
                  <a:cubicBezTo>
                    <a:pt x="2071" y="475"/>
                    <a:pt x="2079" y="475"/>
                    <a:pt x="2087" y="482"/>
                  </a:cubicBezTo>
                  <a:cubicBezTo>
                    <a:pt x="2102" y="498"/>
                    <a:pt x="2126" y="514"/>
                    <a:pt x="2134" y="514"/>
                  </a:cubicBezTo>
                  <a:cubicBezTo>
                    <a:pt x="2142" y="514"/>
                    <a:pt x="2142" y="514"/>
                    <a:pt x="2150" y="522"/>
                  </a:cubicBezTo>
                  <a:cubicBezTo>
                    <a:pt x="2158" y="530"/>
                    <a:pt x="2158" y="530"/>
                    <a:pt x="2166" y="538"/>
                  </a:cubicBezTo>
                  <a:cubicBezTo>
                    <a:pt x="2166" y="538"/>
                    <a:pt x="2166" y="538"/>
                    <a:pt x="2174" y="538"/>
                  </a:cubicBezTo>
                  <a:cubicBezTo>
                    <a:pt x="2174" y="538"/>
                    <a:pt x="2182" y="530"/>
                    <a:pt x="2189" y="522"/>
                  </a:cubicBezTo>
                  <a:cubicBezTo>
                    <a:pt x="2197" y="522"/>
                    <a:pt x="2197" y="514"/>
                    <a:pt x="2205" y="514"/>
                  </a:cubicBezTo>
                  <a:cubicBezTo>
                    <a:pt x="2221" y="498"/>
                    <a:pt x="2229" y="490"/>
                    <a:pt x="2237" y="490"/>
                  </a:cubicBezTo>
                  <a:cubicBezTo>
                    <a:pt x="2245" y="490"/>
                    <a:pt x="2245" y="490"/>
                    <a:pt x="2245" y="490"/>
                  </a:cubicBezTo>
                  <a:cubicBezTo>
                    <a:pt x="2253" y="490"/>
                    <a:pt x="2253" y="498"/>
                    <a:pt x="2261" y="498"/>
                  </a:cubicBezTo>
                  <a:cubicBezTo>
                    <a:pt x="2269" y="514"/>
                    <a:pt x="2269" y="538"/>
                    <a:pt x="2269" y="546"/>
                  </a:cubicBezTo>
                  <a:cubicBezTo>
                    <a:pt x="2269" y="553"/>
                    <a:pt x="2269" y="553"/>
                    <a:pt x="2261" y="553"/>
                  </a:cubicBezTo>
                  <a:cubicBezTo>
                    <a:pt x="2261" y="569"/>
                    <a:pt x="2261" y="577"/>
                    <a:pt x="2237" y="577"/>
                  </a:cubicBezTo>
                  <a:cubicBezTo>
                    <a:pt x="2237" y="577"/>
                    <a:pt x="2229" y="577"/>
                    <a:pt x="2221" y="577"/>
                  </a:cubicBezTo>
                  <a:cubicBezTo>
                    <a:pt x="2213" y="577"/>
                    <a:pt x="2205" y="577"/>
                    <a:pt x="2205" y="577"/>
                  </a:cubicBezTo>
                  <a:cubicBezTo>
                    <a:pt x="2189" y="569"/>
                    <a:pt x="2182" y="569"/>
                    <a:pt x="2166" y="569"/>
                  </a:cubicBezTo>
                  <a:cubicBezTo>
                    <a:pt x="2150" y="569"/>
                    <a:pt x="2150" y="569"/>
                    <a:pt x="2150" y="569"/>
                  </a:cubicBezTo>
                  <a:cubicBezTo>
                    <a:pt x="2150" y="577"/>
                    <a:pt x="2150" y="577"/>
                    <a:pt x="2142" y="577"/>
                  </a:cubicBezTo>
                  <a:cubicBezTo>
                    <a:pt x="2142" y="577"/>
                    <a:pt x="2142" y="577"/>
                    <a:pt x="2134" y="577"/>
                  </a:cubicBezTo>
                  <a:cubicBezTo>
                    <a:pt x="2126" y="577"/>
                    <a:pt x="2110" y="577"/>
                    <a:pt x="2095" y="577"/>
                  </a:cubicBezTo>
                  <a:cubicBezTo>
                    <a:pt x="2087" y="577"/>
                    <a:pt x="2079" y="577"/>
                    <a:pt x="2079" y="577"/>
                  </a:cubicBezTo>
                  <a:cubicBezTo>
                    <a:pt x="2071" y="577"/>
                    <a:pt x="2071" y="577"/>
                    <a:pt x="2063" y="577"/>
                  </a:cubicBezTo>
                  <a:cubicBezTo>
                    <a:pt x="2055" y="577"/>
                    <a:pt x="2039" y="577"/>
                    <a:pt x="2031" y="577"/>
                  </a:cubicBezTo>
                  <a:cubicBezTo>
                    <a:pt x="2016" y="577"/>
                    <a:pt x="2000" y="577"/>
                    <a:pt x="1992" y="577"/>
                  </a:cubicBezTo>
                  <a:cubicBezTo>
                    <a:pt x="1960" y="577"/>
                    <a:pt x="1944" y="577"/>
                    <a:pt x="1936" y="569"/>
                  </a:cubicBezTo>
                  <a:cubicBezTo>
                    <a:pt x="1921" y="562"/>
                    <a:pt x="1913" y="569"/>
                    <a:pt x="1897" y="593"/>
                  </a:cubicBezTo>
                  <a:cubicBezTo>
                    <a:pt x="1897" y="601"/>
                    <a:pt x="1889" y="609"/>
                    <a:pt x="1889" y="609"/>
                  </a:cubicBezTo>
                  <a:cubicBezTo>
                    <a:pt x="1889" y="625"/>
                    <a:pt x="1889" y="633"/>
                    <a:pt x="1873" y="640"/>
                  </a:cubicBezTo>
                  <a:cubicBezTo>
                    <a:pt x="1849" y="656"/>
                    <a:pt x="1849" y="648"/>
                    <a:pt x="1834" y="633"/>
                  </a:cubicBezTo>
                  <a:cubicBezTo>
                    <a:pt x="1826" y="625"/>
                    <a:pt x="1826" y="617"/>
                    <a:pt x="1810" y="609"/>
                  </a:cubicBezTo>
                  <a:cubicBezTo>
                    <a:pt x="1786" y="593"/>
                    <a:pt x="1778" y="585"/>
                    <a:pt x="1763" y="585"/>
                  </a:cubicBezTo>
                  <a:cubicBezTo>
                    <a:pt x="1763" y="585"/>
                    <a:pt x="1755" y="585"/>
                    <a:pt x="1747" y="585"/>
                  </a:cubicBezTo>
                  <a:cubicBezTo>
                    <a:pt x="1739" y="585"/>
                    <a:pt x="1731" y="577"/>
                    <a:pt x="1731" y="577"/>
                  </a:cubicBezTo>
                  <a:cubicBezTo>
                    <a:pt x="1715" y="577"/>
                    <a:pt x="1707" y="569"/>
                    <a:pt x="1691" y="569"/>
                  </a:cubicBezTo>
                  <a:cubicBezTo>
                    <a:pt x="1683" y="569"/>
                    <a:pt x="1676" y="569"/>
                    <a:pt x="1676" y="569"/>
                  </a:cubicBezTo>
                  <a:cubicBezTo>
                    <a:pt x="1668" y="569"/>
                    <a:pt x="1668" y="569"/>
                    <a:pt x="1660" y="569"/>
                  </a:cubicBezTo>
                  <a:cubicBezTo>
                    <a:pt x="1652" y="569"/>
                    <a:pt x="1652" y="569"/>
                    <a:pt x="1652" y="569"/>
                  </a:cubicBezTo>
                  <a:cubicBezTo>
                    <a:pt x="1644" y="569"/>
                    <a:pt x="1644" y="569"/>
                    <a:pt x="1636" y="569"/>
                  </a:cubicBezTo>
                  <a:cubicBezTo>
                    <a:pt x="1612" y="569"/>
                    <a:pt x="1605" y="577"/>
                    <a:pt x="1596" y="609"/>
                  </a:cubicBezTo>
                  <a:cubicBezTo>
                    <a:pt x="1596" y="633"/>
                    <a:pt x="1573" y="640"/>
                    <a:pt x="1541" y="640"/>
                  </a:cubicBezTo>
                  <a:cubicBezTo>
                    <a:pt x="1533" y="640"/>
                    <a:pt x="1533" y="640"/>
                    <a:pt x="1533" y="640"/>
                  </a:cubicBezTo>
                  <a:cubicBezTo>
                    <a:pt x="1518" y="640"/>
                    <a:pt x="1502" y="640"/>
                    <a:pt x="1486" y="648"/>
                  </a:cubicBezTo>
                  <a:cubicBezTo>
                    <a:pt x="1470" y="648"/>
                    <a:pt x="1454" y="656"/>
                    <a:pt x="1423" y="656"/>
                  </a:cubicBezTo>
                  <a:cubicBezTo>
                    <a:pt x="1375" y="656"/>
                    <a:pt x="1359" y="712"/>
                    <a:pt x="1359" y="735"/>
                  </a:cubicBezTo>
                  <a:cubicBezTo>
                    <a:pt x="1359" y="751"/>
                    <a:pt x="1343" y="759"/>
                    <a:pt x="1320" y="767"/>
                  </a:cubicBezTo>
                  <a:cubicBezTo>
                    <a:pt x="1320" y="775"/>
                    <a:pt x="1312" y="775"/>
                    <a:pt x="1312" y="775"/>
                  </a:cubicBezTo>
                  <a:cubicBezTo>
                    <a:pt x="1288" y="783"/>
                    <a:pt x="1288" y="799"/>
                    <a:pt x="1280" y="815"/>
                  </a:cubicBezTo>
                  <a:cubicBezTo>
                    <a:pt x="1272" y="815"/>
                    <a:pt x="1272" y="822"/>
                    <a:pt x="1272" y="822"/>
                  </a:cubicBezTo>
                  <a:cubicBezTo>
                    <a:pt x="1272" y="830"/>
                    <a:pt x="1265" y="838"/>
                    <a:pt x="1257" y="838"/>
                  </a:cubicBezTo>
                  <a:cubicBezTo>
                    <a:pt x="1249" y="838"/>
                    <a:pt x="1249" y="830"/>
                    <a:pt x="1241" y="806"/>
                  </a:cubicBezTo>
                  <a:cubicBezTo>
                    <a:pt x="1241" y="791"/>
                    <a:pt x="1249" y="783"/>
                    <a:pt x="1265" y="767"/>
                  </a:cubicBezTo>
                  <a:cubicBezTo>
                    <a:pt x="1272" y="767"/>
                    <a:pt x="1280" y="759"/>
                    <a:pt x="1288" y="759"/>
                  </a:cubicBezTo>
                  <a:cubicBezTo>
                    <a:pt x="1288" y="751"/>
                    <a:pt x="1296" y="743"/>
                    <a:pt x="1296" y="743"/>
                  </a:cubicBezTo>
                  <a:cubicBezTo>
                    <a:pt x="1296" y="735"/>
                    <a:pt x="1280" y="728"/>
                    <a:pt x="1272" y="719"/>
                  </a:cubicBezTo>
                  <a:lnTo>
                    <a:pt x="1272" y="719"/>
                  </a:lnTo>
                  <a:cubicBezTo>
                    <a:pt x="1265" y="712"/>
                    <a:pt x="1265" y="712"/>
                    <a:pt x="1265" y="712"/>
                  </a:cubicBezTo>
                  <a:cubicBezTo>
                    <a:pt x="1257" y="712"/>
                    <a:pt x="1249" y="719"/>
                    <a:pt x="1241" y="728"/>
                  </a:cubicBezTo>
                  <a:cubicBezTo>
                    <a:pt x="1241" y="735"/>
                    <a:pt x="1233" y="735"/>
                    <a:pt x="1225" y="743"/>
                  </a:cubicBezTo>
                  <a:cubicBezTo>
                    <a:pt x="1217" y="751"/>
                    <a:pt x="1217" y="759"/>
                    <a:pt x="1209" y="767"/>
                  </a:cubicBezTo>
                  <a:cubicBezTo>
                    <a:pt x="1201" y="775"/>
                    <a:pt x="1185" y="791"/>
                    <a:pt x="1170" y="799"/>
                  </a:cubicBezTo>
                  <a:lnTo>
                    <a:pt x="1162" y="806"/>
                  </a:lnTo>
                  <a:cubicBezTo>
                    <a:pt x="1146" y="806"/>
                    <a:pt x="1146" y="791"/>
                    <a:pt x="1146" y="783"/>
                  </a:cubicBezTo>
                  <a:cubicBezTo>
                    <a:pt x="1146" y="775"/>
                    <a:pt x="1146" y="767"/>
                    <a:pt x="1138" y="767"/>
                  </a:cubicBezTo>
                  <a:cubicBezTo>
                    <a:pt x="1138" y="759"/>
                    <a:pt x="1138" y="759"/>
                    <a:pt x="1138" y="759"/>
                  </a:cubicBezTo>
                  <a:cubicBezTo>
                    <a:pt x="1138" y="759"/>
                    <a:pt x="1130" y="775"/>
                    <a:pt x="1130" y="791"/>
                  </a:cubicBezTo>
                  <a:cubicBezTo>
                    <a:pt x="1130" y="806"/>
                    <a:pt x="1106" y="854"/>
                    <a:pt x="1090" y="901"/>
                  </a:cubicBezTo>
                  <a:cubicBezTo>
                    <a:pt x="1075" y="933"/>
                    <a:pt x="1059" y="973"/>
                    <a:pt x="1059" y="980"/>
                  </a:cubicBezTo>
                  <a:cubicBezTo>
                    <a:pt x="1059" y="988"/>
                    <a:pt x="1043" y="1012"/>
                    <a:pt x="1027" y="1028"/>
                  </a:cubicBezTo>
                  <a:cubicBezTo>
                    <a:pt x="1019" y="1036"/>
                    <a:pt x="1012" y="1052"/>
                    <a:pt x="1004" y="1059"/>
                  </a:cubicBezTo>
                  <a:cubicBezTo>
                    <a:pt x="996" y="1075"/>
                    <a:pt x="988" y="1091"/>
                    <a:pt x="988" y="1107"/>
                  </a:cubicBezTo>
                  <a:cubicBezTo>
                    <a:pt x="988" y="1115"/>
                    <a:pt x="988" y="1115"/>
                    <a:pt x="988" y="1115"/>
                  </a:cubicBezTo>
                  <a:lnTo>
                    <a:pt x="664" y="680"/>
                  </a:lnTo>
                  <a:lnTo>
                    <a:pt x="664" y="680"/>
                  </a:lnTo>
                  <a:cubicBezTo>
                    <a:pt x="672" y="680"/>
                    <a:pt x="679" y="688"/>
                    <a:pt x="679" y="696"/>
                  </a:cubicBezTo>
                  <a:cubicBezTo>
                    <a:pt x="687" y="704"/>
                    <a:pt x="711" y="704"/>
                    <a:pt x="727" y="704"/>
                  </a:cubicBezTo>
                  <a:cubicBezTo>
                    <a:pt x="759" y="712"/>
                    <a:pt x="790" y="712"/>
                    <a:pt x="790" y="735"/>
                  </a:cubicBezTo>
                  <a:cubicBezTo>
                    <a:pt x="790" y="743"/>
                    <a:pt x="790" y="743"/>
                    <a:pt x="790" y="743"/>
                  </a:cubicBezTo>
                  <a:cubicBezTo>
                    <a:pt x="798" y="783"/>
                    <a:pt x="798" y="791"/>
                    <a:pt x="814" y="799"/>
                  </a:cubicBezTo>
                  <a:lnTo>
                    <a:pt x="814" y="799"/>
                  </a:lnTo>
                  <a:cubicBezTo>
                    <a:pt x="838" y="799"/>
                    <a:pt x="893" y="815"/>
                    <a:pt x="893" y="893"/>
                  </a:cubicBezTo>
                  <a:cubicBezTo>
                    <a:pt x="893" y="933"/>
                    <a:pt x="885" y="957"/>
                    <a:pt x="877" y="973"/>
                  </a:cubicBezTo>
                  <a:cubicBezTo>
                    <a:pt x="877" y="973"/>
                    <a:pt x="869" y="980"/>
                    <a:pt x="877" y="980"/>
                  </a:cubicBezTo>
                  <a:cubicBezTo>
                    <a:pt x="877" y="988"/>
                    <a:pt x="885" y="988"/>
                    <a:pt x="885" y="988"/>
                  </a:cubicBezTo>
                  <a:cubicBezTo>
                    <a:pt x="893" y="988"/>
                    <a:pt x="901" y="988"/>
                    <a:pt x="909" y="988"/>
                  </a:cubicBezTo>
                  <a:cubicBezTo>
                    <a:pt x="932" y="996"/>
                    <a:pt x="948" y="996"/>
                    <a:pt x="948" y="1020"/>
                  </a:cubicBezTo>
                  <a:lnTo>
                    <a:pt x="948" y="1028"/>
                  </a:lnTo>
                  <a:cubicBezTo>
                    <a:pt x="948" y="1059"/>
                    <a:pt x="948" y="1091"/>
                    <a:pt x="972" y="1099"/>
                  </a:cubicBezTo>
                  <a:cubicBezTo>
                    <a:pt x="980" y="1099"/>
                    <a:pt x="980" y="1107"/>
                    <a:pt x="980" y="1107"/>
                  </a:cubicBezTo>
                  <a:cubicBezTo>
                    <a:pt x="980" y="1091"/>
                    <a:pt x="988" y="1075"/>
                    <a:pt x="996" y="1059"/>
                  </a:cubicBezTo>
                  <a:cubicBezTo>
                    <a:pt x="1004" y="1044"/>
                    <a:pt x="1012" y="1036"/>
                    <a:pt x="1019" y="1028"/>
                  </a:cubicBezTo>
                  <a:cubicBezTo>
                    <a:pt x="1035" y="1004"/>
                    <a:pt x="1051" y="988"/>
                    <a:pt x="1051" y="980"/>
                  </a:cubicBezTo>
                  <a:cubicBezTo>
                    <a:pt x="1051" y="973"/>
                    <a:pt x="1059" y="941"/>
                    <a:pt x="1083" y="893"/>
                  </a:cubicBezTo>
                  <a:cubicBezTo>
                    <a:pt x="1099" y="854"/>
                    <a:pt x="1122" y="806"/>
                    <a:pt x="1122" y="791"/>
                  </a:cubicBezTo>
                  <a:cubicBezTo>
                    <a:pt x="1122" y="775"/>
                    <a:pt x="1122" y="751"/>
                    <a:pt x="1138" y="751"/>
                  </a:cubicBezTo>
                  <a:lnTo>
                    <a:pt x="1146" y="759"/>
                  </a:lnTo>
                  <a:cubicBezTo>
                    <a:pt x="1146" y="767"/>
                    <a:pt x="1154" y="775"/>
                    <a:pt x="1154" y="783"/>
                  </a:cubicBezTo>
                  <a:cubicBezTo>
                    <a:pt x="1154" y="791"/>
                    <a:pt x="1154" y="799"/>
                    <a:pt x="1162" y="799"/>
                  </a:cubicBezTo>
                  <a:cubicBezTo>
                    <a:pt x="1162" y="799"/>
                    <a:pt x="1162" y="799"/>
                    <a:pt x="1170" y="791"/>
                  </a:cubicBezTo>
                  <a:cubicBezTo>
                    <a:pt x="1185" y="783"/>
                    <a:pt x="1193" y="775"/>
                    <a:pt x="1201" y="759"/>
                  </a:cubicBezTo>
                  <a:cubicBezTo>
                    <a:pt x="1209" y="751"/>
                    <a:pt x="1217" y="743"/>
                    <a:pt x="1225" y="735"/>
                  </a:cubicBezTo>
                  <a:cubicBezTo>
                    <a:pt x="1233" y="735"/>
                    <a:pt x="1233" y="728"/>
                    <a:pt x="1241" y="719"/>
                  </a:cubicBezTo>
                  <a:cubicBezTo>
                    <a:pt x="1249" y="712"/>
                    <a:pt x="1257" y="704"/>
                    <a:pt x="1265" y="704"/>
                  </a:cubicBezTo>
                  <a:cubicBezTo>
                    <a:pt x="1265" y="704"/>
                    <a:pt x="1272" y="704"/>
                    <a:pt x="1272" y="712"/>
                  </a:cubicBezTo>
                  <a:lnTo>
                    <a:pt x="1280" y="712"/>
                  </a:lnTo>
                  <a:cubicBezTo>
                    <a:pt x="1288" y="728"/>
                    <a:pt x="1296" y="735"/>
                    <a:pt x="1296" y="743"/>
                  </a:cubicBezTo>
                  <a:cubicBezTo>
                    <a:pt x="1296" y="751"/>
                    <a:pt x="1296" y="751"/>
                    <a:pt x="1288" y="759"/>
                  </a:cubicBezTo>
                  <a:cubicBezTo>
                    <a:pt x="1280" y="767"/>
                    <a:pt x="1280" y="775"/>
                    <a:pt x="1272" y="775"/>
                  </a:cubicBezTo>
                  <a:cubicBezTo>
                    <a:pt x="1257" y="791"/>
                    <a:pt x="1249" y="799"/>
                    <a:pt x="1249" y="806"/>
                  </a:cubicBezTo>
                  <a:cubicBezTo>
                    <a:pt x="1257" y="822"/>
                    <a:pt x="1257" y="830"/>
                    <a:pt x="1257" y="830"/>
                  </a:cubicBezTo>
                  <a:cubicBezTo>
                    <a:pt x="1265" y="830"/>
                    <a:pt x="1265" y="822"/>
                    <a:pt x="1265" y="822"/>
                  </a:cubicBezTo>
                  <a:cubicBezTo>
                    <a:pt x="1265" y="815"/>
                    <a:pt x="1272" y="815"/>
                    <a:pt x="1272" y="806"/>
                  </a:cubicBezTo>
                  <a:cubicBezTo>
                    <a:pt x="1280" y="791"/>
                    <a:pt x="1288" y="783"/>
                    <a:pt x="1304" y="767"/>
                  </a:cubicBezTo>
                  <a:cubicBezTo>
                    <a:pt x="1312" y="767"/>
                    <a:pt x="1312" y="767"/>
                    <a:pt x="1320" y="759"/>
                  </a:cubicBezTo>
                  <a:cubicBezTo>
                    <a:pt x="1336" y="751"/>
                    <a:pt x="1359" y="743"/>
                    <a:pt x="1359" y="735"/>
                  </a:cubicBezTo>
                  <a:cubicBezTo>
                    <a:pt x="1359" y="712"/>
                    <a:pt x="1367" y="656"/>
                    <a:pt x="1423" y="648"/>
                  </a:cubicBezTo>
                  <a:cubicBezTo>
                    <a:pt x="1454" y="648"/>
                    <a:pt x="1470" y="640"/>
                    <a:pt x="1486" y="640"/>
                  </a:cubicBezTo>
                  <a:cubicBezTo>
                    <a:pt x="1502" y="640"/>
                    <a:pt x="1510" y="633"/>
                    <a:pt x="1533" y="633"/>
                  </a:cubicBezTo>
                  <a:cubicBezTo>
                    <a:pt x="1541" y="633"/>
                    <a:pt x="1541" y="633"/>
                    <a:pt x="1541" y="633"/>
                  </a:cubicBezTo>
                  <a:cubicBezTo>
                    <a:pt x="1573" y="633"/>
                    <a:pt x="1589" y="633"/>
                    <a:pt x="1589" y="601"/>
                  </a:cubicBezTo>
                  <a:cubicBezTo>
                    <a:pt x="1596" y="577"/>
                    <a:pt x="1605" y="562"/>
                    <a:pt x="1636" y="562"/>
                  </a:cubicBezTo>
                  <a:cubicBezTo>
                    <a:pt x="1644" y="562"/>
                    <a:pt x="1652" y="562"/>
                    <a:pt x="1652" y="562"/>
                  </a:cubicBezTo>
                  <a:cubicBezTo>
                    <a:pt x="1652" y="562"/>
                    <a:pt x="1652" y="562"/>
                    <a:pt x="1660" y="562"/>
                  </a:cubicBezTo>
                  <a:cubicBezTo>
                    <a:pt x="1668" y="562"/>
                    <a:pt x="1668" y="562"/>
                    <a:pt x="1676" y="562"/>
                  </a:cubicBezTo>
                  <a:cubicBezTo>
                    <a:pt x="1676" y="562"/>
                    <a:pt x="1683" y="562"/>
                    <a:pt x="1691" y="562"/>
                  </a:cubicBezTo>
                  <a:cubicBezTo>
                    <a:pt x="1707" y="562"/>
                    <a:pt x="1715" y="569"/>
                    <a:pt x="1731" y="569"/>
                  </a:cubicBezTo>
                  <a:cubicBezTo>
                    <a:pt x="1739" y="569"/>
                    <a:pt x="1739" y="577"/>
                    <a:pt x="1747" y="577"/>
                  </a:cubicBezTo>
                  <a:cubicBezTo>
                    <a:pt x="1755" y="577"/>
                    <a:pt x="1763" y="577"/>
                    <a:pt x="1763" y="577"/>
                  </a:cubicBezTo>
                  <a:cubicBezTo>
                    <a:pt x="1778" y="585"/>
                    <a:pt x="1786" y="585"/>
                    <a:pt x="1818" y="601"/>
                  </a:cubicBezTo>
                  <a:cubicBezTo>
                    <a:pt x="1826" y="617"/>
                    <a:pt x="1834" y="625"/>
                    <a:pt x="1842" y="625"/>
                  </a:cubicBezTo>
                  <a:cubicBezTo>
                    <a:pt x="1849" y="640"/>
                    <a:pt x="1849" y="640"/>
                    <a:pt x="1858" y="640"/>
                  </a:cubicBezTo>
                  <a:cubicBezTo>
                    <a:pt x="1858" y="640"/>
                    <a:pt x="1865" y="640"/>
                    <a:pt x="1873" y="640"/>
                  </a:cubicBezTo>
                  <a:cubicBezTo>
                    <a:pt x="1881" y="633"/>
                    <a:pt x="1881" y="625"/>
                    <a:pt x="1889" y="609"/>
                  </a:cubicBezTo>
                  <a:cubicBezTo>
                    <a:pt x="1889" y="601"/>
                    <a:pt x="1889" y="593"/>
                    <a:pt x="1889" y="585"/>
                  </a:cubicBezTo>
                  <a:cubicBezTo>
                    <a:pt x="1905" y="562"/>
                    <a:pt x="1921" y="553"/>
                    <a:pt x="1944" y="569"/>
                  </a:cubicBezTo>
                  <a:cubicBezTo>
                    <a:pt x="1952" y="569"/>
                    <a:pt x="1984" y="569"/>
                    <a:pt x="1992" y="569"/>
                  </a:cubicBezTo>
                  <a:cubicBezTo>
                    <a:pt x="2000" y="569"/>
                    <a:pt x="2016" y="569"/>
                    <a:pt x="2031" y="569"/>
                  </a:cubicBezTo>
                  <a:cubicBezTo>
                    <a:pt x="2039" y="569"/>
                    <a:pt x="2055" y="569"/>
                    <a:pt x="2063" y="569"/>
                  </a:cubicBezTo>
                  <a:cubicBezTo>
                    <a:pt x="2071" y="569"/>
                    <a:pt x="2071" y="569"/>
                    <a:pt x="2079" y="569"/>
                  </a:cubicBezTo>
                  <a:cubicBezTo>
                    <a:pt x="2079" y="569"/>
                    <a:pt x="2087" y="569"/>
                    <a:pt x="2095" y="569"/>
                  </a:cubicBezTo>
                  <a:cubicBezTo>
                    <a:pt x="2110" y="569"/>
                    <a:pt x="2126" y="569"/>
                    <a:pt x="2134" y="569"/>
                  </a:cubicBezTo>
                  <a:cubicBezTo>
                    <a:pt x="2142" y="569"/>
                    <a:pt x="2142" y="569"/>
                    <a:pt x="2142" y="569"/>
                  </a:cubicBezTo>
                  <a:cubicBezTo>
                    <a:pt x="2142" y="562"/>
                    <a:pt x="2150" y="562"/>
                    <a:pt x="2166" y="562"/>
                  </a:cubicBezTo>
                  <a:cubicBezTo>
                    <a:pt x="2182" y="562"/>
                    <a:pt x="2189" y="562"/>
                    <a:pt x="2205" y="569"/>
                  </a:cubicBezTo>
                  <a:cubicBezTo>
                    <a:pt x="2205" y="569"/>
                    <a:pt x="2213" y="569"/>
                    <a:pt x="2229" y="569"/>
                  </a:cubicBezTo>
                  <a:lnTo>
                    <a:pt x="2237" y="569"/>
                  </a:lnTo>
                  <a:cubicBezTo>
                    <a:pt x="2253" y="569"/>
                    <a:pt x="2253" y="562"/>
                    <a:pt x="2261" y="553"/>
                  </a:cubicBezTo>
                  <a:lnTo>
                    <a:pt x="2261" y="546"/>
                  </a:lnTo>
                  <a:cubicBezTo>
                    <a:pt x="2261" y="538"/>
                    <a:pt x="2261" y="514"/>
                    <a:pt x="2253" y="506"/>
                  </a:cubicBezTo>
                  <a:cubicBezTo>
                    <a:pt x="2253" y="498"/>
                    <a:pt x="2245" y="498"/>
                    <a:pt x="2245" y="498"/>
                  </a:cubicBezTo>
                  <a:cubicBezTo>
                    <a:pt x="2229" y="498"/>
                    <a:pt x="2229" y="498"/>
                    <a:pt x="2205" y="514"/>
                  </a:cubicBezTo>
                  <a:cubicBezTo>
                    <a:pt x="2205" y="522"/>
                    <a:pt x="2197" y="530"/>
                    <a:pt x="2197" y="530"/>
                  </a:cubicBezTo>
                  <a:cubicBezTo>
                    <a:pt x="2189" y="538"/>
                    <a:pt x="2182" y="546"/>
                    <a:pt x="2174" y="546"/>
                  </a:cubicBezTo>
                  <a:cubicBezTo>
                    <a:pt x="2166" y="546"/>
                    <a:pt x="2166" y="546"/>
                    <a:pt x="2158" y="538"/>
                  </a:cubicBezTo>
                  <a:cubicBezTo>
                    <a:pt x="2150" y="538"/>
                    <a:pt x="2150" y="530"/>
                    <a:pt x="2142" y="530"/>
                  </a:cubicBezTo>
                  <a:cubicBezTo>
                    <a:pt x="2142" y="522"/>
                    <a:pt x="2134" y="522"/>
                    <a:pt x="2134" y="522"/>
                  </a:cubicBezTo>
                  <a:cubicBezTo>
                    <a:pt x="2126" y="522"/>
                    <a:pt x="2102" y="506"/>
                    <a:pt x="2079" y="490"/>
                  </a:cubicBezTo>
                  <a:cubicBezTo>
                    <a:pt x="2079" y="482"/>
                    <a:pt x="2071" y="482"/>
                    <a:pt x="2063" y="475"/>
                  </a:cubicBezTo>
                  <a:cubicBezTo>
                    <a:pt x="2063" y="475"/>
                    <a:pt x="2063" y="475"/>
                    <a:pt x="2055" y="467"/>
                  </a:cubicBezTo>
                  <a:cubicBezTo>
                    <a:pt x="2039" y="459"/>
                    <a:pt x="2031" y="451"/>
                    <a:pt x="2031" y="427"/>
                  </a:cubicBezTo>
                  <a:cubicBezTo>
                    <a:pt x="2031" y="419"/>
                    <a:pt x="2031" y="411"/>
                    <a:pt x="2023" y="403"/>
                  </a:cubicBezTo>
                  <a:cubicBezTo>
                    <a:pt x="2023" y="380"/>
                    <a:pt x="2023" y="356"/>
                    <a:pt x="2008" y="356"/>
                  </a:cubicBezTo>
                  <a:cubicBezTo>
                    <a:pt x="2000" y="356"/>
                    <a:pt x="2000" y="356"/>
                    <a:pt x="1992" y="356"/>
                  </a:cubicBezTo>
                  <a:cubicBezTo>
                    <a:pt x="1968" y="356"/>
                    <a:pt x="1952" y="364"/>
                    <a:pt x="1936" y="372"/>
                  </a:cubicBezTo>
                  <a:cubicBezTo>
                    <a:pt x="1929" y="372"/>
                    <a:pt x="1921" y="372"/>
                    <a:pt x="1913" y="372"/>
                  </a:cubicBezTo>
                  <a:cubicBezTo>
                    <a:pt x="1889" y="372"/>
                    <a:pt x="1865" y="372"/>
                    <a:pt x="1858" y="364"/>
                  </a:cubicBezTo>
                  <a:cubicBezTo>
                    <a:pt x="1858" y="364"/>
                    <a:pt x="1849" y="364"/>
                    <a:pt x="1834" y="364"/>
                  </a:cubicBezTo>
                  <a:cubicBezTo>
                    <a:pt x="1826" y="364"/>
                    <a:pt x="1810" y="364"/>
                    <a:pt x="1802" y="364"/>
                  </a:cubicBezTo>
                  <a:cubicBezTo>
                    <a:pt x="1778" y="364"/>
                    <a:pt x="1770" y="356"/>
                    <a:pt x="1763" y="348"/>
                  </a:cubicBezTo>
                  <a:cubicBezTo>
                    <a:pt x="1747" y="340"/>
                    <a:pt x="1747" y="324"/>
                    <a:pt x="1747" y="285"/>
                  </a:cubicBezTo>
                  <a:cubicBezTo>
                    <a:pt x="1747" y="269"/>
                    <a:pt x="1747" y="261"/>
                    <a:pt x="1747" y="245"/>
                  </a:cubicBezTo>
                  <a:cubicBezTo>
                    <a:pt x="1747" y="237"/>
                    <a:pt x="1747" y="229"/>
                    <a:pt x="1747" y="229"/>
                  </a:cubicBezTo>
                  <a:cubicBezTo>
                    <a:pt x="1747" y="229"/>
                    <a:pt x="1739" y="229"/>
                    <a:pt x="1731" y="229"/>
                  </a:cubicBezTo>
                  <a:cubicBezTo>
                    <a:pt x="1707" y="229"/>
                    <a:pt x="1676" y="245"/>
                    <a:pt x="1652" y="261"/>
                  </a:cubicBezTo>
                  <a:cubicBezTo>
                    <a:pt x="1644" y="261"/>
                    <a:pt x="1644" y="261"/>
                    <a:pt x="1644" y="261"/>
                  </a:cubicBezTo>
                  <a:cubicBezTo>
                    <a:pt x="1644" y="269"/>
                    <a:pt x="1636" y="269"/>
                    <a:pt x="1636" y="269"/>
                  </a:cubicBezTo>
                  <a:cubicBezTo>
                    <a:pt x="1612" y="285"/>
                    <a:pt x="1581" y="301"/>
                    <a:pt x="1541" y="301"/>
                  </a:cubicBezTo>
                  <a:cubicBezTo>
                    <a:pt x="1525" y="301"/>
                    <a:pt x="1518" y="301"/>
                    <a:pt x="1510" y="301"/>
                  </a:cubicBezTo>
                  <a:cubicBezTo>
                    <a:pt x="1510" y="301"/>
                    <a:pt x="1502" y="293"/>
                    <a:pt x="1494" y="293"/>
                  </a:cubicBezTo>
                  <a:cubicBezTo>
                    <a:pt x="1423" y="293"/>
                    <a:pt x="1328" y="340"/>
                    <a:pt x="1304" y="380"/>
                  </a:cubicBezTo>
                  <a:cubicBezTo>
                    <a:pt x="1272" y="419"/>
                    <a:pt x="1257" y="443"/>
                    <a:pt x="1225" y="443"/>
                  </a:cubicBezTo>
                  <a:cubicBezTo>
                    <a:pt x="1217" y="443"/>
                    <a:pt x="1209" y="443"/>
                    <a:pt x="1201" y="443"/>
                  </a:cubicBezTo>
                  <a:cubicBezTo>
                    <a:pt x="1193" y="443"/>
                    <a:pt x="1185" y="443"/>
                    <a:pt x="1178" y="443"/>
                  </a:cubicBezTo>
                  <a:cubicBezTo>
                    <a:pt x="1154" y="443"/>
                    <a:pt x="1138" y="443"/>
                    <a:pt x="1138" y="427"/>
                  </a:cubicBezTo>
                  <a:cubicBezTo>
                    <a:pt x="1138" y="411"/>
                    <a:pt x="1130" y="403"/>
                    <a:pt x="1122" y="403"/>
                  </a:cubicBezTo>
                  <a:cubicBezTo>
                    <a:pt x="1114" y="403"/>
                    <a:pt x="1114" y="403"/>
                    <a:pt x="1106" y="411"/>
                  </a:cubicBezTo>
                  <a:cubicBezTo>
                    <a:pt x="1099" y="411"/>
                    <a:pt x="1090" y="419"/>
                    <a:pt x="1083" y="419"/>
                  </a:cubicBezTo>
                  <a:cubicBezTo>
                    <a:pt x="1067" y="435"/>
                    <a:pt x="1051" y="443"/>
                    <a:pt x="1035" y="443"/>
                  </a:cubicBezTo>
                  <a:cubicBezTo>
                    <a:pt x="1027" y="443"/>
                    <a:pt x="1027" y="443"/>
                    <a:pt x="1019" y="443"/>
                  </a:cubicBezTo>
                  <a:cubicBezTo>
                    <a:pt x="1019" y="443"/>
                    <a:pt x="1019" y="435"/>
                    <a:pt x="1012" y="435"/>
                  </a:cubicBezTo>
                  <a:cubicBezTo>
                    <a:pt x="988" y="427"/>
                    <a:pt x="956" y="411"/>
                    <a:pt x="940" y="372"/>
                  </a:cubicBezTo>
                  <a:cubicBezTo>
                    <a:pt x="925" y="348"/>
                    <a:pt x="893" y="324"/>
                    <a:pt x="869" y="309"/>
                  </a:cubicBezTo>
                  <a:cubicBezTo>
                    <a:pt x="853" y="301"/>
                    <a:pt x="846" y="293"/>
                    <a:pt x="838" y="285"/>
                  </a:cubicBezTo>
                  <a:cubicBezTo>
                    <a:pt x="822" y="269"/>
                    <a:pt x="782" y="261"/>
                    <a:pt x="759" y="261"/>
                  </a:cubicBezTo>
                  <a:cubicBezTo>
                    <a:pt x="751" y="261"/>
                    <a:pt x="743" y="261"/>
                    <a:pt x="735" y="269"/>
                  </a:cubicBezTo>
                  <a:cubicBezTo>
                    <a:pt x="727" y="269"/>
                    <a:pt x="719" y="269"/>
                    <a:pt x="711" y="277"/>
                  </a:cubicBezTo>
                  <a:cubicBezTo>
                    <a:pt x="687" y="277"/>
                    <a:pt x="664" y="285"/>
                    <a:pt x="656" y="301"/>
                  </a:cubicBezTo>
                  <a:cubicBezTo>
                    <a:pt x="656" y="309"/>
                    <a:pt x="648" y="316"/>
                    <a:pt x="648" y="324"/>
                  </a:cubicBezTo>
                  <a:cubicBezTo>
                    <a:pt x="640" y="340"/>
                    <a:pt x="640" y="348"/>
                    <a:pt x="632" y="348"/>
                  </a:cubicBezTo>
                  <a:cubicBezTo>
                    <a:pt x="632" y="348"/>
                    <a:pt x="624" y="340"/>
                    <a:pt x="624" y="332"/>
                  </a:cubicBezTo>
                  <a:cubicBezTo>
                    <a:pt x="624" y="324"/>
                    <a:pt x="624" y="316"/>
                    <a:pt x="616" y="309"/>
                  </a:cubicBezTo>
                  <a:cubicBezTo>
                    <a:pt x="616" y="293"/>
                    <a:pt x="608" y="269"/>
                    <a:pt x="624" y="245"/>
                  </a:cubicBezTo>
                  <a:cubicBezTo>
                    <a:pt x="640" y="229"/>
                    <a:pt x="648" y="214"/>
                    <a:pt x="656" y="198"/>
                  </a:cubicBezTo>
                  <a:cubicBezTo>
                    <a:pt x="672" y="174"/>
                    <a:pt x="679" y="150"/>
                    <a:pt x="703" y="135"/>
                  </a:cubicBezTo>
                  <a:cubicBezTo>
                    <a:pt x="727" y="111"/>
                    <a:pt x="735" y="87"/>
                    <a:pt x="751" y="79"/>
                  </a:cubicBezTo>
                  <a:cubicBezTo>
                    <a:pt x="751" y="71"/>
                    <a:pt x="759" y="63"/>
                    <a:pt x="759" y="56"/>
                  </a:cubicBezTo>
                  <a:lnTo>
                    <a:pt x="766" y="56"/>
                  </a:lnTo>
                  <a:cubicBezTo>
                    <a:pt x="766" y="48"/>
                    <a:pt x="774" y="48"/>
                    <a:pt x="798" y="40"/>
                  </a:cubicBezTo>
                  <a:cubicBezTo>
                    <a:pt x="814" y="40"/>
                    <a:pt x="830" y="40"/>
                    <a:pt x="830" y="32"/>
                  </a:cubicBezTo>
                  <a:cubicBezTo>
                    <a:pt x="830" y="24"/>
                    <a:pt x="830" y="24"/>
                    <a:pt x="822" y="16"/>
                  </a:cubicBezTo>
                  <a:cubicBezTo>
                    <a:pt x="814" y="8"/>
                    <a:pt x="790" y="8"/>
                    <a:pt x="766" y="8"/>
                  </a:cubicBezTo>
                  <a:cubicBezTo>
                    <a:pt x="727" y="8"/>
                    <a:pt x="695" y="16"/>
                    <a:pt x="679" y="24"/>
                  </a:cubicBezTo>
                  <a:cubicBezTo>
                    <a:pt x="672" y="32"/>
                    <a:pt x="672" y="32"/>
                    <a:pt x="672" y="32"/>
                  </a:cubicBezTo>
                  <a:cubicBezTo>
                    <a:pt x="640" y="56"/>
                    <a:pt x="593" y="79"/>
                    <a:pt x="577" y="111"/>
                  </a:cubicBezTo>
                  <a:cubicBezTo>
                    <a:pt x="569" y="127"/>
                    <a:pt x="569" y="142"/>
                    <a:pt x="561" y="150"/>
                  </a:cubicBezTo>
                  <a:cubicBezTo>
                    <a:pt x="561" y="158"/>
                    <a:pt x="561" y="166"/>
                    <a:pt x="561" y="174"/>
                  </a:cubicBezTo>
                  <a:cubicBezTo>
                    <a:pt x="553" y="174"/>
                    <a:pt x="553" y="182"/>
                    <a:pt x="545" y="182"/>
                  </a:cubicBezTo>
                  <a:cubicBezTo>
                    <a:pt x="545" y="182"/>
                    <a:pt x="537" y="174"/>
                    <a:pt x="537" y="158"/>
                  </a:cubicBezTo>
                  <a:cubicBezTo>
                    <a:pt x="529" y="158"/>
                    <a:pt x="529" y="150"/>
                    <a:pt x="529" y="150"/>
                  </a:cubicBezTo>
                  <a:lnTo>
                    <a:pt x="529" y="142"/>
                  </a:lnTo>
                  <a:cubicBezTo>
                    <a:pt x="529" y="142"/>
                    <a:pt x="529" y="150"/>
                    <a:pt x="521" y="150"/>
                  </a:cubicBezTo>
                  <a:cubicBezTo>
                    <a:pt x="521" y="158"/>
                    <a:pt x="513" y="166"/>
                    <a:pt x="506" y="174"/>
                  </a:cubicBezTo>
                  <a:cubicBezTo>
                    <a:pt x="490" y="190"/>
                    <a:pt x="482" y="206"/>
                    <a:pt x="474" y="214"/>
                  </a:cubicBezTo>
                  <a:cubicBezTo>
                    <a:pt x="466" y="222"/>
                    <a:pt x="466" y="229"/>
                    <a:pt x="466" y="229"/>
                  </a:cubicBezTo>
                  <a:cubicBezTo>
                    <a:pt x="466" y="237"/>
                    <a:pt x="466" y="245"/>
                    <a:pt x="442" y="261"/>
                  </a:cubicBezTo>
                  <a:cubicBezTo>
                    <a:pt x="435" y="261"/>
                    <a:pt x="426" y="261"/>
                    <a:pt x="426" y="269"/>
                  </a:cubicBezTo>
                  <a:cubicBezTo>
                    <a:pt x="387" y="285"/>
                    <a:pt x="355" y="301"/>
                    <a:pt x="332" y="324"/>
                  </a:cubicBezTo>
                  <a:cubicBezTo>
                    <a:pt x="324" y="324"/>
                    <a:pt x="324" y="332"/>
                    <a:pt x="316" y="332"/>
                  </a:cubicBezTo>
                  <a:cubicBezTo>
                    <a:pt x="300" y="348"/>
                    <a:pt x="300" y="348"/>
                    <a:pt x="284" y="348"/>
                  </a:cubicBezTo>
                  <a:lnTo>
                    <a:pt x="276" y="348"/>
                  </a:lnTo>
                  <a:cubicBezTo>
                    <a:pt x="268" y="348"/>
                    <a:pt x="268" y="348"/>
                    <a:pt x="260" y="348"/>
                  </a:cubicBezTo>
                  <a:cubicBezTo>
                    <a:pt x="237" y="348"/>
                    <a:pt x="221" y="348"/>
                    <a:pt x="205" y="356"/>
                  </a:cubicBezTo>
                  <a:cubicBezTo>
                    <a:pt x="182" y="372"/>
                    <a:pt x="110" y="411"/>
                    <a:pt x="87" y="451"/>
                  </a:cubicBezTo>
                  <a:cubicBezTo>
                    <a:pt x="63" y="482"/>
                    <a:pt x="47" y="490"/>
                    <a:pt x="15" y="490"/>
                  </a:cubicBezTo>
                  <a:cubicBezTo>
                    <a:pt x="23" y="498"/>
                    <a:pt x="31" y="506"/>
                    <a:pt x="31" y="506"/>
                  </a:cubicBezTo>
                  <a:cubicBezTo>
                    <a:pt x="55" y="522"/>
                    <a:pt x="79" y="553"/>
                    <a:pt x="87" y="569"/>
                  </a:cubicBezTo>
                  <a:cubicBezTo>
                    <a:pt x="95" y="577"/>
                    <a:pt x="95" y="585"/>
                    <a:pt x="102" y="585"/>
                  </a:cubicBezTo>
                  <a:lnTo>
                    <a:pt x="102" y="585"/>
                  </a:lnTo>
                  <a:cubicBezTo>
                    <a:pt x="110" y="601"/>
                    <a:pt x="126" y="625"/>
                    <a:pt x="197" y="625"/>
                  </a:cubicBezTo>
                  <a:cubicBezTo>
                    <a:pt x="268" y="625"/>
                    <a:pt x="466" y="640"/>
                    <a:pt x="506" y="680"/>
                  </a:cubicBezTo>
                  <a:cubicBezTo>
                    <a:pt x="506" y="680"/>
                    <a:pt x="513" y="688"/>
                    <a:pt x="513" y="696"/>
                  </a:cubicBezTo>
                  <a:cubicBezTo>
                    <a:pt x="529" y="704"/>
                    <a:pt x="537" y="712"/>
                    <a:pt x="553" y="712"/>
                  </a:cubicBezTo>
                  <a:cubicBezTo>
                    <a:pt x="561" y="712"/>
                    <a:pt x="569" y="712"/>
                    <a:pt x="585" y="704"/>
                  </a:cubicBezTo>
                  <a:cubicBezTo>
                    <a:pt x="600" y="704"/>
                    <a:pt x="616" y="696"/>
                    <a:pt x="632" y="696"/>
                  </a:cubicBezTo>
                  <a:cubicBezTo>
                    <a:pt x="640" y="688"/>
                    <a:pt x="648" y="680"/>
                    <a:pt x="664" y="680"/>
                  </a:cubicBezTo>
                  <a:lnTo>
                    <a:pt x="988" y="1115"/>
                  </a:lnTo>
                </a:path>
              </a:pathLst>
            </a:custGeom>
            <a:grpFill/>
            <a:ln>
              <a:solidFill>
                <a:schemeClr val="bg1">
                  <a:lumMod val="95000"/>
                </a:schemeClr>
              </a:solidFill>
            </a:ln>
            <a:effectLst/>
          </p:spPr>
          <p:txBody>
            <a:bodyPr wrap="none" anchor="ctr"/>
            <a:lstStyle/>
            <a:p>
              <a:endParaRPr lang="en-US" sz="900"/>
            </a:p>
          </p:txBody>
        </p:sp>
        <p:sp>
          <p:nvSpPr>
            <p:cNvPr id="77" name="Freeform 668"/>
            <p:cNvSpPr>
              <a:spLocks noChangeArrowheads="1"/>
            </p:cNvSpPr>
            <p:nvPr/>
          </p:nvSpPr>
          <p:spPr bwMode="auto">
            <a:xfrm>
              <a:off x="12900220" y="4159834"/>
              <a:ext cx="1036730" cy="1097032"/>
            </a:xfrm>
            <a:custGeom>
              <a:avLst/>
              <a:gdLst>
                <a:gd name="T0" fmla="*/ 538 w 1970"/>
                <a:gd name="T1" fmla="*/ 48 h 2088"/>
                <a:gd name="T2" fmla="*/ 332 w 1970"/>
                <a:gd name="T3" fmla="*/ 143 h 2088"/>
                <a:gd name="T4" fmla="*/ 245 w 1970"/>
                <a:gd name="T5" fmla="*/ 111 h 2088"/>
                <a:gd name="T6" fmla="*/ 174 w 1970"/>
                <a:gd name="T7" fmla="*/ 182 h 2088"/>
                <a:gd name="T8" fmla="*/ 206 w 1970"/>
                <a:gd name="T9" fmla="*/ 395 h 2088"/>
                <a:gd name="T10" fmla="*/ 32 w 1970"/>
                <a:gd name="T11" fmla="*/ 585 h 2088"/>
                <a:gd name="T12" fmla="*/ 32 w 1970"/>
                <a:gd name="T13" fmla="*/ 688 h 2088"/>
                <a:gd name="T14" fmla="*/ 71 w 1970"/>
                <a:gd name="T15" fmla="*/ 815 h 2088"/>
                <a:gd name="T16" fmla="*/ 64 w 1970"/>
                <a:gd name="T17" fmla="*/ 917 h 2088"/>
                <a:gd name="T18" fmla="*/ 55 w 1970"/>
                <a:gd name="T19" fmla="*/ 965 h 2088"/>
                <a:gd name="T20" fmla="*/ 87 w 1970"/>
                <a:gd name="T21" fmla="*/ 1091 h 2088"/>
                <a:gd name="T22" fmla="*/ 237 w 1970"/>
                <a:gd name="T23" fmla="*/ 1194 h 2088"/>
                <a:gd name="T24" fmla="*/ 348 w 1970"/>
                <a:gd name="T25" fmla="*/ 1233 h 2088"/>
                <a:gd name="T26" fmla="*/ 601 w 1970"/>
                <a:gd name="T27" fmla="*/ 1518 h 2088"/>
                <a:gd name="T28" fmla="*/ 625 w 1970"/>
                <a:gd name="T29" fmla="*/ 1629 h 2088"/>
                <a:gd name="T30" fmla="*/ 664 w 1970"/>
                <a:gd name="T31" fmla="*/ 1708 h 2088"/>
                <a:gd name="T32" fmla="*/ 664 w 1970"/>
                <a:gd name="T33" fmla="*/ 1874 h 2088"/>
                <a:gd name="T34" fmla="*/ 704 w 1970"/>
                <a:gd name="T35" fmla="*/ 1945 h 2088"/>
                <a:gd name="T36" fmla="*/ 735 w 1970"/>
                <a:gd name="T37" fmla="*/ 2008 h 2088"/>
                <a:gd name="T38" fmla="*/ 838 w 1970"/>
                <a:gd name="T39" fmla="*/ 2048 h 2088"/>
                <a:gd name="T40" fmla="*/ 1803 w 1970"/>
                <a:gd name="T41" fmla="*/ 1803 h 2088"/>
                <a:gd name="T42" fmla="*/ 1795 w 1970"/>
                <a:gd name="T43" fmla="*/ 1486 h 2088"/>
                <a:gd name="T44" fmla="*/ 1850 w 1970"/>
                <a:gd name="T45" fmla="*/ 1170 h 2088"/>
                <a:gd name="T46" fmla="*/ 1889 w 1970"/>
                <a:gd name="T47" fmla="*/ 917 h 2088"/>
                <a:gd name="T48" fmla="*/ 1929 w 1970"/>
                <a:gd name="T49" fmla="*/ 806 h 2088"/>
                <a:gd name="T50" fmla="*/ 1961 w 1970"/>
                <a:gd name="T51" fmla="*/ 712 h 2088"/>
                <a:gd name="T52" fmla="*/ 1961 w 1970"/>
                <a:gd name="T53" fmla="*/ 672 h 2088"/>
                <a:gd name="T54" fmla="*/ 1882 w 1970"/>
                <a:gd name="T55" fmla="*/ 783 h 2088"/>
                <a:gd name="T56" fmla="*/ 1850 w 1970"/>
                <a:gd name="T57" fmla="*/ 886 h 2088"/>
                <a:gd name="T58" fmla="*/ 1818 w 1970"/>
                <a:gd name="T59" fmla="*/ 886 h 2088"/>
                <a:gd name="T60" fmla="*/ 1771 w 1970"/>
                <a:gd name="T61" fmla="*/ 965 h 2088"/>
                <a:gd name="T62" fmla="*/ 1692 w 1970"/>
                <a:gd name="T63" fmla="*/ 1052 h 2088"/>
                <a:gd name="T64" fmla="*/ 1668 w 1970"/>
                <a:gd name="T65" fmla="*/ 1052 h 2088"/>
                <a:gd name="T66" fmla="*/ 1716 w 1970"/>
                <a:gd name="T67" fmla="*/ 894 h 2088"/>
                <a:gd name="T68" fmla="*/ 1779 w 1970"/>
                <a:gd name="T69" fmla="*/ 806 h 2088"/>
                <a:gd name="T70" fmla="*/ 1739 w 1970"/>
                <a:gd name="T71" fmla="*/ 712 h 2088"/>
                <a:gd name="T72" fmla="*/ 1684 w 1970"/>
                <a:gd name="T73" fmla="*/ 672 h 2088"/>
                <a:gd name="T74" fmla="*/ 1684 w 1970"/>
                <a:gd name="T75" fmla="*/ 569 h 2088"/>
                <a:gd name="T76" fmla="*/ 1581 w 1970"/>
                <a:gd name="T77" fmla="*/ 411 h 2088"/>
                <a:gd name="T78" fmla="*/ 1431 w 1970"/>
                <a:gd name="T79" fmla="*/ 372 h 2088"/>
                <a:gd name="T80" fmla="*/ 1352 w 1970"/>
                <a:gd name="T81" fmla="*/ 395 h 2088"/>
                <a:gd name="T82" fmla="*/ 1297 w 1970"/>
                <a:gd name="T83" fmla="*/ 356 h 2088"/>
                <a:gd name="T84" fmla="*/ 886 w 1970"/>
                <a:gd name="T85" fmla="*/ 253 h 2088"/>
                <a:gd name="T86" fmla="*/ 814 w 1970"/>
                <a:gd name="T87" fmla="*/ 174 h 2088"/>
                <a:gd name="T88" fmla="*/ 799 w 1970"/>
                <a:gd name="T89" fmla="*/ 166 h 2088"/>
                <a:gd name="T90" fmla="*/ 719 w 1970"/>
                <a:gd name="T91" fmla="*/ 127 h 2088"/>
                <a:gd name="T92" fmla="*/ 641 w 1970"/>
                <a:gd name="T93" fmla="*/ 166 h 2088"/>
                <a:gd name="T94" fmla="*/ 648 w 1970"/>
                <a:gd name="T95" fmla="*/ 64 h 2088"/>
                <a:gd name="T96" fmla="*/ 664 w 1970"/>
                <a:gd name="T97" fmla="*/ 0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0" h="2088">
                  <a:moveTo>
                    <a:pt x="656" y="0"/>
                  </a:moveTo>
                  <a:lnTo>
                    <a:pt x="656" y="0"/>
                  </a:lnTo>
                  <a:cubicBezTo>
                    <a:pt x="625" y="0"/>
                    <a:pt x="585" y="16"/>
                    <a:pt x="585" y="24"/>
                  </a:cubicBezTo>
                  <a:cubicBezTo>
                    <a:pt x="577" y="32"/>
                    <a:pt x="561" y="40"/>
                    <a:pt x="538" y="48"/>
                  </a:cubicBezTo>
                  <a:cubicBezTo>
                    <a:pt x="522" y="56"/>
                    <a:pt x="498" y="64"/>
                    <a:pt x="490" y="71"/>
                  </a:cubicBezTo>
                  <a:cubicBezTo>
                    <a:pt x="482" y="71"/>
                    <a:pt x="475" y="79"/>
                    <a:pt x="466" y="87"/>
                  </a:cubicBezTo>
                  <a:cubicBezTo>
                    <a:pt x="451" y="95"/>
                    <a:pt x="419" y="119"/>
                    <a:pt x="388" y="119"/>
                  </a:cubicBezTo>
                  <a:cubicBezTo>
                    <a:pt x="364" y="127"/>
                    <a:pt x="340" y="135"/>
                    <a:pt x="332" y="143"/>
                  </a:cubicBezTo>
                  <a:cubicBezTo>
                    <a:pt x="316" y="151"/>
                    <a:pt x="308" y="151"/>
                    <a:pt x="293" y="151"/>
                  </a:cubicBezTo>
                  <a:lnTo>
                    <a:pt x="285" y="151"/>
                  </a:lnTo>
                  <a:cubicBezTo>
                    <a:pt x="277" y="143"/>
                    <a:pt x="269" y="143"/>
                    <a:pt x="269" y="135"/>
                  </a:cubicBezTo>
                  <a:cubicBezTo>
                    <a:pt x="253" y="135"/>
                    <a:pt x="253" y="127"/>
                    <a:pt x="245" y="111"/>
                  </a:cubicBezTo>
                  <a:lnTo>
                    <a:pt x="245" y="111"/>
                  </a:lnTo>
                  <a:cubicBezTo>
                    <a:pt x="229" y="119"/>
                    <a:pt x="190" y="166"/>
                    <a:pt x="174" y="174"/>
                  </a:cubicBezTo>
                  <a:lnTo>
                    <a:pt x="174" y="174"/>
                  </a:lnTo>
                  <a:cubicBezTo>
                    <a:pt x="174" y="174"/>
                    <a:pt x="174" y="174"/>
                    <a:pt x="174" y="182"/>
                  </a:cubicBezTo>
                  <a:cubicBezTo>
                    <a:pt x="174" y="198"/>
                    <a:pt x="174" y="222"/>
                    <a:pt x="182" y="238"/>
                  </a:cubicBezTo>
                  <a:cubicBezTo>
                    <a:pt x="182" y="253"/>
                    <a:pt x="182" y="261"/>
                    <a:pt x="190" y="277"/>
                  </a:cubicBezTo>
                  <a:cubicBezTo>
                    <a:pt x="190" y="285"/>
                    <a:pt x="190" y="293"/>
                    <a:pt x="190" y="309"/>
                  </a:cubicBezTo>
                  <a:cubicBezTo>
                    <a:pt x="198" y="332"/>
                    <a:pt x="206" y="364"/>
                    <a:pt x="206" y="395"/>
                  </a:cubicBezTo>
                  <a:cubicBezTo>
                    <a:pt x="206" y="419"/>
                    <a:pt x="198" y="443"/>
                    <a:pt x="182" y="459"/>
                  </a:cubicBezTo>
                  <a:cubicBezTo>
                    <a:pt x="166" y="491"/>
                    <a:pt x="142" y="498"/>
                    <a:pt x="119" y="506"/>
                  </a:cubicBezTo>
                  <a:cubicBezTo>
                    <a:pt x="95" y="514"/>
                    <a:pt x="79" y="522"/>
                    <a:pt x="64" y="538"/>
                  </a:cubicBezTo>
                  <a:cubicBezTo>
                    <a:pt x="40" y="554"/>
                    <a:pt x="32" y="569"/>
                    <a:pt x="32" y="585"/>
                  </a:cubicBezTo>
                  <a:cubicBezTo>
                    <a:pt x="32" y="601"/>
                    <a:pt x="24" y="617"/>
                    <a:pt x="8" y="641"/>
                  </a:cubicBezTo>
                  <a:cubicBezTo>
                    <a:pt x="8" y="649"/>
                    <a:pt x="0" y="656"/>
                    <a:pt x="0" y="664"/>
                  </a:cubicBezTo>
                  <a:cubicBezTo>
                    <a:pt x="0" y="672"/>
                    <a:pt x="0" y="672"/>
                    <a:pt x="0" y="672"/>
                  </a:cubicBezTo>
                  <a:cubicBezTo>
                    <a:pt x="8" y="680"/>
                    <a:pt x="16" y="688"/>
                    <a:pt x="32" y="688"/>
                  </a:cubicBezTo>
                  <a:cubicBezTo>
                    <a:pt x="40" y="696"/>
                    <a:pt x="48" y="696"/>
                    <a:pt x="55" y="704"/>
                  </a:cubicBezTo>
                  <a:cubicBezTo>
                    <a:pt x="79" y="712"/>
                    <a:pt x="87" y="735"/>
                    <a:pt x="87" y="759"/>
                  </a:cubicBezTo>
                  <a:cubicBezTo>
                    <a:pt x="87" y="759"/>
                    <a:pt x="87" y="759"/>
                    <a:pt x="87" y="767"/>
                  </a:cubicBezTo>
                  <a:cubicBezTo>
                    <a:pt x="87" y="783"/>
                    <a:pt x="79" y="799"/>
                    <a:pt x="71" y="815"/>
                  </a:cubicBezTo>
                  <a:cubicBezTo>
                    <a:pt x="55" y="822"/>
                    <a:pt x="55" y="830"/>
                    <a:pt x="55" y="838"/>
                  </a:cubicBezTo>
                  <a:cubicBezTo>
                    <a:pt x="55" y="838"/>
                    <a:pt x="55" y="846"/>
                    <a:pt x="55" y="854"/>
                  </a:cubicBezTo>
                  <a:cubicBezTo>
                    <a:pt x="64" y="862"/>
                    <a:pt x="64" y="878"/>
                    <a:pt x="64" y="886"/>
                  </a:cubicBezTo>
                  <a:cubicBezTo>
                    <a:pt x="64" y="902"/>
                    <a:pt x="64" y="909"/>
                    <a:pt x="64" y="917"/>
                  </a:cubicBezTo>
                  <a:cubicBezTo>
                    <a:pt x="64" y="925"/>
                    <a:pt x="64" y="933"/>
                    <a:pt x="64" y="941"/>
                  </a:cubicBezTo>
                  <a:lnTo>
                    <a:pt x="64" y="941"/>
                  </a:lnTo>
                  <a:lnTo>
                    <a:pt x="64" y="941"/>
                  </a:lnTo>
                  <a:cubicBezTo>
                    <a:pt x="64" y="949"/>
                    <a:pt x="55" y="957"/>
                    <a:pt x="55" y="965"/>
                  </a:cubicBezTo>
                  <a:cubicBezTo>
                    <a:pt x="55" y="973"/>
                    <a:pt x="48" y="981"/>
                    <a:pt x="48" y="988"/>
                  </a:cubicBezTo>
                  <a:cubicBezTo>
                    <a:pt x="40" y="1004"/>
                    <a:pt x="40" y="1012"/>
                    <a:pt x="40" y="1020"/>
                  </a:cubicBezTo>
                  <a:cubicBezTo>
                    <a:pt x="40" y="1044"/>
                    <a:pt x="48" y="1052"/>
                    <a:pt x="64" y="1060"/>
                  </a:cubicBezTo>
                  <a:cubicBezTo>
                    <a:pt x="71" y="1068"/>
                    <a:pt x="79" y="1083"/>
                    <a:pt x="87" y="1091"/>
                  </a:cubicBezTo>
                  <a:cubicBezTo>
                    <a:pt x="95" y="1115"/>
                    <a:pt x="119" y="1123"/>
                    <a:pt x="142" y="1131"/>
                  </a:cubicBezTo>
                  <a:cubicBezTo>
                    <a:pt x="150" y="1139"/>
                    <a:pt x="158" y="1139"/>
                    <a:pt x="166" y="1146"/>
                  </a:cubicBezTo>
                  <a:cubicBezTo>
                    <a:pt x="182" y="1155"/>
                    <a:pt x="190" y="1155"/>
                    <a:pt x="198" y="1155"/>
                  </a:cubicBezTo>
                  <a:cubicBezTo>
                    <a:pt x="214" y="1162"/>
                    <a:pt x="229" y="1162"/>
                    <a:pt x="237" y="1194"/>
                  </a:cubicBezTo>
                  <a:cubicBezTo>
                    <a:pt x="237" y="1202"/>
                    <a:pt x="245" y="1202"/>
                    <a:pt x="253" y="1202"/>
                  </a:cubicBezTo>
                  <a:lnTo>
                    <a:pt x="261" y="1202"/>
                  </a:lnTo>
                  <a:cubicBezTo>
                    <a:pt x="269" y="1202"/>
                    <a:pt x="277" y="1202"/>
                    <a:pt x="277" y="1202"/>
                  </a:cubicBezTo>
                  <a:cubicBezTo>
                    <a:pt x="293" y="1202"/>
                    <a:pt x="324" y="1210"/>
                    <a:pt x="348" y="1233"/>
                  </a:cubicBezTo>
                  <a:cubicBezTo>
                    <a:pt x="372" y="1257"/>
                    <a:pt x="395" y="1281"/>
                    <a:pt x="419" y="1305"/>
                  </a:cubicBezTo>
                  <a:cubicBezTo>
                    <a:pt x="459" y="1344"/>
                    <a:pt x="490" y="1384"/>
                    <a:pt x="506" y="1384"/>
                  </a:cubicBezTo>
                  <a:cubicBezTo>
                    <a:pt x="538" y="1392"/>
                    <a:pt x="601" y="1447"/>
                    <a:pt x="601" y="1510"/>
                  </a:cubicBezTo>
                  <a:cubicBezTo>
                    <a:pt x="601" y="1518"/>
                    <a:pt x="601" y="1518"/>
                    <a:pt x="601" y="1518"/>
                  </a:cubicBezTo>
                  <a:cubicBezTo>
                    <a:pt x="593" y="1526"/>
                    <a:pt x="593" y="1526"/>
                    <a:pt x="593" y="1534"/>
                  </a:cubicBezTo>
                  <a:cubicBezTo>
                    <a:pt x="593" y="1542"/>
                    <a:pt x="601" y="1558"/>
                    <a:pt x="601" y="1573"/>
                  </a:cubicBezTo>
                  <a:cubicBezTo>
                    <a:pt x="609" y="1589"/>
                    <a:pt x="617" y="1613"/>
                    <a:pt x="625" y="1629"/>
                  </a:cubicBezTo>
                  <a:lnTo>
                    <a:pt x="625" y="1629"/>
                  </a:lnTo>
                  <a:cubicBezTo>
                    <a:pt x="625" y="1637"/>
                    <a:pt x="625" y="1637"/>
                    <a:pt x="625" y="1637"/>
                  </a:cubicBezTo>
                  <a:cubicBezTo>
                    <a:pt x="632" y="1645"/>
                    <a:pt x="632" y="1652"/>
                    <a:pt x="632" y="1652"/>
                  </a:cubicBezTo>
                  <a:cubicBezTo>
                    <a:pt x="641" y="1668"/>
                    <a:pt x="648" y="1676"/>
                    <a:pt x="648" y="1684"/>
                  </a:cubicBezTo>
                  <a:cubicBezTo>
                    <a:pt x="648" y="1700"/>
                    <a:pt x="656" y="1700"/>
                    <a:pt x="664" y="1708"/>
                  </a:cubicBezTo>
                  <a:cubicBezTo>
                    <a:pt x="680" y="1716"/>
                    <a:pt x="688" y="1716"/>
                    <a:pt x="688" y="1739"/>
                  </a:cubicBezTo>
                  <a:cubicBezTo>
                    <a:pt x="688" y="1739"/>
                    <a:pt x="688" y="1747"/>
                    <a:pt x="680" y="1755"/>
                  </a:cubicBezTo>
                  <a:cubicBezTo>
                    <a:pt x="672" y="1795"/>
                    <a:pt x="672" y="1803"/>
                    <a:pt x="664" y="1819"/>
                  </a:cubicBezTo>
                  <a:cubicBezTo>
                    <a:pt x="664" y="1834"/>
                    <a:pt x="664" y="1850"/>
                    <a:pt x="664" y="1874"/>
                  </a:cubicBezTo>
                  <a:cubicBezTo>
                    <a:pt x="656" y="1882"/>
                    <a:pt x="656" y="1890"/>
                    <a:pt x="656" y="1890"/>
                  </a:cubicBezTo>
                  <a:cubicBezTo>
                    <a:pt x="656" y="1913"/>
                    <a:pt x="664" y="1913"/>
                    <a:pt x="680" y="1913"/>
                  </a:cubicBezTo>
                  <a:cubicBezTo>
                    <a:pt x="688" y="1921"/>
                    <a:pt x="696" y="1921"/>
                    <a:pt x="704" y="1937"/>
                  </a:cubicBezTo>
                  <a:cubicBezTo>
                    <a:pt x="704" y="1945"/>
                    <a:pt x="704" y="1945"/>
                    <a:pt x="704" y="1945"/>
                  </a:cubicBezTo>
                  <a:cubicBezTo>
                    <a:pt x="704" y="1961"/>
                    <a:pt x="696" y="1969"/>
                    <a:pt x="688" y="1977"/>
                  </a:cubicBezTo>
                  <a:cubicBezTo>
                    <a:pt x="680" y="1985"/>
                    <a:pt x="680" y="1992"/>
                    <a:pt x="680" y="2000"/>
                  </a:cubicBezTo>
                  <a:lnTo>
                    <a:pt x="680" y="2000"/>
                  </a:lnTo>
                  <a:cubicBezTo>
                    <a:pt x="680" y="2008"/>
                    <a:pt x="704" y="2008"/>
                    <a:pt x="735" y="2008"/>
                  </a:cubicBezTo>
                  <a:lnTo>
                    <a:pt x="735" y="2008"/>
                  </a:lnTo>
                  <a:lnTo>
                    <a:pt x="735" y="2008"/>
                  </a:lnTo>
                  <a:lnTo>
                    <a:pt x="735" y="2008"/>
                  </a:lnTo>
                  <a:cubicBezTo>
                    <a:pt x="791" y="2008"/>
                    <a:pt x="822" y="2032"/>
                    <a:pt x="838" y="2048"/>
                  </a:cubicBezTo>
                  <a:cubicBezTo>
                    <a:pt x="854" y="2063"/>
                    <a:pt x="854" y="2079"/>
                    <a:pt x="862" y="2087"/>
                  </a:cubicBezTo>
                  <a:cubicBezTo>
                    <a:pt x="981" y="2079"/>
                    <a:pt x="1289" y="2056"/>
                    <a:pt x="1534" y="2032"/>
                  </a:cubicBezTo>
                  <a:cubicBezTo>
                    <a:pt x="1660" y="2024"/>
                    <a:pt x="1779" y="2008"/>
                    <a:pt x="1834" y="2000"/>
                  </a:cubicBezTo>
                  <a:cubicBezTo>
                    <a:pt x="1834" y="1913"/>
                    <a:pt x="1826" y="1850"/>
                    <a:pt x="1803" y="1803"/>
                  </a:cubicBezTo>
                  <a:cubicBezTo>
                    <a:pt x="1795" y="1787"/>
                    <a:pt x="1795" y="1771"/>
                    <a:pt x="1787" y="1763"/>
                  </a:cubicBezTo>
                  <a:cubicBezTo>
                    <a:pt x="1763" y="1708"/>
                    <a:pt x="1755" y="1692"/>
                    <a:pt x="1771" y="1637"/>
                  </a:cubicBezTo>
                  <a:cubicBezTo>
                    <a:pt x="1779" y="1605"/>
                    <a:pt x="1779" y="1573"/>
                    <a:pt x="1779" y="1550"/>
                  </a:cubicBezTo>
                  <a:cubicBezTo>
                    <a:pt x="1779" y="1518"/>
                    <a:pt x="1771" y="1502"/>
                    <a:pt x="1795" y="1486"/>
                  </a:cubicBezTo>
                  <a:cubicBezTo>
                    <a:pt x="1818" y="1463"/>
                    <a:pt x="1811" y="1431"/>
                    <a:pt x="1795" y="1376"/>
                  </a:cubicBezTo>
                  <a:cubicBezTo>
                    <a:pt x="1779" y="1328"/>
                    <a:pt x="1803" y="1249"/>
                    <a:pt x="1818" y="1233"/>
                  </a:cubicBezTo>
                  <a:cubicBezTo>
                    <a:pt x="1826" y="1226"/>
                    <a:pt x="1826" y="1226"/>
                    <a:pt x="1834" y="1218"/>
                  </a:cubicBezTo>
                  <a:cubicBezTo>
                    <a:pt x="1850" y="1210"/>
                    <a:pt x="1858" y="1202"/>
                    <a:pt x="1850" y="1170"/>
                  </a:cubicBezTo>
                  <a:cubicBezTo>
                    <a:pt x="1850" y="1162"/>
                    <a:pt x="1842" y="1146"/>
                    <a:pt x="1842" y="1139"/>
                  </a:cubicBezTo>
                  <a:cubicBezTo>
                    <a:pt x="1834" y="1107"/>
                    <a:pt x="1826" y="1083"/>
                    <a:pt x="1842" y="1036"/>
                  </a:cubicBezTo>
                  <a:cubicBezTo>
                    <a:pt x="1850" y="1012"/>
                    <a:pt x="1866" y="996"/>
                    <a:pt x="1874" y="981"/>
                  </a:cubicBezTo>
                  <a:cubicBezTo>
                    <a:pt x="1889" y="957"/>
                    <a:pt x="1898" y="941"/>
                    <a:pt x="1889" y="917"/>
                  </a:cubicBezTo>
                  <a:lnTo>
                    <a:pt x="1882" y="909"/>
                  </a:lnTo>
                  <a:cubicBezTo>
                    <a:pt x="1874" y="894"/>
                    <a:pt x="1874" y="894"/>
                    <a:pt x="1889" y="886"/>
                  </a:cubicBezTo>
                  <a:cubicBezTo>
                    <a:pt x="1889" y="878"/>
                    <a:pt x="1889" y="878"/>
                    <a:pt x="1898" y="870"/>
                  </a:cubicBezTo>
                  <a:cubicBezTo>
                    <a:pt x="1929" y="838"/>
                    <a:pt x="1929" y="822"/>
                    <a:pt x="1929" y="806"/>
                  </a:cubicBezTo>
                  <a:lnTo>
                    <a:pt x="1929" y="806"/>
                  </a:lnTo>
                  <a:cubicBezTo>
                    <a:pt x="1937" y="799"/>
                    <a:pt x="1937" y="791"/>
                    <a:pt x="1945" y="783"/>
                  </a:cubicBezTo>
                  <a:cubicBezTo>
                    <a:pt x="1953" y="767"/>
                    <a:pt x="1961" y="759"/>
                    <a:pt x="1961" y="743"/>
                  </a:cubicBezTo>
                  <a:cubicBezTo>
                    <a:pt x="1953" y="728"/>
                    <a:pt x="1961" y="720"/>
                    <a:pt x="1961" y="712"/>
                  </a:cubicBezTo>
                  <a:cubicBezTo>
                    <a:pt x="1969" y="704"/>
                    <a:pt x="1969" y="696"/>
                    <a:pt x="1969" y="696"/>
                  </a:cubicBezTo>
                  <a:cubicBezTo>
                    <a:pt x="1969" y="688"/>
                    <a:pt x="1969" y="680"/>
                    <a:pt x="1969" y="672"/>
                  </a:cubicBezTo>
                  <a:lnTo>
                    <a:pt x="1961" y="672"/>
                  </a:lnTo>
                  <a:lnTo>
                    <a:pt x="1961" y="672"/>
                  </a:lnTo>
                  <a:lnTo>
                    <a:pt x="1953" y="680"/>
                  </a:lnTo>
                  <a:cubicBezTo>
                    <a:pt x="1937" y="688"/>
                    <a:pt x="1929" y="688"/>
                    <a:pt x="1921" y="704"/>
                  </a:cubicBezTo>
                  <a:cubicBezTo>
                    <a:pt x="1921" y="720"/>
                    <a:pt x="1913" y="728"/>
                    <a:pt x="1905" y="735"/>
                  </a:cubicBezTo>
                  <a:cubicBezTo>
                    <a:pt x="1905" y="751"/>
                    <a:pt x="1889" y="767"/>
                    <a:pt x="1882" y="783"/>
                  </a:cubicBezTo>
                  <a:cubicBezTo>
                    <a:pt x="1882" y="799"/>
                    <a:pt x="1874" y="815"/>
                    <a:pt x="1866" y="822"/>
                  </a:cubicBezTo>
                  <a:cubicBezTo>
                    <a:pt x="1858" y="838"/>
                    <a:pt x="1858" y="846"/>
                    <a:pt x="1858" y="854"/>
                  </a:cubicBezTo>
                  <a:cubicBezTo>
                    <a:pt x="1858" y="862"/>
                    <a:pt x="1858" y="862"/>
                    <a:pt x="1858" y="870"/>
                  </a:cubicBezTo>
                  <a:cubicBezTo>
                    <a:pt x="1858" y="878"/>
                    <a:pt x="1858" y="878"/>
                    <a:pt x="1850" y="886"/>
                  </a:cubicBezTo>
                  <a:cubicBezTo>
                    <a:pt x="1850" y="886"/>
                    <a:pt x="1850" y="886"/>
                    <a:pt x="1842" y="886"/>
                  </a:cubicBezTo>
                  <a:lnTo>
                    <a:pt x="1842" y="886"/>
                  </a:lnTo>
                  <a:lnTo>
                    <a:pt x="1834" y="886"/>
                  </a:lnTo>
                  <a:cubicBezTo>
                    <a:pt x="1826" y="886"/>
                    <a:pt x="1826" y="886"/>
                    <a:pt x="1818" y="886"/>
                  </a:cubicBezTo>
                  <a:cubicBezTo>
                    <a:pt x="1811" y="886"/>
                    <a:pt x="1803" y="886"/>
                    <a:pt x="1803" y="902"/>
                  </a:cubicBezTo>
                  <a:cubicBezTo>
                    <a:pt x="1787" y="925"/>
                    <a:pt x="1779" y="933"/>
                    <a:pt x="1779" y="957"/>
                  </a:cubicBezTo>
                  <a:cubicBezTo>
                    <a:pt x="1771" y="957"/>
                    <a:pt x="1771" y="957"/>
                    <a:pt x="1771" y="957"/>
                  </a:cubicBezTo>
                  <a:lnTo>
                    <a:pt x="1771" y="965"/>
                  </a:lnTo>
                  <a:cubicBezTo>
                    <a:pt x="1771" y="981"/>
                    <a:pt x="1763" y="988"/>
                    <a:pt x="1747" y="996"/>
                  </a:cubicBezTo>
                  <a:cubicBezTo>
                    <a:pt x="1731" y="996"/>
                    <a:pt x="1716" y="1004"/>
                    <a:pt x="1708" y="1020"/>
                  </a:cubicBezTo>
                  <a:cubicBezTo>
                    <a:pt x="1708" y="1028"/>
                    <a:pt x="1708" y="1028"/>
                    <a:pt x="1708" y="1036"/>
                  </a:cubicBezTo>
                  <a:cubicBezTo>
                    <a:pt x="1708" y="1044"/>
                    <a:pt x="1700" y="1052"/>
                    <a:pt x="1692" y="1052"/>
                  </a:cubicBezTo>
                  <a:cubicBezTo>
                    <a:pt x="1692" y="1052"/>
                    <a:pt x="1692" y="1052"/>
                    <a:pt x="1684" y="1044"/>
                  </a:cubicBezTo>
                  <a:lnTo>
                    <a:pt x="1684" y="1044"/>
                  </a:lnTo>
                  <a:cubicBezTo>
                    <a:pt x="1676" y="1044"/>
                    <a:pt x="1676" y="1044"/>
                    <a:pt x="1676" y="1052"/>
                  </a:cubicBezTo>
                  <a:cubicBezTo>
                    <a:pt x="1668" y="1052"/>
                    <a:pt x="1668" y="1052"/>
                    <a:pt x="1668" y="1052"/>
                  </a:cubicBezTo>
                  <a:cubicBezTo>
                    <a:pt x="1660" y="1052"/>
                    <a:pt x="1660" y="1052"/>
                    <a:pt x="1660" y="1052"/>
                  </a:cubicBezTo>
                  <a:cubicBezTo>
                    <a:pt x="1660" y="1044"/>
                    <a:pt x="1660" y="1044"/>
                    <a:pt x="1668" y="1004"/>
                  </a:cubicBezTo>
                  <a:cubicBezTo>
                    <a:pt x="1676" y="949"/>
                    <a:pt x="1692" y="933"/>
                    <a:pt x="1700" y="917"/>
                  </a:cubicBezTo>
                  <a:cubicBezTo>
                    <a:pt x="1708" y="909"/>
                    <a:pt x="1716" y="902"/>
                    <a:pt x="1716" y="894"/>
                  </a:cubicBezTo>
                  <a:cubicBezTo>
                    <a:pt x="1716" y="878"/>
                    <a:pt x="1731" y="878"/>
                    <a:pt x="1739" y="878"/>
                  </a:cubicBezTo>
                  <a:lnTo>
                    <a:pt x="1739" y="878"/>
                  </a:lnTo>
                  <a:cubicBezTo>
                    <a:pt x="1755" y="878"/>
                    <a:pt x="1763" y="878"/>
                    <a:pt x="1771" y="854"/>
                  </a:cubicBezTo>
                  <a:cubicBezTo>
                    <a:pt x="1771" y="830"/>
                    <a:pt x="1771" y="822"/>
                    <a:pt x="1779" y="806"/>
                  </a:cubicBezTo>
                  <a:cubicBezTo>
                    <a:pt x="1779" y="799"/>
                    <a:pt x="1779" y="791"/>
                    <a:pt x="1779" y="791"/>
                  </a:cubicBezTo>
                  <a:cubicBezTo>
                    <a:pt x="1779" y="783"/>
                    <a:pt x="1771" y="783"/>
                    <a:pt x="1771" y="783"/>
                  </a:cubicBezTo>
                  <a:lnTo>
                    <a:pt x="1771" y="783"/>
                  </a:lnTo>
                  <a:cubicBezTo>
                    <a:pt x="1739" y="767"/>
                    <a:pt x="1739" y="743"/>
                    <a:pt x="1739" y="712"/>
                  </a:cubicBezTo>
                  <a:cubicBezTo>
                    <a:pt x="1739" y="712"/>
                    <a:pt x="1739" y="712"/>
                    <a:pt x="1739" y="704"/>
                  </a:cubicBezTo>
                  <a:lnTo>
                    <a:pt x="1739" y="696"/>
                  </a:lnTo>
                  <a:cubicBezTo>
                    <a:pt x="1739" y="680"/>
                    <a:pt x="1731" y="680"/>
                    <a:pt x="1708" y="672"/>
                  </a:cubicBezTo>
                  <a:cubicBezTo>
                    <a:pt x="1700" y="672"/>
                    <a:pt x="1692" y="672"/>
                    <a:pt x="1684" y="672"/>
                  </a:cubicBezTo>
                  <a:cubicBezTo>
                    <a:pt x="1676" y="664"/>
                    <a:pt x="1668" y="664"/>
                    <a:pt x="1668" y="664"/>
                  </a:cubicBezTo>
                  <a:cubicBezTo>
                    <a:pt x="1660" y="656"/>
                    <a:pt x="1668" y="649"/>
                    <a:pt x="1668" y="641"/>
                  </a:cubicBezTo>
                  <a:lnTo>
                    <a:pt x="1668" y="641"/>
                  </a:lnTo>
                  <a:cubicBezTo>
                    <a:pt x="1676" y="633"/>
                    <a:pt x="1684" y="609"/>
                    <a:pt x="1684" y="569"/>
                  </a:cubicBezTo>
                  <a:cubicBezTo>
                    <a:pt x="1684" y="491"/>
                    <a:pt x="1637" y="482"/>
                    <a:pt x="1613" y="482"/>
                  </a:cubicBezTo>
                  <a:lnTo>
                    <a:pt x="1613" y="482"/>
                  </a:lnTo>
                  <a:cubicBezTo>
                    <a:pt x="1589" y="475"/>
                    <a:pt x="1589" y="459"/>
                    <a:pt x="1581" y="419"/>
                  </a:cubicBezTo>
                  <a:cubicBezTo>
                    <a:pt x="1581" y="411"/>
                    <a:pt x="1581" y="411"/>
                    <a:pt x="1581" y="411"/>
                  </a:cubicBezTo>
                  <a:cubicBezTo>
                    <a:pt x="1581" y="395"/>
                    <a:pt x="1558" y="388"/>
                    <a:pt x="1526" y="388"/>
                  </a:cubicBezTo>
                  <a:cubicBezTo>
                    <a:pt x="1510" y="388"/>
                    <a:pt x="1486" y="388"/>
                    <a:pt x="1478" y="380"/>
                  </a:cubicBezTo>
                  <a:cubicBezTo>
                    <a:pt x="1471" y="372"/>
                    <a:pt x="1463" y="364"/>
                    <a:pt x="1463" y="364"/>
                  </a:cubicBezTo>
                  <a:cubicBezTo>
                    <a:pt x="1455" y="364"/>
                    <a:pt x="1447" y="372"/>
                    <a:pt x="1431" y="372"/>
                  </a:cubicBezTo>
                  <a:cubicBezTo>
                    <a:pt x="1423" y="380"/>
                    <a:pt x="1407" y="388"/>
                    <a:pt x="1384" y="388"/>
                  </a:cubicBezTo>
                  <a:lnTo>
                    <a:pt x="1384" y="388"/>
                  </a:lnTo>
                  <a:cubicBezTo>
                    <a:pt x="1368" y="395"/>
                    <a:pt x="1360" y="395"/>
                    <a:pt x="1352" y="395"/>
                  </a:cubicBezTo>
                  <a:lnTo>
                    <a:pt x="1352" y="395"/>
                  </a:lnTo>
                  <a:cubicBezTo>
                    <a:pt x="1328" y="395"/>
                    <a:pt x="1320" y="388"/>
                    <a:pt x="1312" y="372"/>
                  </a:cubicBezTo>
                  <a:lnTo>
                    <a:pt x="1312" y="372"/>
                  </a:lnTo>
                  <a:cubicBezTo>
                    <a:pt x="1305" y="372"/>
                    <a:pt x="1305" y="364"/>
                    <a:pt x="1297" y="356"/>
                  </a:cubicBezTo>
                  <a:lnTo>
                    <a:pt x="1297" y="356"/>
                  </a:lnTo>
                  <a:cubicBezTo>
                    <a:pt x="1265" y="324"/>
                    <a:pt x="1067" y="309"/>
                    <a:pt x="996" y="309"/>
                  </a:cubicBezTo>
                  <a:cubicBezTo>
                    <a:pt x="925" y="309"/>
                    <a:pt x="909" y="285"/>
                    <a:pt x="894" y="269"/>
                  </a:cubicBezTo>
                  <a:lnTo>
                    <a:pt x="894" y="269"/>
                  </a:lnTo>
                  <a:cubicBezTo>
                    <a:pt x="894" y="261"/>
                    <a:pt x="886" y="253"/>
                    <a:pt x="886" y="253"/>
                  </a:cubicBezTo>
                  <a:cubicBezTo>
                    <a:pt x="870" y="229"/>
                    <a:pt x="854" y="206"/>
                    <a:pt x="830" y="190"/>
                  </a:cubicBezTo>
                  <a:lnTo>
                    <a:pt x="830" y="190"/>
                  </a:lnTo>
                  <a:cubicBezTo>
                    <a:pt x="822" y="190"/>
                    <a:pt x="814" y="182"/>
                    <a:pt x="814" y="174"/>
                  </a:cubicBezTo>
                  <a:lnTo>
                    <a:pt x="814" y="174"/>
                  </a:lnTo>
                  <a:lnTo>
                    <a:pt x="814" y="174"/>
                  </a:lnTo>
                  <a:cubicBezTo>
                    <a:pt x="806" y="174"/>
                    <a:pt x="806" y="174"/>
                    <a:pt x="806" y="166"/>
                  </a:cubicBezTo>
                  <a:lnTo>
                    <a:pt x="806" y="166"/>
                  </a:lnTo>
                  <a:cubicBezTo>
                    <a:pt x="806" y="166"/>
                    <a:pt x="806" y="166"/>
                    <a:pt x="799" y="166"/>
                  </a:cubicBezTo>
                  <a:cubicBezTo>
                    <a:pt x="783" y="166"/>
                    <a:pt x="783" y="166"/>
                    <a:pt x="783" y="166"/>
                  </a:cubicBezTo>
                  <a:cubicBezTo>
                    <a:pt x="759" y="166"/>
                    <a:pt x="743" y="166"/>
                    <a:pt x="728" y="151"/>
                  </a:cubicBezTo>
                  <a:cubicBezTo>
                    <a:pt x="719" y="143"/>
                    <a:pt x="719" y="135"/>
                    <a:pt x="719" y="135"/>
                  </a:cubicBezTo>
                  <a:cubicBezTo>
                    <a:pt x="719" y="127"/>
                    <a:pt x="719" y="127"/>
                    <a:pt x="719" y="127"/>
                  </a:cubicBezTo>
                  <a:lnTo>
                    <a:pt x="719" y="127"/>
                  </a:lnTo>
                  <a:cubicBezTo>
                    <a:pt x="712" y="127"/>
                    <a:pt x="704" y="135"/>
                    <a:pt x="696" y="135"/>
                  </a:cubicBezTo>
                  <a:cubicBezTo>
                    <a:pt x="672" y="143"/>
                    <a:pt x="656" y="151"/>
                    <a:pt x="648" y="158"/>
                  </a:cubicBezTo>
                  <a:lnTo>
                    <a:pt x="641" y="166"/>
                  </a:lnTo>
                  <a:cubicBezTo>
                    <a:pt x="632" y="166"/>
                    <a:pt x="632" y="158"/>
                    <a:pt x="632" y="158"/>
                  </a:cubicBezTo>
                  <a:cubicBezTo>
                    <a:pt x="625" y="143"/>
                    <a:pt x="632" y="127"/>
                    <a:pt x="641" y="111"/>
                  </a:cubicBezTo>
                  <a:cubicBezTo>
                    <a:pt x="641" y="103"/>
                    <a:pt x="648" y="95"/>
                    <a:pt x="648" y="87"/>
                  </a:cubicBezTo>
                  <a:cubicBezTo>
                    <a:pt x="648" y="79"/>
                    <a:pt x="648" y="71"/>
                    <a:pt x="648" y="64"/>
                  </a:cubicBezTo>
                  <a:cubicBezTo>
                    <a:pt x="648" y="56"/>
                    <a:pt x="648" y="40"/>
                    <a:pt x="656" y="32"/>
                  </a:cubicBezTo>
                  <a:lnTo>
                    <a:pt x="656" y="32"/>
                  </a:lnTo>
                  <a:cubicBezTo>
                    <a:pt x="664" y="24"/>
                    <a:pt x="680" y="8"/>
                    <a:pt x="672" y="0"/>
                  </a:cubicBezTo>
                  <a:cubicBezTo>
                    <a:pt x="672" y="0"/>
                    <a:pt x="672" y="0"/>
                    <a:pt x="664" y="0"/>
                  </a:cubicBezTo>
                  <a:cubicBezTo>
                    <a:pt x="656" y="0"/>
                    <a:pt x="656" y="0"/>
                    <a:pt x="656" y="0"/>
                  </a:cubicBezTo>
                </a:path>
              </a:pathLst>
            </a:custGeom>
            <a:grpFill/>
            <a:ln>
              <a:solidFill>
                <a:schemeClr val="bg1">
                  <a:lumMod val="95000"/>
                </a:schemeClr>
              </a:solidFill>
            </a:ln>
            <a:effectLst/>
          </p:spPr>
          <p:txBody>
            <a:bodyPr wrap="none" anchor="ctr"/>
            <a:lstStyle/>
            <a:p>
              <a:endParaRPr lang="en-US" sz="900"/>
            </a:p>
          </p:txBody>
        </p:sp>
        <p:sp>
          <p:nvSpPr>
            <p:cNvPr id="78" name="Freeform 671"/>
            <p:cNvSpPr>
              <a:spLocks noChangeArrowheads="1"/>
            </p:cNvSpPr>
            <p:nvPr/>
          </p:nvSpPr>
          <p:spPr bwMode="auto">
            <a:xfrm>
              <a:off x="13322334" y="4247967"/>
              <a:ext cx="491693" cy="278317"/>
            </a:xfrm>
            <a:custGeom>
              <a:avLst/>
              <a:gdLst>
                <a:gd name="T0" fmla="*/ 862 w 934"/>
                <a:gd name="T1" fmla="*/ 475 h 531"/>
                <a:gd name="T2" fmla="*/ 862 w 934"/>
                <a:gd name="T3" fmla="*/ 475 h 531"/>
                <a:gd name="T4" fmla="*/ 862 w 934"/>
                <a:gd name="T5" fmla="*/ 498 h 531"/>
                <a:gd name="T6" fmla="*/ 878 w 934"/>
                <a:gd name="T7" fmla="*/ 506 h 531"/>
                <a:gd name="T8" fmla="*/ 902 w 934"/>
                <a:gd name="T9" fmla="*/ 506 h 531"/>
                <a:gd name="T10" fmla="*/ 933 w 934"/>
                <a:gd name="T11" fmla="*/ 530 h 531"/>
                <a:gd name="T12" fmla="*/ 933 w 934"/>
                <a:gd name="T13" fmla="*/ 530 h 531"/>
                <a:gd name="T14" fmla="*/ 902 w 934"/>
                <a:gd name="T15" fmla="*/ 506 h 531"/>
                <a:gd name="T16" fmla="*/ 878 w 934"/>
                <a:gd name="T17" fmla="*/ 506 h 531"/>
                <a:gd name="T18" fmla="*/ 862 w 934"/>
                <a:gd name="T19" fmla="*/ 498 h 531"/>
                <a:gd name="T20" fmla="*/ 862 w 934"/>
                <a:gd name="T21" fmla="*/ 475 h 531"/>
                <a:gd name="T22" fmla="*/ 657 w 934"/>
                <a:gd name="T23" fmla="*/ 198 h 531"/>
                <a:gd name="T24" fmla="*/ 657 w 934"/>
                <a:gd name="T25" fmla="*/ 198 h 531"/>
                <a:gd name="T26" fmla="*/ 625 w 934"/>
                <a:gd name="T27" fmla="*/ 206 h 531"/>
                <a:gd name="T28" fmla="*/ 578 w 934"/>
                <a:gd name="T29" fmla="*/ 222 h 531"/>
                <a:gd name="T30" fmla="*/ 578 w 934"/>
                <a:gd name="T31" fmla="*/ 222 h 531"/>
                <a:gd name="T32" fmla="*/ 578 w 934"/>
                <a:gd name="T33" fmla="*/ 222 h 531"/>
                <a:gd name="T34" fmla="*/ 625 w 934"/>
                <a:gd name="T35" fmla="*/ 206 h 531"/>
                <a:gd name="T36" fmla="*/ 657 w 934"/>
                <a:gd name="T37" fmla="*/ 198 h 531"/>
                <a:gd name="T38" fmla="*/ 672 w 934"/>
                <a:gd name="T39" fmla="*/ 214 h 531"/>
                <a:gd name="T40" fmla="*/ 720 w 934"/>
                <a:gd name="T41" fmla="*/ 222 h 531"/>
                <a:gd name="T42" fmla="*/ 775 w 934"/>
                <a:gd name="T43" fmla="*/ 245 h 531"/>
                <a:gd name="T44" fmla="*/ 775 w 934"/>
                <a:gd name="T45" fmla="*/ 253 h 531"/>
                <a:gd name="T46" fmla="*/ 807 w 934"/>
                <a:gd name="T47" fmla="*/ 316 h 531"/>
                <a:gd name="T48" fmla="*/ 807 w 934"/>
                <a:gd name="T49" fmla="*/ 316 h 531"/>
                <a:gd name="T50" fmla="*/ 878 w 934"/>
                <a:gd name="T51" fmla="*/ 403 h 531"/>
                <a:gd name="T52" fmla="*/ 878 w 934"/>
                <a:gd name="T53" fmla="*/ 403 h 531"/>
                <a:gd name="T54" fmla="*/ 807 w 934"/>
                <a:gd name="T55" fmla="*/ 316 h 531"/>
                <a:gd name="T56" fmla="*/ 807 w 934"/>
                <a:gd name="T57" fmla="*/ 316 h 531"/>
                <a:gd name="T58" fmla="*/ 775 w 934"/>
                <a:gd name="T59" fmla="*/ 253 h 531"/>
                <a:gd name="T60" fmla="*/ 775 w 934"/>
                <a:gd name="T61" fmla="*/ 245 h 531"/>
                <a:gd name="T62" fmla="*/ 720 w 934"/>
                <a:gd name="T63" fmla="*/ 222 h 531"/>
                <a:gd name="T64" fmla="*/ 672 w 934"/>
                <a:gd name="T65" fmla="*/ 214 h 531"/>
                <a:gd name="T66" fmla="*/ 657 w 934"/>
                <a:gd name="T67" fmla="*/ 198 h 531"/>
                <a:gd name="T68" fmla="*/ 8 w 934"/>
                <a:gd name="T69" fmla="*/ 8 h 531"/>
                <a:gd name="T70" fmla="*/ 8 w 934"/>
                <a:gd name="T71" fmla="*/ 8 h 531"/>
                <a:gd name="T72" fmla="*/ 8 w 934"/>
                <a:gd name="T73" fmla="*/ 8 h 531"/>
                <a:gd name="T74" fmla="*/ 8 w 934"/>
                <a:gd name="T75" fmla="*/ 8 h 531"/>
                <a:gd name="T76" fmla="*/ 0 w 934"/>
                <a:gd name="T77" fmla="*/ 0 h 531"/>
                <a:gd name="T78" fmla="*/ 0 w 934"/>
                <a:gd name="T79" fmla="*/ 0 h 531"/>
                <a:gd name="T80" fmla="*/ 0 w 934"/>
                <a:gd name="T81" fmla="*/ 0 h 531"/>
                <a:gd name="T82" fmla="*/ 8 w 934"/>
                <a:gd name="T83" fmla="*/ 8 h 531"/>
                <a:gd name="T84" fmla="*/ 0 w 934"/>
                <a:gd name="T85" fmla="*/ 0 h 531"/>
                <a:gd name="T86" fmla="*/ 862 w 934"/>
                <a:gd name="T87" fmla="*/ 475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4" h="531">
                  <a:moveTo>
                    <a:pt x="862" y="475"/>
                  </a:moveTo>
                  <a:lnTo>
                    <a:pt x="862" y="475"/>
                  </a:lnTo>
                  <a:cubicBezTo>
                    <a:pt x="862" y="483"/>
                    <a:pt x="854" y="490"/>
                    <a:pt x="862" y="498"/>
                  </a:cubicBezTo>
                  <a:cubicBezTo>
                    <a:pt x="862" y="498"/>
                    <a:pt x="870" y="498"/>
                    <a:pt x="878" y="506"/>
                  </a:cubicBezTo>
                  <a:cubicBezTo>
                    <a:pt x="886" y="506"/>
                    <a:pt x="894" y="506"/>
                    <a:pt x="902" y="506"/>
                  </a:cubicBezTo>
                  <a:cubicBezTo>
                    <a:pt x="925" y="514"/>
                    <a:pt x="933" y="514"/>
                    <a:pt x="933" y="530"/>
                  </a:cubicBezTo>
                  <a:lnTo>
                    <a:pt x="933" y="530"/>
                  </a:lnTo>
                  <a:cubicBezTo>
                    <a:pt x="933" y="514"/>
                    <a:pt x="925" y="514"/>
                    <a:pt x="902" y="506"/>
                  </a:cubicBezTo>
                  <a:cubicBezTo>
                    <a:pt x="894" y="506"/>
                    <a:pt x="886" y="506"/>
                    <a:pt x="878" y="506"/>
                  </a:cubicBezTo>
                  <a:cubicBezTo>
                    <a:pt x="870" y="498"/>
                    <a:pt x="862" y="498"/>
                    <a:pt x="862" y="498"/>
                  </a:cubicBezTo>
                  <a:cubicBezTo>
                    <a:pt x="854" y="490"/>
                    <a:pt x="862" y="483"/>
                    <a:pt x="862" y="475"/>
                  </a:cubicBezTo>
                  <a:lnTo>
                    <a:pt x="657" y="198"/>
                  </a:lnTo>
                  <a:lnTo>
                    <a:pt x="657" y="198"/>
                  </a:lnTo>
                  <a:cubicBezTo>
                    <a:pt x="649" y="198"/>
                    <a:pt x="641" y="206"/>
                    <a:pt x="625" y="206"/>
                  </a:cubicBezTo>
                  <a:cubicBezTo>
                    <a:pt x="617" y="214"/>
                    <a:pt x="601" y="222"/>
                    <a:pt x="578" y="222"/>
                  </a:cubicBezTo>
                  <a:lnTo>
                    <a:pt x="578" y="222"/>
                  </a:lnTo>
                  <a:lnTo>
                    <a:pt x="578" y="222"/>
                  </a:lnTo>
                  <a:cubicBezTo>
                    <a:pt x="601" y="222"/>
                    <a:pt x="617" y="214"/>
                    <a:pt x="625" y="206"/>
                  </a:cubicBezTo>
                  <a:cubicBezTo>
                    <a:pt x="641" y="206"/>
                    <a:pt x="649" y="198"/>
                    <a:pt x="657" y="198"/>
                  </a:cubicBezTo>
                  <a:cubicBezTo>
                    <a:pt x="657" y="198"/>
                    <a:pt x="665" y="206"/>
                    <a:pt x="672" y="214"/>
                  </a:cubicBezTo>
                  <a:cubicBezTo>
                    <a:pt x="680" y="222"/>
                    <a:pt x="704" y="222"/>
                    <a:pt x="720" y="222"/>
                  </a:cubicBezTo>
                  <a:cubicBezTo>
                    <a:pt x="752" y="222"/>
                    <a:pt x="775" y="229"/>
                    <a:pt x="775" y="245"/>
                  </a:cubicBezTo>
                  <a:cubicBezTo>
                    <a:pt x="775" y="253"/>
                    <a:pt x="775" y="253"/>
                    <a:pt x="775" y="253"/>
                  </a:cubicBezTo>
                  <a:cubicBezTo>
                    <a:pt x="783" y="293"/>
                    <a:pt x="783" y="309"/>
                    <a:pt x="807" y="316"/>
                  </a:cubicBezTo>
                  <a:lnTo>
                    <a:pt x="807" y="316"/>
                  </a:lnTo>
                  <a:cubicBezTo>
                    <a:pt x="831" y="316"/>
                    <a:pt x="878" y="325"/>
                    <a:pt x="878" y="403"/>
                  </a:cubicBezTo>
                  <a:lnTo>
                    <a:pt x="878" y="403"/>
                  </a:lnTo>
                  <a:cubicBezTo>
                    <a:pt x="878" y="325"/>
                    <a:pt x="831" y="316"/>
                    <a:pt x="807" y="316"/>
                  </a:cubicBezTo>
                  <a:lnTo>
                    <a:pt x="807" y="316"/>
                  </a:lnTo>
                  <a:cubicBezTo>
                    <a:pt x="783" y="309"/>
                    <a:pt x="783" y="293"/>
                    <a:pt x="775" y="253"/>
                  </a:cubicBezTo>
                  <a:cubicBezTo>
                    <a:pt x="775" y="245"/>
                    <a:pt x="775" y="245"/>
                    <a:pt x="775" y="245"/>
                  </a:cubicBezTo>
                  <a:cubicBezTo>
                    <a:pt x="775" y="229"/>
                    <a:pt x="752" y="222"/>
                    <a:pt x="720" y="222"/>
                  </a:cubicBezTo>
                  <a:cubicBezTo>
                    <a:pt x="704" y="222"/>
                    <a:pt x="680" y="222"/>
                    <a:pt x="672" y="214"/>
                  </a:cubicBezTo>
                  <a:cubicBezTo>
                    <a:pt x="665" y="206"/>
                    <a:pt x="657" y="198"/>
                    <a:pt x="657" y="198"/>
                  </a:cubicBezTo>
                  <a:lnTo>
                    <a:pt x="8" y="8"/>
                  </a:lnTo>
                  <a:lnTo>
                    <a:pt x="8" y="8"/>
                  </a:lnTo>
                  <a:lnTo>
                    <a:pt x="8" y="8"/>
                  </a:lnTo>
                  <a:lnTo>
                    <a:pt x="8" y="8"/>
                  </a:lnTo>
                  <a:lnTo>
                    <a:pt x="0" y="0"/>
                  </a:lnTo>
                  <a:lnTo>
                    <a:pt x="0" y="0"/>
                  </a:lnTo>
                  <a:lnTo>
                    <a:pt x="0" y="0"/>
                  </a:lnTo>
                  <a:cubicBezTo>
                    <a:pt x="0" y="8"/>
                    <a:pt x="0" y="8"/>
                    <a:pt x="8" y="8"/>
                  </a:cubicBezTo>
                  <a:cubicBezTo>
                    <a:pt x="0" y="8"/>
                    <a:pt x="0" y="8"/>
                    <a:pt x="0" y="0"/>
                  </a:cubicBezTo>
                  <a:lnTo>
                    <a:pt x="862" y="475"/>
                  </a:lnTo>
                </a:path>
              </a:pathLst>
            </a:custGeom>
            <a:grpFill/>
            <a:ln>
              <a:solidFill>
                <a:schemeClr val="bg1">
                  <a:lumMod val="95000"/>
                </a:schemeClr>
              </a:solidFill>
            </a:ln>
            <a:effectLst/>
          </p:spPr>
          <p:txBody>
            <a:bodyPr wrap="none" anchor="ctr"/>
            <a:lstStyle/>
            <a:p>
              <a:endParaRPr lang="en-US" sz="900"/>
            </a:p>
          </p:txBody>
        </p:sp>
        <p:sp>
          <p:nvSpPr>
            <p:cNvPr id="79" name="Freeform 676"/>
            <p:cNvSpPr>
              <a:spLocks noChangeArrowheads="1"/>
            </p:cNvSpPr>
            <p:nvPr/>
          </p:nvSpPr>
          <p:spPr bwMode="auto">
            <a:xfrm>
              <a:off x="13326973" y="4252606"/>
              <a:ext cx="612297" cy="978747"/>
            </a:xfrm>
            <a:custGeom>
              <a:avLst/>
              <a:gdLst>
                <a:gd name="T0" fmla="*/ 1139 w 1164"/>
                <a:gd name="T1" fmla="*/ 490 h 1859"/>
                <a:gd name="T2" fmla="*/ 1091 w 1164"/>
                <a:gd name="T3" fmla="*/ 561 h 1859"/>
                <a:gd name="T4" fmla="*/ 1036 w 1164"/>
                <a:gd name="T5" fmla="*/ 680 h 1859"/>
                <a:gd name="T6" fmla="*/ 1028 w 1164"/>
                <a:gd name="T7" fmla="*/ 704 h 1859"/>
                <a:gd name="T8" fmla="*/ 1004 w 1164"/>
                <a:gd name="T9" fmla="*/ 704 h 1859"/>
                <a:gd name="T10" fmla="*/ 957 w 1164"/>
                <a:gd name="T11" fmla="*/ 783 h 1859"/>
                <a:gd name="T12" fmla="*/ 894 w 1164"/>
                <a:gd name="T13" fmla="*/ 846 h 1859"/>
                <a:gd name="T14" fmla="*/ 878 w 1164"/>
                <a:gd name="T15" fmla="*/ 870 h 1859"/>
                <a:gd name="T16" fmla="*/ 854 w 1164"/>
                <a:gd name="T17" fmla="*/ 870 h 1859"/>
                <a:gd name="T18" fmla="*/ 910 w 1164"/>
                <a:gd name="T19" fmla="*/ 720 h 1859"/>
                <a:gd name="T20" fmla="*/ 965 w 1164"/>
                <a:gd name="T21" fmla="*/ 680 h 1859"/>
                <a:gd name="T22" fmla="*/ 973 w 1164"/>
                <a:gd name="T23" fmla="*/ 617 h 1859"/>
                <a:gd name="T24" fmla="*/ 965 w 1164"/>
                <a:gd name="T25" fmla="*/ 617 h 1859"/>
                <a:gd name="T26" fmla="*/ 925 w 1164"/>
                <a:gd name="T27" fmla="*/ 704 h 1859"/>
                <a:gd name="T28" fmla="*/ 886 w 1164"/>
                <a:gd name="T29" fmla="*/ 743 h 1859"/>
                <a:gd name="T30" fmla="*/ 854 w 1164"/>
                <a:gd name="T31" fmla="*/ 878 h 1859"/>
                <a:gd name="T32" fmla="*/ 870 w 1164"/>
                <a:gd name="T33" fmla="*/ 870 h 1859"/>
                <a:gd name="T34" fmla="*/ 894 w 1164"/>
                <a:gd name="T35" fmla="*/ 846 h 1859"/>
                <a:gd name="T36" fmla="*/ 957 w 1164"/>
                <a:gd name="T37" fmla="*/ 783 h 1859"/>
                <a:gd name="T38" fmla="*/ 1004 w 1164"/>
                <a:gd name="T39" fmla="*/ 712 h 1859"/>
                <a:gd name="T40" fmla="*/ 1028 w 1164"/>
                <a:gd name="T41" fmla="*/ 712 h 1859"/>
                <a:gd name="T42" fmla="*/ 1044 w 1164"/>
                <a:gd name="T43" fmla="*/ 680 h 1859"/>
                <a:gd name="T44" fmla="*/ 1091 w 1164"/>
                <a:gd name="T45" fmla="*/ 561 h 1859"/>
                <a:gd name="T46" fmla="*/ 1147 w 1164"/>
                <a:gd name="T47" fmla="*/ 498 h 1859"/>
                <a:gd name="T48" fmla="*/ 1155 w 1164"/>
                <a:gd name="T49" fmla="*/ 522 h 1859"/>
                <a:gd name="T50" fmla="*/ 1131 w 1164"/>
                <a:gd name="T51" fmla="*/ 609 h 1859"/>
                <a:gd name="T52" fmla="*/ 1084 w 1164"/>
                <a:gd name="T53" fmla="*/ 696 h 1859"/>
                <a:gd name="T54" fmla="*/ 1075 w 1164"/>
                <a:gd name="T55" fmla="*/ 743 h 1859"/>
                <a:gd name="T56" fmla="*/ 1028 w 1164"/>
                <a:gd name="T57" fmla="*/ 965 h 1859"/>
                <a:gd name="T58" fmla="*/ 1004 w 1164"/>
                <a:gd name="T59" fmla="*/ 1059 h 1859"/>
                <a:gd name="T60" fmla="*/ 965 w 1164"/>
                <a:gd name="T61" fmla="*/ 1376 h 1859"/>
                <a:gd name="T62" fmla="*/ 989 w 1164"/>
                <a:gd name="T63" fmla="*/ 1629 h 1859"/>
                <a:gd name="T64" fmla="*/ 1028 w 1164"/>
                <a:gd name="T65" fmla="*/ 1826 h 1859"/>
                <a:gd name="T66" fmla="*/ 981 w 1164"/>
                <a:gd name="T67" fmla="*/ 1581 h 1859"/>
                <a:gd name="T68" fmla="*/ 981 w 1164"/>
                <a:gd name="T69" fmla="*/ 1312 h 1859"/>
                <a:gd name="T70" fmla="*/ 1020 w 1164"/>
                <a:gd name="T71" fmla="*/ 1052 h 1859"/>
                <a:gd name="T72" fmla="*/ 1036 w 1164"/>
                <a:gd name="T73" fmla="*/ 862 h 1859"/>
                <a:gd name="T74" fmla="*/ 1075 w 1164"/>
                <a:gd name="T75" fmla="*/ 728 h 1859"/>
                <a:gd name="T76" fmla="*/ 1123 w 1164"/>
                <a:gd name="T77" fmla="*/ 632 h 1859"/>
                <a:gd name="T78" fmla="*/ 1147 w 1164"/>
                <a:gd name="T79" fmla="*/ 569 h 1859"/>
                <a:gd name="T80" fmla="*/ 1155 w 1164"/>
                <a:gd name="T81" fmla="*/ 498 h 1859"/>
                <a:gd name="T82" fmla="*/ 570 w 1164"/>
                <a:gd name="T83" fmla="*/ 214 h 1859"/>
                <a:gd name="T84" fmla="*/ 483 w 1164"/>
                <a:gd name="T85" fmla="*/ 182 h 1859"/>
                <a:gd name="T86" fmla="*/ 483 w 1164"/>
                <a:gd name="T87" fmla="*/ 182 h 1859"/>
                <a:gd name="T88" fmla="*/ 16 w 1164"/>
                <a:gd name="T89" fmla="*/ 16 h 1859"/>
                <a:gd name="T90" fmla="*/ 0 w 1164"/>
                <a:gd name="T91" fmla="*/ 0 h 1859"/>
                <a:gd name="T92" fmla="*/ 1147 w 1164"/>
                <a:gd name="T93" fmla="*/ 49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4" h="1859">
                  <a:moveTo>
                    <a:pt x="1147" y="490"/>
                  </a:moveTo>
                  <a:lnTo>
                    <a:pt x="1147" y="490"/>
                  </a:lnTo>
                  <a:cubicBezTo>
                    <a:pt x="1147" y="490"/>
                    <a:pt x="1147" y="490"/>
                    <a:pt x="1139" y="490"/>
                  </a:cubicBezTo>
                  <a:cubicBezTo>
                    <a:pt x="1139" y="498"/>
                    <a:pt x="1139" y="498"/>
                    <a:pt x="1131" y="498"/>
                  </a:cubicBezTo>
                  <a:cubicBezTo>
                    <a:pt x="1123" y="506"/>
                    <a:pt x="1107" y="514"/>
                    <a:pt x="1107" y="530"/>
                  </a:cubicBezTo>
                  <a:cubicBezTo>
                    <a:pt x="1099" y="538"/>
                    <a:pt x="1099" y="546"/>
                    <a:pt x="1091" y="561"/>
                  </a:cubicBezTo>
                  <a:cubicBezTo>
                    <a:pt x="1084" y="569"/>
                    <a:pt x="1075" y="585"/>
                    <a:pt x="1068" y="609"/>
                  </a:cubicBezTo>
                  <a:cubicBezTo>
                    <a:pt x="1060" y="625"/>
                    <a:pt x="1052" y="632"/>
                    <a:pt x="1044" y="648"/>
                  </a:cubicBezTo>
                  <a:cubicBezTo>
                    <a:pt x="1036" y="656"/>
                    <a:pt x="1036" y="664"/>
                    <a:pt x="1036" y="680"/>
                  </a:cubicBezTo>
                  <a:cubicBezTo>
                    <a:pt x="1036" y="688"/>
                    <a:pt x="1036" y="688"/>
                    <a:pt x="1036" y="696"/>
                  </a:cubicBezTo>
                  <a:cubicBezTo>
                    <a:pt x="1036" y="704"/>
                    <a:pt x="1036" y="704"/>
                    <a:pt x="1036" y="704"/>
                  </a:cubicBezTo>
                  <a:lnTo>
                    <a:pt x="1028" y="704"/>
                  </a:lnTo>
                  <a:lnTo>
                    <a:pt x="1028" y="704"/>
                  </a:lnTo>
                  <a:lnTo>
                    <a:pt x="1020" y="704"/>
                  </a:lnTo>
                  <a:cubicBezTo>
                    <a:pt x="1020" y="704"/>
                    <a:pt x="1012" y="704"/>
                    <a:pt x="1004" y="704"/>
                  </a:cubicBezTo>
                  <a:cubicBezTo>
                    <a:pt x="997" y="704"/>
                    <a:pt x="989" y="712"/>
                    <a:pt x="981" y="720"/>
                  </a:cubicBezTo>
                  <a:cubicBezTo>
                    <a:pt x="965" y="743"/>
                    <a:pt x="965" y="751"/>
                    <a:pt x="957" y="775"/>
                  </a:cubicBezTo>
                  <a:cubicBezTo>
                    <a:pt x="957" y="783"/>
                    <a:pt x="957" y="783"/>
                    <a:pt x="957" y="783"/>
                  </a:cubicBezTo>
                  <a:cubicBezTo>
                    <a:pt x="949" y="783"/>
                    <a:pt x="949" y="791"/>
                    <a:pt x="949" y="791"/>
                  </a:cubicBezTo>
                  <a:cubicBezTo>
                    <a:pt x="949" y="807"/>
                    <a:pt x="949" y="807"/>
                    <a:pt x="933" y="814"/>
                  </a:cubicBezTo>
                  <a:cubicBezTo>
                    <a:pt x="917" y="814"/>
                    <a:pt x="894" y="822"/>
                    <a:pt x="894" y="846"/>
                  </a:cubicBezTo>
                  <a:cubicBezTo>
                    <a:pt x="886" y="854"/>
                    <a:pt x="886" y="854"/>
                    <a:pt x="886" y="854"/>
                  </a:cubicBezTo>
                  <a:cubicBezTo>
                    <a:pt x="886" y="862"/>
                    <a:pt x="886" y="870"/>
                    <a:pt x="878" y="870"/>
                  </a:cubicBezTo>
                  <a:lnTo>
                    <a:pt x="878" y="870"/>
                  </a:lnTo>
                  <a:cubicBezTo>
                    <a:pt x="870" y="862"/>
                    <a:pt x="870" y="862"/>
                    <a:pt x="870" y="862"/>
                  </a:cubicBezTo>
                  <a:cubicBezTo>
                    <a:pt x="862" y="862"/>
                    <a:pt x="862" y="870"/>
                    <a:pt x="854" y="870"/>
                  </a:cubicBezTo>
                  <a:lnTo>
                    <a:pt x="854" y="870"/>
                  </a:lnTo>
                  <a:cubicBezTo>
                    <a:pt x="854" y="870"/>
                    <a:pt x="854" y="854"/>
                    <a:pt x="862" y="830"/>
                  </a:cubicBezTo>
                  <a:cubicBezTo>
                    <a:pt x="870" y="775"/>
                    <a:pt x="886" y="759"/>
                    <a:pt x="894" y="743"/>
                  </a:cubicBezTo>
                  <a:cubicBezTo>
                    <a:pt x="902" y="735"/>
                    <a:pt x="910" y="735"/>
                    <a:pt x="910" y="720"/>
                  </a:cubicBezTo>
                  <a:cubicBezTo>
                    <a:pt x="910" y="712"/>
                    <a:pt x="910" y="712"/>
                    <a:pt x="925" y="712"/>
                  </a:cubicBezTo>
                  <a:lnTo>
                    <a:pt x="925" y="712"/>
                  </a:lnTo>
                  <a:cubicBezTo>
                    <a:pt x="941" y="712"/>
                    <a:pt x="957" y="712"/>
                    <a:pt x="965" y="680"/>
                  </a:cubicBezTo>
                  <a:cubicBezTo>
                    <a:pt x="965" y="664"/>
                    <a:pt x="965" y="648"/>
                    <a:pt x="965" y="632"/>
                  </a:cubicBezTo>
                  <a:cubicBezTo>
                    <a:pt x="973" y="625"/>
                    <a:pt x="973" y="617"/>
                    <a:pt x="973" y="609"/>
                  </a:cubicBezTo>
                  <a:cubicBezTo>
                    <a:pt x="973" y="617"/>
                    <a:pt x="973" y="617"/>
                    <a:pt x="973" y="617"/>
                  </a:cubicBezTo>
                  <a:cubicBezTo>
                    <a:pt x="965" y="617"/>
                    <a:pt x="965" y="617"/>
                    <a:pt x="965" y="617"/>
                  </a:cubicBezTo>
                  <a:lnTo>
                    <a:pt x="957" y="609"/>
                  </a:lnTo>
                  <a:cubicBezTo>
                    <a:pt x="957" y="609"/>
                    <a:pt x="965" y="609"/>
                    <a:pt x="965" y="617"/>
                  </a:cubicBezTo>
                  <a:cubicBezTo>
                    <a:pt x="965" y="617"/>
                    <a:pt x="965" y="625"/>
                    <a:pt x="965" y="632"/>
                  </a:cubicBezTo>
                  <a:cubicBezTo>
                    <a:pt x="957" y="648"/>
                    <a:pt x="957" y="656"/>
                    <a:pt x="957" y="680"/>
                  </a:cubicBezTo>
                  <a:cubicBezTo>
                    <a:pt x="949" y="704"/>
                    <a:pt x="941" y="704"/>
                    <a:pt x="925" y="704"/>
                  </a:cubicBezTo>
                  <a:lnTo>
                    <a:pt x="925" y="704"/>
                  </a:lnTo>
                  <a:cubicBezTo>
                    <a:pt x="917" y="704"/>
                    <a:pt x="902" y="704"/>
                    <a:pt x="902" y="720"/>
                  </a:cubicBezTo>
                  <a:cubicBezTo>
                    <a:pt x="902" y="728"/>
                    <a:pt x="894" y="735"/>
                    <a:pt x="886" y="743"/>
                  </a:cubicBezTo>
                  <a:cubicBezTo>
                    <a:pt x="878" y="759"/>
                    <a:pt x="862" y="775"/>
                    <a:pt x="854" y="830"/>
                  </a:cubicBezTo>
                  <a:cubicBezTo>
                    <a:pt x="846" y="870"/>
                    <a:pt x="846" y="870"/>
                    <a:pt x="846" y="878"/>
                  </a:cubicBezTo>
                  <a:cubicBezTo>
                    <a:pt x="846" y="878"/>
                    <a:pt x="846" y="878"/>
                    <a:pt x="854" y="878"/>
                  </a:cubicBezTo>
                  <a:cubicBezTo>
                    <a:pt x="854" y="878"/>
                    <a:pt x="854" y="878"/>
                    <a:pt x="862" y="878"/>
                  </a:cubicBezTo>
                  <a:cubicBezTo>
                    <a:pt x="862" y="870"/>
                    <a:pt x="862" y="870"/>
                    <a:pt x="870" y="870"/>
                  </a:cubicBezTo>
                  <a:lnTo>
                    <a:pt x="870" y="870"/>
                  </a:lnTo>
                  <a:cubicBezTo>
                    <a:pt x="878" y="878"/>
                    <a:pt x="878" y="878"/>
                    <a:pt x="878" y="878"/>
                  </a:cubicBezTo>
                  <a:cubicBezTo>
                    <a:pt x="886" y="878"/>
                    <a:pt x="894" y="870"/>
                    <a:pt x="894" y="862"/>
                  </a:cubicBezTo>
                  <a:cubicBezTo>
                    <a:pt x="894" y="854"/>
                    <a:pt x="894" y="854"/>
                    <a:pt x="894" y="846"/>
                  </a:cubicBezTo>
                  <a:cubicBezTo>
                    <a:pt x="902" y="830"/>
                    <a:pt x="917" y="822"/>
                    <a:pt x="933" y="822"/>
                  </a:cubicBezTo>
                  <a:cubicBezTo>
                    <a:pt x="949" y="814"/>
                    <a:pt x="957" y="807"/>
                    <a:pt x="957" y="791"/>
                  </a:cubicBezTo>
                  <a:lnTo>
                    <a:pt x="957" y="783"/>
                  </a:lnTo>
                  <a:cubicBezTo>
                    <a:pt x="965" y="783"/>
                    <a:pt x="965" y="783"/>
                    <a:pt x="965" y="783"/>
                  </a:cubicBezTo>
                  <a:cubicBezTo>
                    <a:pt x="965" y="759"/>
                    <a:pt x="973" y="751"/>
                    <a:pt x="989" y="728"/>
                  </a:cubicBezTo>
                  <a:cubicBezTo>
                    <a:pt x="989" y="712"/>
                    <a:pt x="997" y="712"/>
                    <a:pt x="1004" y="712"/>
                  </a:cubicBezTo>
                  <a:cubicBezTo>
                    <a:pt x="1012" y="712"/>
                    <a:pt x="1012" y="712"/>
                    <a:pt x="1020" y="712"/>
                  </a:cubicBezTo>
                  <a:lnTo>
                    <a:pt x="1028" y="712"/>
                  </a:lnTo>
                  <a:lnTo>
                    <a:pt x="1028" y="712"/>
                  </a:lnTo>
                  <a:cubicBezTo>
                    <a:pt x="1036" y="712"/>
                    <a:pt x="1036" y="712"/>
                    <a:pt x="1036" y="712"/>
                  </a:cubicBezTo>
                  <a:cubicBezTo>
                    <a:pt x="1044" y="704"/>
                    <a:pt x="1044" y="704"/>
                    <a:pt x="1044" y="696"/>
                  </a:cubicBezTo>
                  <a:cubicBezTo>
                    <a:pt x="1044" y="688"/>
                    <a:pt x="1044" y="688"/>
                    <a:pt x="1044" y="680"/>
                  </a:cubicBezTo>
                  <a:cubicBezTo>
                    <a:pt x="1044" y="672"/>
                    <a:pt x="1044" y="664"/>
                    <a:pt x="1052" y="648"/>
                  </a:cubicBezTo>
                  <a:cubicBezTo>
                    <a:pt x="1060" y="641"/>
                    <a:pt x="1068" y="625"/>
                    <a:pt x="1068" y="609"/>
                  </a:cubicBezTo>
                  <a:cubicBezTo>
                    <a:pt x="1075" y="593"/>
                    <a:pt x="1091" y="577"/>
                    <a:pt x="1091" y="561"/>
                  </a:cubicBezTo>
                  <a:cubicBezTo>
                    <a:pt x="1099" y="554"/>
                    <a:pt x="1107" y="546"/>
                    <a:pt x="1107" y="530"/>
                  </a:cubicBezTo>
                  <a:cubicBezTo>
                    <a:pt x="1115" y="514"/>
                    <a:pt x="1123" y="514"/>
                    <a:pt x="1139" y="506"/>
                  </a:cubicBezTo>
                  <a:lnTo>
                    <a:pt x="1147" y="498"/>
                  </a:lnTo>
                  <a:lnTo>
                    <a:pt x="1147" y="498"/>
                  </a:lnTo>
                  <a:lnTo>
                    <a:pt x="1155" y="498"/>
                  </a:lnTo>
                  <a:cubicBezTo>
                    <a:pt x="1155" y="506"/>
                    <a:pt x="1155" y="514"/>
                    <a:pt x="1155" y="522"/>
                  </a:cubicBezTo>
                  <a:cubicBezTo>
                    <a:pt x="1155" y="522"/>
                    <a:pt x="1155" y="530"/>
                    <a:pt x="1147" y="538"/>
                  </a:cubicBezTo>
                  <a:cubicBezTo>
                    <a:pt x="1147" y="546"/>
                    <a:pt x="1139" y="554"/>
                    <a:pt x="1147" y="569"/>
                  </a:cubicBezTo>
                  <a:cubicBezTo>
                    <a:pt x="1147" y="585"/>
                    <a:pt x="1139" y="593"/>
                    <a:pt x="1131" y="609"/>
                  </a:cubicBezTo>
                  <a:cubicBezTo>
                    <a:pt x="1123" y="617"/>
                    <a:pt x="1123" y="625"/>
                    <a:pt x="1115" y="632"/>
                  </a:cubicBezTo>
                  <a:lnTo>
                    <a:pt x="1115" y="632"/>
                  </a:lnTo>
                  <a:cubicBezTo>
                    <a:pt x="1115" y="648"/>
                    <a:pt x="1115" y="664"/>
                    <a:pt x="1084" y="696"/>
                  </a:cubicBezTo>
                  <a:cubicBezTo>
                    <a:pt x="1075" y="704"/>
                    <a:pt x="1075" y="704"/>
                    <a:pt x="1075" y="712"/>
                  </a:cubicBezTo>
                  <a:cubicBezTo>
                    <a:pt x="1060" y="720"/>
                    <a:pt x="1060" y="720"/>
                    <a:pt x="1068" y="735"/>
                  </a:cubicBezTo>
                  <a:lnTo>
                    <a:pt x="1075" y="743"/>
                  </a:lnTo>
                  <a:cubicBezTo>
                    <a:pt x="1084" y="767"/>
                    <a:pt x="1075" y="783"/>
                    <a:pt x="1060" y="807"/>
                  </a:cubicBezTo>
                  <a:cubicBezTo>
                    <a:pt x="1052" y="822"/>
                    <a:pt x="1036" y="838"/>
                    <a:pt x="1028" y="862"/>
                  </a:cubicBezTo>
                  <a:cubicBezTo>
                    <a:pt x="1012" y="909"/>
                    <a:pt x="1020" y="933"/>
                    <a:pt x="1028" y="965"/>
                  </a:cubicBezTo>
                  <a:cubicBezTo>
                    <a:pt x="1028" y="972"/>
                    <a:pt x="1036" y="988"/>
                    <a:pt x="1036" y="996"/>
                  </a:cubicBezTo>
                  <a:cubicBezTo>
                    <a:pt x="1044" y="1028"/>
                    <a:pt x="1036" y="1036"/>
                    <a:pt x="1020" y="1044"/>
                  </a:cubicBezTo>
                  <a:cubicBezTo>
                    <a:pt x="1012" y="1052"/>
                    <a:pt x="1012" y="1052"/>
                    <a:pt x="1004" y="1059"/>
                  </a:cubicBezTo>
                  <a:cubicBezTo>
                    <a:pt x="989" y="1075"/>
                    <a:pt x="965" y="1154"/>
                    <a:pt x="981" y="1202"/>
                  </a:cubicBezTo>
                  <a:cubicBezTo>
                    <a:pt x="997" y="1257"/>
                    <a:pt x="1004" y="1289"/>
                    <a:pt x="981" y="1312"/>
                  </a:cubicBezTo>
                  <a:cubicBezTo>
                    <a:pt x="957" y="1328"/>
                    <a:pt x="965" y="1344"/>
                    <a:pt x="965" y="1376"/>
                  </a:cubicBezTo>
                  <a:cubicBezTo>
                    <a:pt x="965" y="1399"/>
                    <a:pt x="965" y="1431"/>
                    <a:pt x="957" y="1463"/>
                  </a:cubicBezTo>
                  <a:cubicBezTo>
                    <a:pt x="941" y="1518"/>
                    <a:pt x="949" y="1534"/>
                    <a:pt x="973" y="1589"/>
                  </a:cubicBezTo>
                  <a:cubicBezTo>
                    <a:pt x="981" y="1597"/>
                    <a:pt x="981" y="1613"/>
                    <a:pt x="989" y="1629"/>
                  </a:cubicBezTo>
                  <a:cubicBezTo>
                    <a:pt x="1012" y="1676"/>
                    <a:pt x="1020" y="1739"/>
                    <a:pt x="1020" y="1826"/>
                  </a:cubicBezTo>
                  <a:cubicBezTo>
                    <a:pt x="965" y="1834"/>
                    <a:pt x="846" y="1850"/>
                    <a:pt x="720" y="1858"/>
                  </a:cubicBezTo>
                  <a:cubicBezTo>
                    <a:pt x="854" y="1850"/>
                    <a:pt x="965" y="1834"/>
                    <a:pt x="1028" y="1826"/>
                  </a:cubicBezTo>
                  <a:lnTo>
                    <a:pt x="1028" y="1826"/>
                  </a:lnTo>
                  <a:cubicBezTo>
                    <a:pt x="1028" y="1739"/>
                    <a:pt x="1012" y="1676"/>
                    <a:pt x="997" y="1629"/>
                  </a:cubicBezTo>
                  <a:cubicBezTo>
                    <a:pt x="989" y="1613"/>
                    <a:pt x="981" y="1597"/>
                    <a:pt x="981" y="1581"/>
                  </a:cubicBezTo>
                  <a:cubicBezTo>
                    <a:pt x="957" y="1534"/>
                    <a:pt x="949" y="1518"/>
                    <a:pt x="965" y="1463"/>
                  </a:cubicBezTo>
                  <a:cubicBezTo>
                    <a:pt x="973" y="1431"/>
                    <a:pt x="973" y="1399"/>
                    <a:pt x="973" y="1376"/>
                  </a:cubicBezTo>
                  <a:cubicBezTo>
                    <a:pt x="973" y="1352"/>
                    <a:pt x="965" y="1328"/>
                    <a:pt x="981" y="1312"/>
                  </a:cubicBezTo>
                  <a:cubicBezTo>
                    <a:pt x="1012" y="1289"/>
                    <a:pt x="1004" y="1257"/>
                    <a:pt x="989" y="1202"/>
                  </a:cubicBezTo>
                  <a:cubicBezTo>
                    <a:pt x="973" y="1154"/>
                    <a:pt x="997" y="1083"/>
                    <a:pt x="1012" y="1059"/>
                  </a:cubicBezTo>
                  <a:cubicBezTo>
                    <a:pt x="1020" y="1059"/>
                    <a:pt x="1020" y="1052"/>
                    <a:pt x="1020" y="1052"/>
                  </a:cubicBezTo>
                  <a:cubicBezTo>
                    <a:pt x="1036" y="1036"/>
                    <a:pt x="1052" y="1028"/>
                    <a:pt x="1044" y="996"/>
                  </a:cubicBezTo>
                  <a:cubicBezTo>
                    <a:pt x="1044" y="981"/>
                    <a:pt x="1036" y="972"/>
                    <a:pt x="1036" y="965"/>
                  </a:cubicBezTo>
                  <a:cubicBezTo>
                    <a:pt x="1028" y="933"/>
                    <a:pt x="1020" y="909"/>
                    <a:pt x="1036" y="862"/>
                  </a:cubicBezTo>
                  <a:cubicBezTo>
                    <a:pt x="1044" y="846"/>
                    <a:pt x="1052" y="830"/>
                    <a:pt x="1068" y="814"/>
                  </a:cubicBezTo>
                  <a:cubicBezTo>
                    <a:pt x="1084" y="783"/>
                    <a:pt x="1091" y="767"/>
                    <a:pt x="1084" y="743"/>
                  </a:cubicBezTo>
                  <a:cubicBezTo>
                    <a:pt x="1075" y="735"/>
                    <a:pt x="1075" y="728"/>
                    <a:pt x="1075" y="728"/>
                  </a:cubicBezTo>
                  <a:cubicBezTo>
                    <a:pt x="1068" y="720"/>
                    <a:pt x="1068" y="720"/>
                    <a:pt x="1075" y="712"/>
                  </a:cubicBezTo>
                  <a:cubicBezTo>
                    <a:pt x="1084" y="712"/>
                    <a:pt x="1084" y="704"/>
                    <a:pt x="1091" y="696"/>
                  </a:cubicBezTo>
                  <a:cubicBezTo>
                    <a:pt x="1115" y="664"/>
                    <a:pt x="1123" y="648"/>
                    <a:pt x="1123" y="632"/>
                  </a:cubicBezTo>
                  <a:lnTo>
                    <a:pt x="1123" y="632"/>
                  </a:lnTo>
                  <a:cubicBezTo>
                    <a:pt x="1123" y="625"/>
                    <a:pt x="1131" y="617"/>
                    <a:pt x="1139" y="609"/>
                  </a:cubicBezTo>
                  <a:cubicBezTo>
                    <a:pt x="1147" y="601"/>
                    <a:pt x="1155" y="585"/>
                    <a:pt x="1147" y="569"/>
                  </a:cubicBezTo>
                  <a:cubicBezTo>
                    <a:pt x="1147" y="561"/>
                    <a:pt x="1155" y="546"/>
                    <a:pt x="1155" y="538"/>
                  </a:cubicBezTo>
                  <a:cubicBezTo>
                    <a:pt x="1163" y="530"/>
                    <a:pt x="1163" y="530"/>
                    <a:pt x="1163" y="522"/>
                  </a:cubicBezTo>
                  <a:cubicBezTo>
                    <a:pt x="1163" y="514"/>
                    <a:pt x="1163" y="498"/>
                    <a:pt x="1155" y="498"/>
                  </a:cubicBezTo>
                  <a:cubicBezTo>
                    <a:pt x="1155" y="490"/>
                    <a:pt x="1155" y="490"/>
                    <a:pt x="1147" y="490"/>
                  </a:cubicBezTo>
                  <a:lnTo>
                    <a:pt x="570" y="214"/>
                  </a:lnTo>
                  <a:lnTo>
                    <a:pt x="570" y="214"/>
                  </a:lnTo>
                  <a:cubicBezTo>
                    <a:pt x="554" y="221"/>
                    <a:pt x="546" y="221"/>
                    <a:pt x="538" y="221"/>
                  </a:cubicBezTo>
                  <a:cubicBezTo>
                    <a:pt x="546" y="221"/>
                    <a:pt x="554" y="221"/>
                    <a:pt x="570" y="214"/>
                  </a:cubicBezTo>
                  <a:lnTo>
                    <a:pt x="483" y="182"/>
                  </a:lnTo>
                  <a:lnTo>
                    <a:pt x="483" y="182"/>
                  </a:lnTo>
                  <a:cubicBezTo>
                    <a:pt x="491" y="190"/>
                    <a:pt x="491" y="198"/>
                    <a:pt x="498" y="198"/>
                  </a:cubicBezTo>
                  <a:cubicBezTo>
                    <a:pt x="491" y="198"/>
                    <a:pt x="491" y="190"/>
                    <a:pt x="483" y="182"/>
                  </a:cubicBezTo>
                  <a:lnTo>
                    <a:pt x="0" y="0"/>
                  </a:lnTo>
                  <a:lnTo>
                    <a:pt x="0" y="0"/>
                  </a:lnTo>
                  <a:cubicBezTo>
                    <a:pt x="0" y="8"/>
                    <a:pt x="8" y="16"/>
                    <a:pt x="16" y="16"/>
                  </a:cubicBezTo>
                  <a:cubicBezTo>
                    <a:pt x="8" y="16"/>
                    <a:pt x="0" y="8"/>
                    <a:pt x="0" y="0"/>
                  </a:cubicBezTo>
                  <a:lnTo>
                    <a:pt x="0" y="0"/>
                  </a:lnTo>
                  <a:lnTo>
                    <a:pt x="0" y="0"/>
                  </a:lnTo>
                  <a:lnTo>
                    <a:pt x="0" y="0"/>
                  </a:lnTo>
                  <a:lnTo>
                    <a:pt x="0" y="0"/>
                  </a:lnTo>
                  <a:lnTo>
                    <a:pt x="1147" y="490"/>
                  </a:lnTo>
                </a:path>
              </a:pathLst>
            </a:custGeom>
            <a:grpFill/>
            <a:ln>
              <a:solidFill>
                <a:schemeClr val="bg1">
                  <a:lumMod val="95000"/>
                </a:schemeClr>
              </a:solidFill>
            </a:ln>
            <a:effectLst/>
          </p:spPr>
          <p:txBody>
            <a:bodyPr wrap="none" anchor="ctr"/>
            <a:lstStyle/>
            <a:p>
              <a:endParaRPr lang="en-US" sz="900"/>
            </a:p>
          </p:txBody>
        </p:sp>
        <p:sp>
          <p:nvSpPr>
            <p:cNvPr id="80" name="Freeform 677"/>
            <p:cNvSpPr>
              <a:spLocks noChangeArrowheads="1"/>
            </p:cNvSpPr>
            <p:nvPr/>
          </p:nvSpPr>
          <p:spPr bwMode="auto">
            <a:xfrm>
              <a:off x="13326973" y="4247967"/>
              <a:ext cx="507929" cy="324703"/>
            </a:xfrm>
            <a:custGeom>
              <a:avLst/>
              <a:gdLst>
                <a:gd name="T0" fmla="*/ 933 w 966"/>
                <a:gd name="T1" fmla="*/ 546 h 618"/>
                <a:gd name="T2" fmla="*/ 933 w 966"/>
                <a:gd name="T3" fmla="*/ 546 h 618"/>
                <a:gd name="T4" fmla="*/ 957 w 966"/>
                <a:gd name="T5" fmla="*/ 609 h 618"/>
                <a:gd name="T6" fmla="*/ 965 w 966"/>
                <a:gd name="T7" fmla="*/ 617 h 618"/>
                <a:gd name="T8" fmla="*/ 965 w 966"/>
                <a:gd name="T9" fmla="*/ 617 h 618"/>
                <a:gd name="T10" fmla="*/ 957 w 966"/>
                <a:gd name="T11" fmla="*/ 609 h 618"/>
                <a:gd name="T12" fmla="*/ 933 w 966"/>
                <a:gd name="T13" fmla="*/ 546 h 618"/>
                <a:gd name="T14" fmla="*/ 16 w 966"/>
                <a:gd name="T15" fmla="*/ 16 h 618"/>
                <a:gd name="T16" fmla="*/ 16 w 966"/>
                <a:gd name="T17" fmla="*/ 16 h 618"/>
                <a:gd name="T18" fmla="*/ 16 w 966"/>
                <a:gd name="T19" fmla="*/ 16 h 618"/>
                <a:gd name="T20" fmla="*/ 72 w 966"/>
                <a:gd name="T21" fmla="*/ 79 h 618"/>
                <a:gd name="T22" fmla="*/ 87 w 966"/>
                <a:gd name="T23" fmla="*/ 95 h 618"/>
                <a:gd name="T24" fmla="*/ 87 w 966"/>
                <a:gd name="T25" fmla="*/ 95 h 618"/>
                <a:gd name="T26" fmla="*/ 182 w 966"/>
                <a:gd name="T27" fmla="*/ 135 h 618"/>
                <a:gd name="T28" fmla="*/ 491 w 966"/>
                <a:gd name="T29" fmla="*/ 190 h 618"/>
                <a:gd name="T30" fmla="*/ 498 w 966"/>
                <a:gd name="T31" fmla="*/ 206 h 618"/>
                <a:gd name="T32" fmla="*/ 538 w 966"/>
                <a:gd name="T33" fmla="*/ 222 h 618"/>
                <a:gd name="T34" fmla="*/ 570 w 966"/>
                <a:gd name="T35" fmla="*/ 214 h 618"/>
                <a:gd name="T36" fmla="*/ 617 w 966"/>
                <a:gd name="T37" fmla="*/ 206 h 618"/>
                <a:gd name="T38" fmla="*/ 649 w 966"/>
                <a:gd name="T39" fmla="*/ 190 h 618"/>
                <a:gd name="T40" fmla="*/ 664 w 966"/>
                <a:gd name="T41" fmla="*/ 206 h 618"/>
                <a:gd name="T42" fmla="*/ 712 w 966"/>
                <a:gd name="T43" fmla="*/ 214 h 618"/>
                <a:gd name="T44" fmla="*/ 775 w 966"/>
                <a:gd name="T45" fmla="*/ 245 h 618"/>
                <a:gd name="T46" fmla="*/ 775 w 966"/>
                <a:gd name="T47" fmla="*/ 253 h 618"/>
                <a:gd name="T48" fmla="*/ 799 w 966"/>
                <a:gd name="T49" fmla="*/ 309 h 618"/>
                <a:gd name="T50" fmla="*/ 799 w 966"/>
                <a:gd name="T51" fmla="*/ 309 h 618"/>
                <a:gd name="T52" fmla="*/ 878 w 966"/>
                <a:gd name="T53" fmla="*/ 403 h 618"/>
                <a:gd name="T54" fmla="*/ 878 w 966"/>
                <a:gd name="T55" fmla="*/ 403 h 618"/>
                <a:gd name="T56" fmla="*/ 799 w 966"/>
                <a:gd name="T57" fmla="*/ 309 h 618"/>
                <a:gd name="T58" fmla="*/ 799 w 966"/>
                <a:gd name="T59" fmla="*/ 309 h 618"/>
                <a:gd name="T60" fmla="*/ 775 w 966"/>
                <a:gd name="T61" fmla="*/ 253 h 618"/>
                <a:gd name="T62" fmla="*/ 775 w 966"/>
                <a:gd name="T63" fmla="*/ 245 h 618"/>
                <a:gd name="T64" fmla="*/ 712 w 966"/>
                <a:gd name="T65" fmla="*/ 214 h 618"/>
                <a:gd name="T66" fmla="*/ 664 w 966"/>
                <a:gd name="T67" fmla="*/ 206 h 618"/>
                <a:gd name="T68" fmla="*/ 649 w 966"/>
                <a:gd name="T69" fmla="*/ 190 h 618"/>
                <a:gd name="T70" fmla="*/ 617 w 966"/>
                <a:gd name="T71" fmla="*/ 206 h 618"/>
                <a:gd name="T72" fmla="*/ 570 w 966"/>
                <a:gd name="T73" fmla="*/ 214 h 618"/>
                <a:gd name="T74" fmla="*/ 538 w 966"/>
                <a:gd name="T75" fmla="*/ 222 h 618"/>
                <a:gd name="T76" fmla="*/ 498 w 966"/>
                <a:gd name="T77" fmla="*/ 206 h 618"/>
                <a:gd name="T78" fmla="*/ 491 w 966"/>
                <a:gd name="T79" fmla="*/ 190 h 618"/>
                <a:gd name="T80" fmla="*/ 182 w 966"/>
                <a:gd name="T81" fmla="*/ 135 h 618"/>
                <a:gd name="T82" fmla="*/ 87 w 966"/>
                <a:gd name="T83" fmla="*/ 95 h 618"/>
                <a:gd name="T84" fmla="*/ 87 w 966"/>
                <a:gd name="T85" fmla="*/ 95 h 618"/>
                <a:gd name="T86" fmla="*/ 72 w 966"/>
                <a:gd name="T87" fmla="*/ 79 h 618"/>
                <a:gd name="T88" fmla="*/ 16 w 966"/>
                <a:gd name="T89" fmla="*/ 16 h 618"/>
                <a:gd name="T90" fmla="*/ 16 w 966"/>
                <a:gd name="T91" fmla="*/ 16 h 618"/>
                <a:gd name="T92" fmla="*/ 16 w 966"/>
                <a:gd name="T93" fmla="*/ 16 h 618"/>
                <a:gd name="T94" fmla="*/ 16 w 966"/>
                <a:gd name="T95" fmla="*/ 16 h 618"/>
                <a:gd name="T96" fmla="*/ 16 w 966"/>
                <a:gd name="T97" fmla="*/ 16 h 618"/>
                <a:gd name="T98" fmla="*/ 16 w 966"/>
                <a:gd name="T99" fmla="*/ 16 h 618"/>
                <a:gd name="T100" fmla="*/ 0 w 966"/>
                <a:gd name="T101" fmla="*/ 0 h 618"/>
                <a:gd name="T102" fmla="*/ 0 w 966"/>
                <a:gd name="T103" fmla="*/ 0 h 618"/>
                <a:gd name="T104" fmla="*/ 0 w 966"/>
                <a:gd name="T105" fmla="*/ 0 h 618"/>
                <a:gd name="T106" fmla="*/ 16 w 966"/>
                <a:gd name="T107" fmla="*/ 16 h 618"/>
                <a:gd name="T108" fmla="*/ 0 w 966"/>
                <a:gd name="T109" fmla="*/ 0 h 618"/>
                <a:gd name="T110" fmla="*/ 933 w 966"/>
                <a:gd name="T111" fmla="*/ 54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6" h="618">
                  <a:moveTo>
                    <a:pt x="933" y="546"/>
                  </a:moveTo>
                  <a:lnTo>
                    <a:pt x="933" y="546"/>
                  </a:lnTo>
                  <a:cubicBezTo>
                    <a:pt x="933" y="577"/>
                    <a:pt x="933" y="601"/>
                    <a:pt x="957" y="609"/>
                  </a:cubicBezTo>
                  <a:cubicBezTo>
                    <a:pt x="965" y="609"/>
                    <a:pt x="965" y="617"/>
                    <a:pt x="965" y="617"/>
                  </a:cubicBezTo>
                  <a:lnTo>
                    <a:pt x="965" y="617"/>
                  </a:lnTo>
                  <a:cubicBezTo>
                    <a:pt x="965" y="617"/>
                    <a:pt x="965" y="609"/>
                    <a:pt x="957" y="609"/>
                  </a:cubicBezTo>
                  <a:cubicBezTo>
                    <a:pt x="933" y="601"/>
                    <a:pt x="933" y="577"/>
                    <a:pt x="933" y="546"/>
                  </a:cubicBezTo>
                  <a:lnTo>
                    <a:pt x="16" y="16"/>
                  </a:lnTo>
                  <a:lnTo>
                    <a:pt x="16" y="16"/>
                  </a:lnTo>
                  <a:lnTo>
                    <a:pt x="16" y="16"/>
                  </a:lnTo>
                  <a:cubicBezTo>
                    <a:pt x="40" y="32"/>
                    <a:pt x="64" y="63"/>
                    <a:pt x="72" y="79"/>
                  </a:cubicBezTo>
                  <a:cubicBezTo>
                    <a:pt x="80" y="87"/>
                    <a:pt x="80" y="95"/>
                    <a:pt x="87" y="95"/>
                  </a:cubicBezTo>
                  <a:lnTo>
                    <a:pt x="87" y="95"/>
                  </a:lnTo>
                  <a:cubicBezTo>
                    <a:pt x="95" y="111"/>
                    <a:pt x="111" y="135"/>
                    <a:pt x="182" y="135"/>
                  </a:cubicBezTo>
                  <a:cubicBezTo>
                    <a:pt x="253" y="135"/>
                    <a:pt x="451" y="150"/>
                    <a:pt x="491" y="190"/>
                  </a:cubicBezTo>
                  <a:cubicBezTo>
                    <a:pt x="491" y="190"/>
                    <a:pt x="498" y="198"/>
                    <a:pt x="498" y="206"/>
                  </a:cubicBezTo>
                  <a:cubicBezTo>
                    <a:pt x="514" y="214"/>
                    <a:pt x="522" y="222"/>
                    <a:pt x="538" y="222"/>
                  </a:cubicBezTo>
                  <a:cubicBezTo>
                    <a:pt x="546" y="222"/>
                    <a:pt x="554" y="222"/>
                    <a:pt x="570" y="214"/>
                  </a:cubicBezTo>
                  <a:cubicBezTo>
                    <a:pt x="585" y="214"/>
                    <a:pt x="601" y="206"/>
                    <a:pt x="617" y="206"/>
                  </a:cubicBezTo>
                  <a:cubicBezTo>
                    <a:pt x="625" y="198"/>
                    <a:pt x="633" y="190"/>
                    <a:pt x="649" y="190"/>
                  </a:cubicBezTo>
                  <a:cubicBezTo>
                    <a:pt x="657" y="190"/>
                    <a:pt x="664" y="198"/>
                    <a:pt x="664" y="206"/>
                  </a:cubicBezTo>
                  <a:cubicBezTo>
                    <a:pt x="672" y="214"/>
                    <a:pt x="696" y="214"/>
                    <a:pt x="712" y="214"/>
                  </a:cubicBezTo>
                  <a:cubicBezTo>
                    <a:pt x="744" y="222"/>
                    <a:pt x="775" y="222"/>
                    <a:pt x="775" y="245"/>
                  </a:cubicBezTo>
                  <a:cubicBezTo>
                    <a:pt x="775" y="253"/>
                    <a:pt x="775" y="253"/>
                    <a:pt x="775" y="253"/>
                  </a:cubicBezTo>
                  <a:cubicBezTo>
                    <a:pt x="783" y="293"/>
                    <a:pt x="783" y="301"/>
                    <a:pt x="799" y="309"/>
                  </a:cubicBezTo>
                  <a:lnTo>
                    <a:pt x="799" y="309"/>
                  </a:lnTo>
                  <a:cubicBezTo>
                    <a:pt x="823" y="309"/>
                    <a:pt x="878" y="325"/>
                    <a:pt x="878" y="403"/>
                  </a:cubicBezTo>
                  <a:lnTo>
                    <a:pt x="878" y="403"/>
                  </a:lnTo>
                  <a:cubicBezTo>
                    <a:pt x="878" y="325"/>
                    <a:pt x="823" y="309"/>
                    <a:pt x="799" y="309"/>
                  </a:cubicBezTo>
                  <a:lnTo>
                    <a:pt x="799" y="309"/>
                  </a:lnTo>
                  <a:cubicBezTo>
                    <a:pt x="783" y="301"/>
                    <a:pt x="783" y="293"/>
                    <a:pt x="775" y="253"/>
                  </a:cubicBezTo>
                  <a:cubicBezTo>
                    <a:pt x="775" y="245"/>
                    <a:pt x="775" y="245"/>
                    <a:pt x="775" y="245"/>
                  </a:cubicBezTo>
                  <a:cubicBezTo>
                    <a:pt x="775" y="222"/>
                    <a:pt x="744" y="222"/>
                    <a:pt x="712" y="214"/>
                  </a:cubicBezTo>
                  <a:cubicBezTo>
                    <a:pt x="696" y="214"/>
                    <a:pt x="672" y="214"/>
                    <a:pt x="664" y="206"/>
                  </a:cubicBezTo>
                  <a:cubicBezTo>
                    <a:pt x="664" y="198"/>
                    <a:pt x="657" y="190"/>
                    <a:pt x="649" y="190"/>
                  </a:cubicBezTo>
                  <a:cubicBezTo>
                    <a:pt x="633" y="190"/>
                    <a:pt x="625" y="198"/>
                    <a:pt x="617" y="206"/>
                  </a:cubicBezTo>
                  <a:cubicBezTo>
                    <a:pt x="601" y="206"/>
                    <a:pt x="585" y="214"/>
                    <a:pt x="570" y="214"/>
                  </a:cubicBezTo>
                  <a:cubicBezTo>
                    <a:pt x="554" y="222"/>
                    <a:pt x="546" y="222"/>
                    <a:pt x="538" y="222"/>
                  </a:cubicBezTo>
                  <a:cubicBezTo>
                    <a:pt x="522" y="222"/>
                    <a:pt x="514" y="214"/>
                    <a:pt x="498" y="206"/>
                  </a:cubicBezTo>
                  <a:cubicBezTo>
                    <a:pt x="498" y="198"/>
                    <a:pt x="491" y="190"/>
                    <a:pt x="491" y="190"/>
                  </a:cubicBezTo>
                  <a:cubicBezTo>
                    <a:pt x="451" y="150"/>
                    <a:pt x="253" y="135"/>
                    <a:pt x="182" y="135"/>
                  </a:cubicBezTo>
                  <a:cubicBezTo>
                    <a:pt x="111" y="135"/>
                    <a:pt x="95" y="111"/>
                    <a:pt x="87" y="95"/>
                  </a:cubicBezTo>
                  <a:lnTo>
                    <a:pt x="87" y="95"/>
                  </a:lnTo>
                  <a:cubicBezTo>
                    <a:pt x="80" y="95"/>
                    <a:pt x="80" y="87"/>
                    <a:pt x="72" y="79"/>
                  </a:cubicBezTo>
                  <a:cubicBezTo>
                    <a:pt x="64" y="63"/>
                    <a:pt x="40" y="32"/>
                    <a:pt x="16" y="16"/>
                  </a:cubicBezTo>
                  <a:lnTo>
                    <a:pt x="16" y="16"/>
                  </a:lnTo>
                  <a:lnTo>
                    <a:pt x="16" y="16"/>
                  </a:lnTo>
                  <a:lnTo>
                    <a:pt x="16" y="16"/>
                  </a:lnTo>
                  <a:lnTo>
                    <a:pt x="16" y="16"/>
                  </a:lnTo>
                  <a:lnTo>
                    <a:pt x="16" y="16"/>
                  </a:lnTo>
                  <a:lnTo>
                    <a:pt x="0" y="0"/>
                  </a:lnTo>
                  <a:lnTo>
                    <a:pt x="0" y="0"/>
                  </a:lnTo>
                  <a:lnTo>
                    <a:pt x="0" y="0"/>
                  </a:lnTo>
                  <a:cubicBezTo>
                    <a:pt x="8" y="8"/>
                    <a:pt x="16" y="16"/>
                    <a:pt x="16" y="16"/>
                  </a:cubicBezTo>
                  <a:cubicBezTo>
                    <a:pt x="16" y="16"/>
                    <a:pt x="8" y="8"/>
                    <a:pt x="0" y="0"/>
                  </a:cubicBezTo>
                  <a:lnTo>
                    <a:pt x="933" y="546"/>
                  </a:lnTo>
                </a:path>
              </a:pathLst>
            </a:custGeom>
            <a:grpFill/>
            <a:ln>
              <a:solidFill>
                <a:schemeClr val="bg1">
                  <a:lumMod val="95000"/>
                </a:schemeClr>
              </a:solidFill>
            </a:ln>
            <a:effectLst/>
          </p:spPr>
          <p:txBody>
            <a:bodyPr wrap="none" anchor="ctr"/>
            <a:lstStyle/>
            <a:p>
              <a:endParaRPr lang="en-US" sz="900"/>
            </a:p>
          </p:txBody>
        </p:sp>
        <p:sp>
          <p:nvSpPr>
            <p:cNvPr id="81" name="Freeform 678"/>
            <p:cNvSpPr>
              <a:spLocks noChangeArrowheads="1"/>
            </p:cNvSpPr>
            <p:nvPr/>
          </p:nvSpPr>
          <p:spPr bwMode="auto">
            <a:xfrm>
              <a:off x="13320015" y="4243329"/>
              <a:ext cx="519524" cy="333980"/>
            </a:xfrm>
            <a:custGeom>
              <a:avLst/>
              <a:gdLst>
                <a:gd name="T0" fmla="*/ 7 w 989"/>
                <a:gd name="T1" fmla="*/ 0 h 634"/>
                <a:gd name="T2" fmla="*/ 0 w 989"/>
                <a:gd name="T3" fmla="*/ 0 h 634"/>
                <a:gd name="T4" fmla="*/ 7 w 989"/>
                <a:gd name="T5" fmla="*/ 8 h 634"/>
                <a:gd name="T6" fmla="*/ 7 w 989"/>
                <a:gd name="T7" fmla="*/ 8 h 634"/>
                <a:gd name="T8" fmla="*/ 15 w 989"/>
                <a:gd name="T9" fmla="*/ 16 h 634"/>
                <a:gd name="T10" fmla="*/ 31 w 989"/>
                <a:gd name="T11" fmla="*/ 32 h 634"/>
                <a:gd name="T12" fmla="*/ 87 w 989"/>
                <a:gd name="T13" fmla="*/ 95 h 634"/>
                <a:gd name="T14" fmla="*/ 95 w 989"/>
                <a:gd name="T15" fmla="*/ 111 h 634"/>
                <a:gd name="T16" fmla="*/ 498 w 989"/>
                <a:gd name="T17" fmla="*/ 198 h 634"/>
                <a:gd name="T18" fmla="*/ 513 w 989"/>
                <a:gd name="T19" fmla="*/ 214 h 634"/>
                <a:gd name="T20" fmla="*/ 553 w 989"/>
                <a:gd name="T21" fmla="*/ 237 h 634"/>
                <a:gd name="T22" fmla="*/ 585 w 989"/>
                <a:gd name="T23" fmla="*/ 230 h 634"/>
                <a:gd name="T24" fmla="*/ 632 w 989"/>
                <a:gd name="T25" fmla="*/ 214 h 634"/>
                <a:gd name="T26" fmla="*/ 679 w 989"/>
                <a:gd name="T27" fmla="*/ 222 h 634"/>
                <a:gd name="T28" fmla="*/ 782 w 989"/>
                <a:gd name="T29" fmla="*/ 253 h 634"/>
                <a:gd name="T30" fmla="*/ 814 w 989"/>
                <a:gd name="T31" fmla="*/ 324 h 634"/>
                <a:gd name="T32" fmla="*/ 885 w 989"/>
                <a:gd name="T33" fmla="*/ 411 h 634"/>
                <a:gd name="T34" fmla="*/ 885 w 989"/>
                <a:gd name="T35" fmla="*/ 411 h 634"/>
                <a:gd name="T36" fmla="*/ 869 w 989"/>
                <a:gd name="T37" fmla="*/ 483 h 634"/>
                <a:gd name="T38" fmla="*/ 885 w 989"/>
                <a:gd name="T39" fmla="*/ 514 h 634"/>
                <a:gd name="T40" fmla="*/ 940 w 989"/>
                <a:gd name="T41" fmla="*/ 538 h 634"/>
                <a:gd name="T42" fmla="*/ 940 w 989"/>
                <a:gd name="T43" fmla="*/ 538 h 634"/>
                <a:gd name="T44" fmla="*/ 940 w 989"/>
                <a:gd name="T45" fmla="*/ 554 h 634"/>
                <a:gd name="T46" fmla="*/ 972 w 989"/>
                <a:gd name="T47" fmla="*/ 625 h 634"/>
                <a:gd name="T48" fmla="*/ 988 w 989"/>
                <a:gd name="T49" fmla="*/ 633 h 634"/>
                <a:gd name="T50" fmla="*/ 988 w 989"/>
                <a:gd name="T51" fmla="*/ 625 h 634"/>
                <a:gd name="T52" fmla="*/ 988 w 989"/>
                <a:gd name="T53" fmla="*/ 625 h 634"/>
                <a:gd name="T54" fmla="*/ 980 w 989"/>
                <a:gd name="T55" fmla="*/ 625 h 634"/>
                <a:gd name="T56" fmla="*/ 948 w 989"/>
                <a:gd name="T57" fmla="*/ 554 h 634"/>
                <a:gd name="T58" fmla="*/ 948 w 989"/>
                <a:gd name="T59" fmla="*/ 538 h 634"/>
                <a:gd name="T60" fmla="*/ 885 w 989"/>
                <a:gd name="T61" fmla="*/ 506 h 634"/>
                <a:gd name="T62" fmla="*/ 877 w 989"/>
                <a:gd name="T63" fmla="*/ 498 h 634"/>
                <a:gd name="T64" fmla="*/ 893 w 989"/>
                <a:gd name="T65" fmla="*/ 411 h 634"/>
                <a:gd name="T66" fmla="*/ 814 w 989"/>
                <a:gd name="T67" fmla="*/ 317 h 634"/>
                <a:gd name="T68" fmla="*/ 790 w 989"/>
                <a:gd name="T69" fmla="*/ 253 h 634"/>
                <a:gd name="T70" fmla="*/ 679 w 989"/>
                <a:gd name="T71" fmla="*/ 214 h 634"/>
                <a:gd name="T72" fmla="*/ 632 w 989"/>
                <a:gd name="T73" fmla="*/ 214 h 634"/>
                <a:gd name="T74" fmla="*/ 553 w 989"/>
                <a:gd name="T75" fmla="*/ 230 h 634"/>
                <a:gd name="T76" fmla="*/ 506 w 989"/>
                <a:gd name="T77" fmla="*/ 198 h 634"/>
                <a:gd name="T78" fmla="*/ 102 w 989"/>
                <a:gd name="T79" fmla="*/ 103 h 634"/>
                <a:gd name="T80" fmla="*/ 87 w 989"/>
                <a:gd name="T81" fmla="*/ 87 h 634"/>
                <a:gd name="T82" fmla="*/ 31 w 989"/>
                <a:gd name="T83" fmla="*/ 24 h 634"/>
                <a:gd name="T84" fmla="*/ 31 w 989"/>
                <a:gd name="T85" fmla="*/ 24 h 634"/>
                <a:gd name="T86" fmla="*/ 15 w 989"/>
                <a:gd name="T87" fmla="*/ 8 h 634"/>
                <a:gd name="T88" fmla="*/ 15 w 989"/>
                <a:gd name="T89" fmla="*/ 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9" h="634">
                  <a:moveTo>
                    <a:pt x="7" y="0"/>
                  </a:moveTo>
                  <a:lnTo>
                    <a:pt x="7" y="0"/>
                  </a:lnTo>
                  <a:lnTo>
                    <a:pt x="7" y="0"/>
                  </a:lnTo>
                  <a:cubicBezTo>
                    <a:pt x="7" y="0"/>
                    <a:pt x="7" y="0"/>
                    <a:pt x="0" y="0"/>
                  </a:cubicBezTo>
                  <a:lnTo>
                    <a:pt x="0" y="0"/>
                  </a:lnTo>
                  <a:cubicBezTo>
                    <a:pt x="7" y="8"/>
                    <a:pt x="7" y="8"/>
                    <a:pt x="7" y="8"/>
                  </a:cubicBezTo>
                  <a:lnTo>
                    <a:pt x="7" y="8"/>
                  </a:lnTo>
                  <a:lnTo>
                    <a:pt x="7" y="8"/>
                  </a:lnTo>
                  <a:cubicBezTo>
                    <a:pt x="7" y="16"/>
                    <a:pt x="7" y="16"/>
                    <a:pt x="15" y="16"/>
                  </a:cubicBezTo>
                  <a:lnTo>
                    <a:pt x="15" y="16"/>
                  </a:lnTo>
                  <a:lnTo>
                    <a:pt x="15" y="16"/>
                  </a:lnTo>
                  <a:cubicBezTo>
                    <a:pt x="15" y="24"/>
                    <a:pt x="23" y="32"/>
                    <a:pt x="31" y="32"/>
                  </a:cubicBezTo>
                  <a:lnTo>
                    <a:pt x="31" y="32"/>
                  </a:lnTo>
                  <a:cubicBezTo>
                    <a:pt x="55" y="48"/>
                    <a:pt x="71" y="71"/>
                    <a:pt x="87" y="95"/>
                  </a:cubicBezTo>
                  <a:cubicBezTo>
                    <a:pt x="87" y="95"/>
                    <a:pt x="95" y="103"/>
                    <a:pt x="95" y="111"/>
                  </a:cubicBezTo>
                  <a:lnTo>
                    <a:pt x="95" y="111"/>
                  </a:lnTo>
                  <a:cubicBezTo>
                    <a:pt x="110" y="127"/>
                    <a:pt x="126" y="151"/>
                    <a:pt x="197" y="151"/>
                  </a:cubicBezTo>
                  <a:cubicBezTo>
                    <a:pt x="268" y="151"/>
                    <a:pt x="466" y="166"/>
                    <a:pt x="498" y="198"/>
                  </a:cubicBezTo>
                  <a:lnTo>
                    <a:pt x="498" y="198"/>
                  </a:lnTo>
                  <a:cubicBezTo>
                    <a:pt x="506" y="206"/>
                    <a:pt x="506" y="214"/>
                    <a:pt x="513" y="214"/>
                  </a:cubicBezTo>
                  <a:lnTo>
                    <a:pt x="513" y="214"/>
                  </a:lnTo>
                  <a:cubicBezTo>
                    <a:pt x="521" y="230"/>
                    <a:pt x="529" y="237"/>
                    <a:pt x="553" y="237"/>
                  </a:cubicBezTo>
                  <a:lnTo>
                    <a:pt x="553" y="237"/>
                  </a:lnTo>
                  <a:cubicBezTo>
                    <a:pt x="561" y="237"/>
                    <a:pt x="569" y="237"/>
                    <a:pt x="585" y="230"/>
                  </a:cubicBezTo>
                  <a:lnTo>
                    <a:pt x="585" y="230"/>
                  </a:lnTo>
                  <a:cubicBezTo>
                    <a:pt x="608" y="230"/>
                    <a:pt x="624" y="222"/>
                    <a:pt x="632" y="214"/>
                  </a:cubicBezTo>
                  <a:cubicBezTo>
                    <a:pt x="648" y="214"/>
                    <a:pt x="656" y="206"/>
                    <a:pt x="664" y="206"/>
                  </a:cubicBezTo>
                  <a:cubicBezTo>
                    <a:pt x="664" y="206"/>
                    <a:pt x="672" y="214"/>
                    <a:pt x="679" y="222"/>
                  </a:cubicBezTo>
                  <a:cubicBezTo>
                    <a:pt x="687" y="230"/>
                    <a:pt x="711" y="230"/>
                    <a:pt x="727" y="230"/>
                  </a:cubicBezTo>
                  <a:cubicBezTo>
                    <a:pt x="759" y="230"/>
                    <a:pt x="782" y="237"/>
                    <a:pt x="782" y="253"/>
                  </a:cubicBezTo>
                  <a:cubicBezTo>
                    <a:pt x="782" y="261"/>
                    <a:pt x="782" y="261"/>
                    <a:pt x="782" y="261"/>
                  </a:cubicBezTo>
                  <a:cubicBezTo>
                    <a:pt x="790" y="301"/>
                    <a:pt x="790" y="317"/>
                    <a:pt x="814" y="324"/>
                  </a:cubicBezTo>
                  <a:lnTo>
                    <a:pt x="814" y="324"/>
                  </a:lnTo>
                  <a:cubicBezTo>
                    <a:pt x="838" y="324"/>
                    <a:pt x="885" y="333"/>
                    <a:pt x="885" y="411"/>
                  </a:cubicBezTo>
                  <a:lnTo>
                    <a:pt x="885" y="411"/>
                  </a:lnTo>
                  <a:lnTo>
                    <a:pt x="885" y="411"/>
                  </a:lnTo>
                  <a:cubicBezTo>
                    <a:pt x="885" y="451"/>
                    <a:pt x="877" y="475"/>
                    <a:pt x="869" y="483"/>
                  </a:cubicBezTo>
                  <a:lnTo>
                    <a:pt x="869" y="483"/>
                  </a:lnTo>
                  <a:cubicBezTo>
                    <a:pt x="869" y="491"/>
                    <a:pt x="861" y="498"/>
                    <a:pt x="869" y="506"/>
                  </a:cubicBezTo>
                  <a:cubicBezTo>
                    <a:pt x="869" y="506"/>
                    <a:pt x="877" y="506"/>
                    <a:pt x="885" y="514"/>
                  </a:cubicBezTo>
                  <a:cubicBezTo>
                    <a:pt x="893" y="514"/>
                    <a:pt x="901" y="514"/>
                    <a:pt x="909" y="514"/>
                  </a:cubicBezTo>
                  <a:cubicBezTo>
                    <a:pt x="932" y="522"/>
                    <a:pt x="940" y="522"/>
                    <a:pt x="940" y="538"/>
                  </a:cubicBezTo>
                  <a:lnTo>
                    <a:pt x="940" y="538"/>
                  </a:lnTo>
                  <a:lnTo>
                    <a:pt x="940" y="538"/>
                  </a:lnTo>
                  <a:lnTo>
                    <a:pt x="940" y="546"/>
                  </a:lnTo>
                  <a:cubicBezTo>
                    <a:pt x="940" y="554"/>
                    <a:pt x="940" y="554"/>
                    <a:pt x="940" y="554"/>
                  </a:cubicBezTo>
                  <a:cubicBezTo>
                    <a:pt x="940" y="585"/>
                    <a:pt x="940" y="609"/>
                    <a:pt x="972" y="625"/>
                  </a:cubicBezTo>
                  <a:lnTo>
                    <a:pt x="972" y="625"/>
                  </a:lnTo>
                  <a:lnTo>
                    <a:pt x="980" y="633"/>
                  </a:lnTo>
                  <a:cubicBezTo>
                    <a:pt x="988" y="633"/>
                    <a:pt x="988" y="633"/>
                    <a:pt x="988" y="633"/>
                  </a:cubicBezTo>
                  <a:cubicBezTo>
                    <a:pt x="988" y="625"/>
                    <a:pt x="988" y="625"/>
                    <a:pt x="988" y="625"/>
                  </a:cubicBezTo>
                  <a:lnTo>
                    <a:pt x="988" y="625"/>
                  </a:lnTo>
                  <a:lnTo>
                    <a:pt x="988" y="625"/>
                  </a:lnTo>
                  <a:lnTo>
                    <a:pt x="988" y="625"/>
                  </a:lnTo>
                  <a:cubicBezTo>
                    <a:pt x="980" y="625"/>
                    <a:pt x="980" y="625"/>
                    <a:pt x="980" y="625"/>
                  </a:cubicBezTo>
                  <a:lnTo>
                    <a:pt x="980" y="625"/>
                  </a:lnTo>
                  <a:cubicBezTo>
                    <a:pt x="980" y="625"/>
                    <a:pt x="980" y="617"/>
                    <a:pt x="972" y="617"/>
                  </a:cubicBezTo>
                  <a:cubicBezTo>
                    <a:pt x="948" y="609"/>
                    <a:pt x="948" y="585"/>
                    <a:pt x="948" y="554"/>
                  </a:cubicBezTo>
                  <a:cubicBezTo>
                    <a:pt x="948" y="554"/>
                    <a:pt x="948" y="554"/>
                    <a:pt x="948" y="546"/>
                  </a:cubicBezTo>
                  <a:lnTo>
                    <a:pt x="948" y="538"/>
                  </a:lnTo>
                  <a:cubicBezTo>
                    <a:pt x="948" y="514"/>
                    <a:pt x="932" y="514"/>
                    <a:pt x="909" y="506"/>
                  </a:cubicBezTo>
                  <a:cubicBezTo>
                    <a:pt x="901" y="506"/>
                    <a:pt x="893" y="506"/>
                    <a:pt x="885" y="506"/>
                  </a:cubicBezTo>
                  <a:cubicBezTo>
                    <a:pt x="885" y="506"/>
                    <a:pt x="877" y="506"/>
                    <a:pt x="877" y="498"/>
                  </a:cubicBezTo>
                  <a:lnTo>
                    <a:pt x="877" y="498"/>
                  </a:lnTo>
                  <a:lnTo>
                    <a:pt x="877" y="491"/>
                  </a:lnTo>
                  <a:cubicBezTo>
                    <a:pt x="885" y="475"/>
                    <a:pt x="893" y="451"/>
                    <a:pt x="893" y="411"/>
                  </a:cubicBezTo>
                  <a:cubicBezTo>
                    <a:pt x="893" y="333"/>
                    <a:pt x="838" y="317"/>
                    <a:pt x="814" y="317"/>
                  </a:cubicBezTo>
                  <a:lnTo>
                    <a:pt x="814" y="317"/>
                  </a:lnTo>
                  <a:cubicBezTo>
                    <a:pt x="798" y="309"/>
                    <a:pt x="798" y="301"/>
                    <a:pt x="790" y="261"/>
                  </a:cubicBezTo>
                  <a:cubicBezTo>
                    <a:pt x="790" y="253"/>
                    <a:pt x="790" y="253"/>
                    <a:pt x="790" y="253"/>
                  </a:cubicBezTo>
                  <a:cubicBezTo>
                    <a:pt x="790" y="230"/>
                    <a:pt x="759" y="230"/>
                    <a:pt x="727" y="222"/>
                  </a:cubicBezTo>
                  <a:cubicBezTo>
                    <a:pt x="711" y="222"/>
                    <a:pt x="687" y="222"/>
                    <a:pt x="679" y="214"/>
                  </a:cubicBezTo>
                  <a:cubicBezTo>
                    <a:pt x="679" y="206"/>
                    <a:pt x="672" y="198"/>
                    <a:pt x="664" y="198"/>
                  </a:cubicBezTo>
                  <a:cubicBezTo>
                    <a:pt x="648" y="198"/>
                    <a:pt x="640" y="206"/>
                    <a:pt x="632" y="214"/>
                  </a:cubicBezTo>
                  <a:cubicBezTo>
                    <a:pt x="616" y="214"/>
                    <a:pt x="600" y="222"/>
                    <a:pt x="585" y="222"/>
                  </a:cubicBezTo>
                  <a:cubicBezTo>
                    <a:pt x="569" y="230"/>
                    <a:pt x="561" y="230"/>
                    <a:pt x="553" y="230"/>
                  </a:cubicBezTo>
                  <a:cubicBezTo>
                    <a:pt x="537" y="230"/>
                    <a:pt x="529" y="222"/>
                    <a:pt x="513" y="214"/>
                  </a:cubicBezTo>
                  <a:cubicBezTo>
                    <a:pt x="513" y="206"/>
                    <a:pt x="506" y="198"/>
                    <a:pt x="506" y="198"/>
                  </a:cubicBezTo>
                  <a:cubicBezTo>
                    <a:pt x="466" y="158"/>
                    <a:pt x="268" y="143"/>
                    <a:pt x="197" y="143"/>
                  </a:cubicBezTo>
                  <a:cubicBezTo>
                    <a:pt x="126" y="143"/>
                    <a:pt x="110" y="119"/>
                    <a:pt x="102" y="103"/>
                  </a:cubicBezTo>
                  <a:lnTo>
                    <a:pt x="102" y="103"/>
                  </a:lnTo>
                  <a:cubicBezTo>
                    <a:pt x="95" y="103"/>
                    <a:pt x="95" y="95"/>
                    <a:pt x="87" y="87"/>
                  </a:cubicBezTo>
                  <a:cubicBezTo>
                    <a:pt x="79" y="71"/>
                    <a:pt x="55" y="40"/>
                    <a:pt x="31" y="24"/>
                  </a:cubicBezTo>
                  <a:lnTo>
                    <a:pt x="31" y="24"/>
                  </a:lnTo>
                  <a:lnTo>
                    <a:pt x="31" y="24"/>
                  </a:lnTo>
                  <a:lnTo>
                    <a:pt x="31" y="24"/>
                  </a:lnTo>
                  <a:lnTo>
                    <a:pt x="31" y="24"/>
                  </a:lnTo>
                  <a:cubicBezTo>
                    <a:pt x="31" y="24"/>
                    <a:pt x="23" y="16"/>
                    <a:pt x="15" y="8"/>
                  </a:cubicBezTo>
                  <a:lnTo>
                    <a:pt x="15" y="8"/>
                  </a:lnTo>
                  <a:lnTo>
                    <a:pt x="15" y="8"/>
                  </a:lnTo>
                  <a:cubicBezTo>
                    <a:pt x="7" y="0"/>
                    <a:pt x="7" y="0"/>
                    <a:pt x="7" y="0"/>
                  </a:cubicBezTo>
                </a:path>
              </a:pathLst>
            </a:custGeom>
            <a:grpFill/>
            <a:ln>
              <a:solidFill>
                <a:schemeClr val="bg1">
                  <a:lumMod val="95000"/>
                </a:schemeClr>
              </a:solidFill>
            </a:ln>
            <a:effectLst/>
          </p:spPr>
          <p:txBody>
            <a:bodyPr wrap="none" anchor="ctr"/>
            <a:lstStyle/>
            <a:p>
              <a:endParaRPr lang="en-US" sz="900"/>
            </a:p>
          </p:txBody>
        </p:sp>
        <p:sp>
          <p:nvSpPr>
            <p:cNvPr id="82" name="Freeform 704"/>
            <p:cNvSpPr>
              <a:spLocks noChangeArrowheads="1"/>
            </p:cNvSpPr>
            <p:nvPr/>
          </p:nvSpPr>
          <p:spPr bwMode="auto">
            <a:xfrm>
              <a:off x="13224923" y="5215119"/>
              <a:ext cx="786245" cy="1391584"/>
            </a:xfrm>
            <a:custGeom>
              <a:avLst/>
              <a:gdLst>
                <a:gd name="T0" fmla="*/ 1217 w 1495"/>
                <a:gd name="T1" fmla="*/ 0 h 2648"/>
                <a:gd name="T2" fmla="*/ 245 w 1495"/>
                <a:gd name="T3" fmla="*/ 95 h 2648"/>
                <a:gd name="T4" fmla="*/ 245 w 1495"/>
                <a:gd name="T5" fmla="*/ 95 h 2648"/>
                <a:gd name="T6" fmla="*/ 284 w 1495"/>
                <a:gd name="T7" fmla="*/ 135 h 2648"/>
                <a:gd name="T8" fmla="*/ 387 w 1495"/>
                <a:gd name="T9" fmla="*/ 253 h 2648"/>
                <a:gd name="T10" fmla="*/ 419 w 1495"/>
                <a:gd name="T11" fmla="*/ 269 h 2648"/>
                <a:gd name="T12" fmla="*/ 395 w 1495"/>
                <a:gd name="T13" fmla="*/ 435 h 2648"/>
                <a:gd name="T14" fmla="*/ 332 w 1495"/>
                <a:gd name="T15" fmla="*/ 554 h 2648"/>
                <a:gd name="T16" fmla="*/ 284 w 1495"/>
                <a:gd name="T17" fmla="*/ 570 h 2648"/>
                <a:gd name="T18" fmla="*/ 197 w 1495"/>
                <a:gd name="T19" fmla="*/ 617 h 2648"/>
                <a:gd name="T20" fmla="*/ 182 w 1495"/>
                <a:gd name="T21" fmla="*/ 609 h 2648"/>
                <a:gd name="T22" fmla="*/ 158 w 1495"/>
                <a:gd name="T23" fmla="*/ 609 h 2648"/>
                <a:gd name="T24" fmla="*/ 118 w 1495"/>
                <a:gd name="T25" fmla="*/ 625 h 2648"/>
                <a:gd name="T26" fmla="*/ 118 w 1495"/>
                <a:gd name="T27" fmla="*/ 672 h 2648"/>
                <a:gd name="T28" fmla="*/ 150 w 1495"/>
                <a:gd name="T29" fmla="*/ 735 h 2648"/>
                <a:gd name="T30" fmla="*/ 174 w 1495"/>
                <a:gd name="T31" fmla="*/ 775 h 2648"/>
                <a:gd name="T32" fmla="*/ 126 w 1495"/>
                <a:gd name="T33" fmla="*/ 886 h 2648"/>
                <a:gd name="T34" fmla="*/ 134 w 1495"/>
                <a:gd name="T35" fmla="*/ 933 h 2648"/>
                <a:gd name="T36" fmla="*/ 134 w 1495"/>
                <a:gd name="T37" fmla="*/ 933 h 2648"/>
                <a:gd name="T38" fmla="*/ 24 w 1495"/>
                <a:gd name="T39" fmla="*/ 1012 h 2648"/>
                <a:gd name="T40" fmla="*/ 15 w 1495"/>
                <a:gd name="T41" fmla="*/ 1020 h 2648"/>
                <a:gd name="T42" fmla="*/ 31 w 1495"/>
                <a:gd name="T43" fmla="*/ 1044 h 2648"/>
                <a:gd name="T44" fmla="*/ 15 w 1495"/>
                <a:gd name="T45" fmla="*/ 1107 h 2648"/>
                <a:gd name="T46" fmla="*/ 15 w 1495"/>
                <a:gd name="T47" fmla="*/ 1115 h 2648"/>
                <a:gd name="T48" fmla="*/ 95 w 1495"/>
                <a:gd name="T49" fmla="*/ 1423 h 2648"/>
                <a:gd name="T50" fmla="*/ 284 w 1495"/>
                <a:gd name="T51" fmla="*/ 1605 h 2648"/>
                <a:gd name="T52" fmla="*/ 332 w 1495"/>
                <a:gd name="T53" fmla="*/ 1747 h 2648"/>
                <a:gd name="T54" fmla="*/ 364 w 1495"/>
                <a:gd name="T55" fmla="*/ 1763 h 2648"/>
                <a:gd name="T56" fmla="*/ 403 w 1495"/>
                <a:gd name="T57" fmla="*/ 1747 h 2648"/>
                <a:gd name="T58" fmla="*/ 442 w 1495"/>
                <a:gd name="T59" fmla="*/ 1771 h 2648"/>
                <a:gd name="T60" fmla="*/ 458 w 1495"/>
                <a:gd name="T61" fmla="*/ 1747 h 2648"/>
                <a:gd name="T62" fmla="*/ 466 w 1495"/>
                <a:gd name="T63" fmla="*/ 2016 h 2648"/>
                <a:gd name="T64" fmla="*/ 648 w 1495"/>
                <a:gd name="T65" fmla="*/ 2252 h 2648"/>
                <a:gd name="T66" fmla="*/ 743 w 1495"/>
                <a:gd name="T67" fmla="*/ 2316 h 2648"/>
                <a:gd name="T68" fmla="*/ 806 w 1495"/>
                <a:gd name="T69" fmla="*/ 2355 h 2648"/>
                <a:gd name="T70" fmla="*/ 854 w 1495"/>
                <a:gd name="T71" fmla="*/ 2466 h 2648"/>
                <a:gd name="T72" fmla="*/ 822 w 1495"/>
                <a:gd name="T73" fmla="*/ 2521 h 2648"/>
                <a:gd name="T74" fmla="*/ 877 w 1495"/>
                <a:gd name="T75" fmla="*/ 2624 h 2648"/>
                <a:gd name="T76" fmla="*/ 948 w 1495"/>
                <a:gd name="T77" fmla="*/ 2647 h 2648"/>
                <a:gd name="T78" fmla="*/ 964 w 1495"/>
                <a:gd name="T79" fmla="*/ 2647 h 2648"/>
                <a:gd name="T80" fmla="*/ 1051 w 1495"/>
                <a:gd name="T81" fmla="*/ 2561 h 2648"/>
                <a:gd name="T82" fmla="*/ 1178 w 1495"/>
                <a:gd name="T83" fmla="*/ 2600 h 2648"/>
                <a:gd name="T84" fmla="*/ 1209 w 1495"/>
                <a:gd name="T85" fmla="*/ 2521 h 2648"/>
                <a:gd name="T86" fmla="*/ 1194 w 1495"/>
                <a:gd name="T87" fmla="*/ 2434 h 2648"/>
                <a:gd name="T88" fmla="*/ 1344 w 1495"/>
                <a:gd name="T89" fmla="*/ 2387 h 2648"/>
                <a:gd name="T90" fmla="*/ 1320 w 1495"/>
                <a:gd name="T91" fmla="*/ 2339 h 2648"/>
                <a:gd name="T92" fmla="*/ 1320 w 1495"/>
                <a:gd name="T93" fmla="*/ 2292 h 2648"/>
                <a:gd name="T94" fmla="*/ 1336 w 1495"/>
                <a:gd name="T95" fmla="*/ 2236 h 2648"/>
                <a:gd name="T96" fmla="*/ 1336 w 1495"/>
                <a:gd name="T97" fmla="*/ 2126 h 2648"/>
                <a:gd name="T98" fmla="*/ 1352 w 1495"/>
                <a:gd name="T99" fmla="*/ 2063 h 2648"/>
                <a:gd name="T100" fmla="*/ 1447 w 1495"/>
                <a:gd name="T101" fmla="*/ 1874 h 2648"/>
                <a:gd name="T102" fmla="*/ 1494 w 1495"/>
                <a:gd name="T103" fmla="*/ 1787 h 2648"/>
                <a:gd name="T104" fmla="*/ 1462 w 1495"/>
                <a:gd name="T105" fmla="*/ 1668 h 2648"/>
                <a:gd name="T106" fmla="*/ 1447 w 1495"/>
                <a:gd name="T107" fmla="*/ 1621 h 2648"/>
                <a:gd name="T108" fmla="*/ 1439 w 1495"/>
                <a:gd name="T109" fmla="*/ 1510 h 2648"/>
                <a:gd name="T110" fmla="*/ 1352 w 1495"/>
                <a:gd name="T111" fmla="*/ 372 h 2648"/>
                <a:gd name="T112" fmla="*/ 1304 w 1495"/>
                <a:gd name="T113" fmla="*/ 285 h 2648"/>
                <a:gd name="T114" fmla="*/ 1241 w 1495"/>
                <a:gd name="T115" fmla="*/ 174 h 2648"/>
                <a:gd name="T116" fmla="*/ 1225 w 1495"/>
                <a:gd name="T117" fmla="*/ 95 h 2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5" h="2648">
                  <a:moveTo>
                    <a:pt x="1217" y="0"/>
                  </a:moveTo>
                  <a:lnTo>
                    <a:pt x="1217" y="0"/>
                  </a:lnTo>
                  <a:cubicBezTo>
                    <a:pt x="1043" y="24"/>
                    <a:pt x="435" y="71"/>
                    <a:pt x="245" y="87"/>
                  </a:cubicBezTo>
                  <a:cubicBezTo>
                    <a:pt x="245" y="95"/>
                    <a:pt x="245" y="95"/>
                    <a:pt x="245" y="95"/>
                  </a:cubicBezTo>
                  <a:lnTo>
                    <a:pt x="245" y="95"/>
                  </a:lnTo>
                  <a:lnTo>
                    <a:pt x="245" y="95"/>
                  </a:lnTo>
                  <a:lnTo>
                    <a:pt x="245" y="95"/>
                  </a:lnTo>
                  <a:cubicBezTo>
                    <a:pt x="253" y="103"/>
                    <a:pt x="269" y="119"/>
                    <a:pt x="284" y="135"/>
                  </a:cubicBezTo>
                  <a:cubicBezTo>
                    <a:pt x="308" y="158"/>
                    <a:pt x="340" y="182"/>
                    <a:pt x="340" y="206"/>
                  </a:cubicBezTo>
                  <a:cubicBezTo>
                    <a:pt x="340" y="230"/>
                    <a:pt x="364" y="237"/>
                    <a:pt x="387" y="253"/>
                  </a:cubicBezTo>
                  <a:cubicBezTo>
                    <a:pt x="395" y="253"/>
                    <a:pt x="411" y="261"/>
                    <a:pt x="419" y="269"/>
                  </a:cubicBezTo>
                  <a:lnTo>
                    <a:pt x="419" y="269"/>
                  </a:lnTo>
                  <a:cubicBezTo>
                    <a:pt x="435" y="301"/>
                    <a:pt x="442" y="372"/>
                    <a:pt x="419" y="403"/>
                  </a:cubicBezTo>
                  <a:cubicBezTo>
                    <a:pt x="419" y="419"/>
                    <a:pt x="403" y="427"/>
                    <a:pt x="395" y="435"/>
                  </a:cubicBezTo>
                  <a:cubicBezTo>
                    <a:pt x="387" y="443"/>
                    <a:pt x="371" y="451"/>
                    <a:pt x="371" y="490"/>
                  </a:cubicBezTo>
                  <a:cubicBezTo>
                    <a:pt x="371" y="530"/>
                    <a:pt x="355" y="546"/>
                    <a:pt x="332" y="554"/>
                  </a:cubicBezTo>
                  <a:cubicBezTo>
                    <a:pt x="324" y="554"/>
                    <a:pt x="316" y="554"/>
                    <a:pt x="316" y="561"/>
                  </a:cubicBezTo>
                  <a:cubicBezTo>
                    <a:pt x="300" y="570"/>
                    <a:pt x="292" y="570"/>
                    <a:pt x="284" y="570"/>
                  </a:cubicBezTo>
                  <a:cubicBezTo>
                    <a:pt x="269" y="577"/>
                    <a:pt x="261" y="585"/>
                    <a:pt x="245" y="601"/>
                  </a:cubicBezTo>
                  <a:cubicBezTo>
                    <a:pt x="229" y="609"/>
                    <a:pt x="213" y="617"/>
                    <a:pt x="197" y="617"/>
                  </a:cubicBezTo>
                  <a:lnTo>
                    <a:pt x="197" y="617"/>
                  </a:lnTo>
                  <a:cubicBezTo>
                    <a:pt x="197" y="617"/>
                    <a:pt x="189" y="609"/>
                    <a:pt x="182" y="609"/>
                  </a:cubicBezTo>
                  <a:lnTo>
                    <a:pt x="182" y="609"/>
                  </a:lnTo>
                  <a:cubicBezTo>
                    <a:pt x="174" y="609"/>
                    <a:pt x="166" y="609"/>
                    <a:pt x="158" y="609"/>
                  </a:cubicBezTo>
                  <a:cubicBezTo>
                    <a:pt x="142" y="609"/>
                    <a:pt x="134" y="609"/>
                    <a:pt x="134" y="617"/>
                  </a:cubicBezTo>
                  <a:cubicBezTo>
                    <a:pt x="126" y="617"/>
                    <a:pt x="118" y="617"/>
                    <a:pt x="118" y="625"/>
                  </a:cubicBezTo>
                  <a:cubicBezTo>
                    <a:pt x="111" y="625"/>
                    <a:pt x="111" y="633"/>
                    <a:pt x="111" y="633"/>
                  </a:cubicBezTo>
                  <a:cubicBezTo>
                    <a:pt x="111" y="648"/>
                    <a:pt x="118" y="656"/>
                    <a:pt x="118" y="672"/>
                  </a:cubicBezTo>
                  <a:cubicBezTo>
                    <a:pt x="126" y="680"/>
                    <a:pt x="126" y="696"/>
                    <a:pt x="126" y="704"/>
                  </a:cubicBezTo>
                  <a:cubicBezTo>
                    <a:pt x="126" y="720"/>
                    <a:pt x="134" y="728"/>
                    <a:pt x="150" y="735"/>
                  </a:cubicBezTo>
                  <a:cubicBezTo>
                    <a:pt x="158" y="743"/>
                    <a:pt x="174" y="751"/>
                    <a:pt x="174" y="759"/>
                  </a:cubicBezTo>
                  <a:cubicBezTo>
                    <a:pt x="174" y="767"/>
                    <a:pt x="174" y="767"/>
                    <a:pt x="174" y="775"/>
                  </a:cubicBezTo>
                  <a:cubicBezTo>
                    <a:pt x="174" y="807"/>
                    <a:pt x="158" y="862"/>
                    <a:pt x="134" y="870"/>
                  </a:cubicBezTo>
                  <a:cubicBezTo>
                    <a:pt x="126" y="878"/>
                    <a:pt x="126" y="878"/>
                    <a:pt x="126" y="886"/>
                  </a:cubicBezTo>
                  <a:lnTo>
                    <a:pt x="126" y="894"/>
                  </a:lnTo>
                  <a:cubicBezTo>
                    <a:pt x="126" y="901"/>
                    <a:pt x="134" y="917"/>
                    <a:pt x="134" y="933"/>
                  </a:cubicBezTo>
                  <a:lnTo>
                    <a:pt x="134" y="933"/>
                  </a:lnTo>
                  <a:lnTo>
                    <a:pt x="134" y="933"/>
                  </a:lnTo>
                  <a:cubicBezTo>
                    <a:pt x="134" y="965"/>
                    <a:pt x="79" y="988"/>
                    <a:pt x="47" y="1004"/>
                  </a:cubicBezTo>
                  <a:cubicBezTo>
                    <a:pt x="39" y="1004"/>
                    <a:pt x="31" y="1012"/>
                    <a:pt x="24" y="1012"/>
                  </a:cubicBezTo>
                  <a:cubicBezTo>
                    <a:pt x="15" y="1020"/>
                    <a:pt x="15" y="1020"/>
                    <a:pt x="15" y="1020"/>
                  </a:cubicBezTo>
                  <a:lnTo>
                    <a:pt x="15" y="1020"/>
                  </a:lnTo>
                  <a:cubicBezTo>
                    <a:pt x="15" y="1020"/>
                    <a:pt x="15" y="1028"/>
                    <a:pt x="24" y="1028"/>
                  </a:cubicBezTo>
                  <a:cubicBezTo>
                    <a:pt x="24" y="1036"/>
                    <a:pt x="31" y="1036"/>
                    <a:pt x="31" y="1044"/>
                  </a:cubicBezTo>
                  <a:cubicBezTo>
                    <a:pt x="39" y="1052"/>
                    <a:pt x="39" y="1060"/>
                    <a:pt x="39" y="1067"/>
                  </a:cubicBezTo>
                  <a:cubicBezTo>
                    <a:pt x="39" y="1075"/>
                    <a:pt x="31" y="1091"/>
                    <a:pt x="15" y="1107"/>
                  </a:cubicBezTo>
                  <a:cubicBezTo>
                    <a:pt x="15" y="1115"/>
                    <a:pt x="15" y="1115"/>
                    <a:pt x="15" y="1115"/>
                  </a:cubicBezTo>
                  <a:lnTo>
                    <a:pt x="15" y="1115"/>
                  </a:lnTo>
                  <a:cubicBezTo>
                    <a:pt x="0" y="1147"/>
                    <a:pt x="8" y="1265"/>
                    <a:pt x="15" y="1320"/>
                  </a:cubicBezTo>
                  <a:cubicBezTo>
                    <a:pt x="15" y="1344"/>
                    <a:pt x="55" y="1384"/>
                    <a:pt x="95" y="1423"/>
                  </a:cubicBezTo>
                  <a:cubicBezTo>
                    <a:pt x="126" y="1455"/>
                    <a:pt x="158" y="1494"/>
                    <a:pt x="166" y="1518"/>
                  </a:cubicBezTo>
                  <a:cubicBezTo>
                    <a:pt x="166" y="1550"/>
                    <a:pt x="229" y="1589"/>
                    <a:pt x="284" y="1605"/>
                  </a:cubicBezTo>
                  <a:cubicBezTo>
                    <a:pt x="300" y="1613"/>
                    <a:pt x="308" y="1645"/>
                    <a:pt x="316" y="1684"/>
                  </a:cubicBezTo>
                  <a:cubicBezTo>
                    <a:pt x="316" y="1708"/>
                    <a:pt x="324" y="1731"/>
                    <a:pt x="332" y="1747"/>
                  </a:cubicBezTo>
                  <a:cubicBezTo>
                    <a:pt x="340" y="1771"/>
                    <a:pt x="348" y="1771"/>
                    <a:pt x="348" y="1771"/>
                  </a:cubicBezTo>
                  <a:cubicBezTo>
                    <a:pt x="355" y="1771"/>
                    <a:pt x="355" y="1771"/>
                    <a:pt x="364" y="1763"/>
                  </a:cubicBezTo>
                  <a:cubicBezTo>
                    <a:pt x="371" y="1763"/>
                    <a:pt x="371" y="1755"/>
                    <a:pt x="379" y="1755"/>
                  </a:cubicBezTo>
                  <a:cubicBezTo>
                    <a:pt x="387" y="1747"/>
                    <a:pt x="395" y="1747"/>
                    <a:pt x="403" y="1747"/>
                  </a:cubicBezTo>
                  <a:cubicBezTo>
                    <a:pt x="419" y="1747"/>
                    <a:pt x="427" y="1755"/>
                    <a:pt x="427" y="1763"/>
                  </a:cubicBezTo>
                  <a:cubicBezTo>
                    <a:pt x="435" y="1771"/>
                    <a:pt x="435" y="1771"/>
                    <a:pt x="442" y="1771"/>
                  </a:cubicBezTo>
                  <a:cubicBezTo>
                    <a:pt x="442" y="1771"/>
                    <a:pt x="450" y="1771"/>
                    <a:pt x="450" y="1763"/>
                  </a:cubicBezTo>
                  <a:cubicBezTo>
                    <a:pt x="450" y="1755"/>
                    <a:pt x="458" y="1747"/>
                    <a:pt x="458" y="1747"/>
                  </a:cubicBezTo>
                  <a:cubicBezTo>
                    <a:pt x="474" y="1747"/>
                    <a:pt x="498" y="1771"/>
                    <a:pt x="522" y="1787"/>
                  </a:cubicBezTo>
                  <a:cubicBezTo>
                    <a:pt x="561" y="1818"/>
                    <a:pt x="522" y="1929"/>
                    <a:pt x="466" y="2016"/>
                  </a:cubicBezTo>
                  <a:cubicBezTo>
                    <a:pt x="427" y="2086"/>
                    <a:pt x="529" y="2157"/>
                    <a:pt x="593" y="2205"/>
                  </a:cubicBezTo>
                  <a:cubicBezTo>
                    <a:pt x="617" y="2228"/>
                    <a:pt x="640" y="2244"/>
                    <a:pt x="648" y="2252"/>
                  </a:cubicBezTo>
                  <a:cubicBezTo>
                    <a:pt x="656" y="2268"/>
                    <a:pt x="672" y="2276"/>
                    <a:pt x="695" y="2284"/>
                  </a:cubicBezTo>
                  <a:cubicBezTo>
                    <a:pt x="711" y="2292"/>
                    <a:pt x="727" y="2300"/>
                    <a:pt x="743" y="2316"/>
                  </a:cubicBezTo>
                  <a:cubicBezTo>
                    <a:pt x="751" y="2323"/>
                    <a:pt x="767" y="2331"/>
                    <a:pt x="775" y="2331"/>
                  </a:cubicBezTo>
                  <a:cubicBezTo>
                    <a:pt x="790" y="2339"/>
                    <a:pt x="806" y="2339"/>
                    <a:pt x="806" y="2355"/>
                  </a:cubicBezTo>
                  <a:cubicBezTo>
                    <a:pt x="806" y="2379"/>
                    <a:pt x="814" y="2394"/>
                    <a:pt x="830" y="2426"/>
                  </a:cubicBezTo>
                  <a:cubicBezTo>
                    <a:pt x="838" y="2434"/>
                    <a:pt x="846" y="2450"/>
                    <a:pt x="854" y="2466"/>
                  </a:cubicBezTo>
                  <a:cubicBezTo>
                    <a:pt x="869" y="2497"/>
                    <a:pt x="861" y="2505"/>
                    <a:pt x="846" y="2513"/>
                  </a:cubicBezTo>
                  <a:cubicBezTo>
                    <a:pt x="838" y="2513"/>
                    <a:pt x="830" y="2521"/>
                    <a:pt x="822" y="2521"/>
                  </a:cubicBezTo>
                  <a:cubicBezTo>
                    <a:pt x="814" y="2537"/>
                    <a:pt x="830" y="2553"/>
                    <a:pt x="846" y="2568"/>
                  </a:cubicBezTo>
                  <a:cubicBezTo>
                    <a:pt x="854" y="2584"/>
                    <a:pt x="869" y="2608"/>
                    <a:pt x="877" y="2624"/>
                  </a:cubicBezTo>
                  <a:cubicBezTo>
                    <a:pt x="885" y="2640"/>
                    <a:pt x="901" y="2647"/>
                    <a:pt x="925" y="2647"/>
                  </a:cubicBezTo>
                  <a:cubicBezTo>
                    <a:pt x="933" y="2647"/>
                    <a:pt x="941" y="2647"/>
                    <a:pt x="948" y="2647"/>
                  </a:cubicBezTo>
                  <a:cubicBezTo>
                    <a:pt x="956" y="2647"/>
                    <a:pt x="956" y="2647"/>
                    <a:pt x="964" y="2647"/>
                  </a:cubicBezTo>
                  <a:lnTo>
                    <a:pt x="964" y="2647"/>
                  </a:lnTo>
                  <a:cubicBezTo>
                    <a:pt x="964" y="2624"/>
                    <a:pt x="972" y="2600"/>
                    <a:pt x="988" y="2584"/>
                  </a:cubicBezTo>
                  <a:cubicBezTo>
                    <a:pt x="1004" y="2568"/>
                    <a:pt x="1028" y="2561"/>
                    <a:pt x="1051" y="2561"/>
                  </a:cubicBezTo>
                  <a:cubicBezTo>
                    <a:pt x="1091" y="2561"/>
                    <a:pt x="1130" y="2576"/>
                    <a:pt x="1146" y="2592"/>
                  </a:cubicBezTo>
                  <a:cubicBezTo>
                    <a:pt x="1154" y="2600"/>
                    <a:pt x="1170" y="2600"/>
                    <a:pt x="1178" y="2600"/>
                  </a:cubicBezTo>
                  <a:cubicBezTo>
                    <a:pt x="1201" y="2600"/>
                    <a:pt x="1217" y="2576"/>
                    <a:pt x="1217" y="2553"/>
                  </a:cubicBezTo>
                  <a:cubicBezTo>
                    <a:pt x="1225" y="2545"/>
                    <a:pt x="1217" y="2537"/>
                    <a:pt x="1209" y="2521"/>
                  </a:cubicBezTo>
                  <a:cubicBezTo>
                    <a:pt x="1201" y="2505"/>
                    <a:pt x="1194" y="2489"/>
                    <a:pt x="1186" y="2458"/>
                  </a:cubicBezTo>
                  <a:cubicBezTo>
                    <a:pt x="1186" y="2450"/>
                    <a:pt x="1186" y="2442"/>
                    <a:pt x="1194" y="2434"/>
                  </a:cubicBezTo>
                  <a:cubicBezTo>
                    <a:pt x="1209" y="2403"/>
                    <a:pt x="1272" y="2394"/>
                    <a:pt x="1312" y="2387"/>
                  </a:cubicBezTo>
                  <a:cubicBezTo>
                    <a:pt x="1328" y="2387"/>
                    <a:pt x="1336" y="2387"/>
                    <a:pt x="1344" y="2387"/>
                  </a:cubicBezTo>
                  <a:cubicBezTo>
                    <a:pt x="1344" y="2379"/>
                    <a:pt x="1344" y="2379"/>
                    <a:pt x="1344" y="2379"/>
                  </a:cubicBezTo>
                  <a:cubicBezTo>
                    <a:pt x="1344" y="2371"/>
                    <a:pt x="1336" y="2355"/>
                    <a:pt x="1320" y="2339"/>
                  </a:cubicBezTo>
                  <a:cubicBezTo>
                    <a:pt x="1312" y="2339"/>
                    <a:pt x="1312" y="2339"/>
                    <a:pt x="1312" y="2339"/>
                  </a:cubicBezTo>
                  <a:cubicBezTo>
                    <a:pt x="1296" y="2323"/>
                    <a:pt x="1312" y="2308"/>
                    <a:pt x="1320" y="2292"/>
                  </a:cubicBezTo>
                  <a:cubicBezTo>
                    <a:pt x="1328" y="2284"/>
                    <a:pt x="1328" y="2284"/>
                    <a:pt x="1336" y="2276"/>
                  </a:cubicBezTo>
                  <a:cubicBezTo>
                    <a:pt x="1344" y="2268"/>
                    <a:pt x="1336" y="2252"/>
                    <a:pt x="1336" y="2236"/>
                  </a:cubicBezTo>
                  <a:cubicBezTo>
                    <a:pt x="1328" y="2228"/>
                    <a:pt x="1328" y="2213"/>
                    <a:pt x="1328" y="2197"/>
                  </a:cubicBezTo>
                  <a:cubicBezTo>
                    <a:pt x="1328" y="2165"/>
                    <a:pt x="1328" y="2150"/>
                    <a:pt x="1336" y="2126"/>
                  </a:cubicBezTo>
                  <a:cubicBezTo>
                    <a:pt x="1352" y="2110"/>
                    <a:pt x="1352" y="2078"/>
                    <a:pt x="1352" y="2070"/>
                  </a:cubicBezTo>
                  <a:lnTo>
                    <a:pt x="1352" y="2063"/>
                  </a:lnTo>
                  <a:cubicBezTo>
                    <a:pt x="1344" y="2047"/>
                    <a:pt x="1336" y="2008"/>
                    <a:pt x="1367" y="2000"/>
                  </a:cubicBezTo>
                  <a:cubicBezTo>
                    <a:pt x="1391" y="1992"/>
                    <a:pt x="1447" y="1890"/>
                    <a:pt x="1447" y="1874"/>
                  </a:cubicBezTo>
                  <a:cubicBezTo>
                    <a:pt x="1447" y="1850"/>
                    <a:pt x="1462" y="1826"/>
                    <a:pt x="1486" y="1811"/>
                  </a:cubicBezTo>
                  <a:cubicBezTo>
                    <a:pt x="1494" y="1811"/>
                    <a:pt x="1494" y="1795"/>
                    <a:pt x="1494" y="1787"/>
                  </a:cubicBezTo>
                  <a:cubicBezTo>
                    <a:pt x="1494" y="1771"/>
                    <a:pt x="1486" y="1747"/>
                    <a:pt x="1478" y="1739"/>
                  </a:cubicBezTo>
                  <a:cubicBezTo>
                    <a:pt x="1462" y="1731"/>
                    <a:pt x="1462" y="1716"/>
                    <a:pt x="1462" y="1668"/>
                  </a:cubicBezTo>
                  <a:cubicBezTo>
                    <a:pt x="1462" y="1660"/>
                    <a:pt x="1462" y="1660"/>
                    <a:pt x="1462" y="1660"/>
                  </a:cubicBezTo>
                  <a:cubicBezTo>
                    <a:pt x="1462" y="1629"/>
                    <a:pt x="1454" y="1629"/>
                    <a:pt x="1447" y="1621"/>
                  </a:cubicBezTo>
                  <a:cubicBezTo>
                    <a:pt x="1439" y="1621"/>
                    <a:pt x="1431" y="1613"/>
                    <a:pt x="1423" y="1605"/>
                  </a:cubicBezTo>
                  <a:cubicBezTo>
                    <a:pt x="1407" y="1573"/>
                    <a:pt x="1423" y="1534"/>
                    <a:pt x="1439" y="1510"/>
                  </a:cubicBezTo>
                  <a:cubicBezTo>
                    <a:pt x="1447" y="1502"/>
                    <a:pt x="1454" y="1439"/>
                    <a:pt x="1454" y="1415"/>
                  </a:cubicBezTo>
                  <a:cubicBezTo>
                    <a:pt x="1352" y="372"/>
                    <a:pt x="1352" y="372"/>
                    <a:pt x="1352" y="372"/>
                  </a:cubicBezTo>
                  <a:cubicBezTo>
                    <a:pt x="1336" y="364"/>
                    <a:pt x="1328" y="348"/>
                    <a:pt x="1320" y="332"/>
                  </a:cubicBezTo>
                  <a:cubicBezTo>
                    <a:pt x="1312" y="317"/>
                    <a:pt x="1312" y="301"/>
                    <a:pt x="1304" y="285"/>
                  </a:cubicBezTo>
                  <a:cubicBezTo>
                    <a:pt x="1296" y="253"/>
                    <a:pt x="1288" y="230"/>
                    <a:pt x="1265" y="198"/>
                  </a:cubicBezTo>
                  <a:cubicBezTo>
                    <a:pt x="1257" y="182"/>
                    <a:pt x="1249" y="182"/>
                    <a:pt x="1241" y="174"/>
                  </a:cubicBezTo>
                  <a:cubicBezTo>
                    <a:pt x="1225" y="158"/>
                    <a:pt x="1225" y="150"/>
                    <a:pt x="1225" y="103"/>
                  </a:cubicBezTo>
                  <a:cubicBezTo>
                    <a:pt x="1225" y="95"/>
                    <a:pt x="1225" y="95"/>
                    <a:pt x="1225" y="95"/>
                  </a:cubicBezTo>
                  <a:cubicBezTo>
                    <a:pt x="1225" y="71"/>
                    <a:pt x="1225" y="40"/>
                    <a:pt x="1217" y="0"/>
                  </a:cubicBezTo>
                </a:path>
              </a:pathLst>
            </a:custGeom>
            <a:grpFill/>
            <a:ln>
              <a:solidFill>
                <a:schemeClr val="bg1">
                  <a:lumMod val="95000"/>
                </a:schemeClr>
              </a:solidFill>
            </a:ln>
            <a:effectLst/>
          </p:spPr>
          <p:txBody>
            <a:bodyPr wrap="none" anchor="ctr"/>
            <a:lstStyle/>
            <a:p>
              <a:endParaRPr lang="en-US" sz="900"/>
            </a:p>
          </p:txBody>
        </p:sp>
        <p:sp>
          <p:nvSpPr>
            <p:cNvPr id="83" name="Freeform 705"/>
            <p:cNvSpPr>
              <a:spLocks noChangeArrowheads="1"/>
            </p:cNvSpPr>
            <p:nvPr/>
          </p:nvSpPr>
          <p:spPr bwMode="auto">
            <a:xfrm>
              <a:off x="13231882" y="5266143"/>
              <a:ext cx="224972" cy="538079"/>
            </a:xfrm>
            <a:custGeom>
              <a:avLst/>
              <a:gdLst>
                <a:gd name="T0" fmla="*/ 24 w 428"/>
                <a:gd name="T1" fmla="*/ 972 h 1021"/>
                <a:gd name="T2" fmla="*/ 24 w 428"/>
                <a:gd name="T3" fmla="*/ 972 h 1021"/>
                <a:gd name="T4" fmla="*/ 0 w 428"/>
                <a:gd name="T5" fmla="*/ 1012 h 1021"/>
                <a:gd name="T6" fmla="*/ 0 w 428"/>
                <a:gd name="T7" fmla="*/ 1020 h 1021"/>
                <a:gd name="T8" fmla="*/ 0 w 428"/>
                <a:gd name="T9" fmla="*/ 1020 h 1021"/>
                <a:gd name="T10" fmla="*/ 0 w 428"/>
                <a:gd name="T11" fmla="*/ 1012 h 1021"/>
                <a:gd name="T12" fmla="*/ 24 w 428"/>
                <a:gd name="T13" fmla="*/ 972 h 1021"/>
                <a:gd name="T14" fmla="*/ 404 w 428"/>
                <a:gd name="T15" fmla="*/ 174 h 1021"/>
                <a:gd name="T16" fmla="*/ 404 w 428"/>
                <a:gd name="T17" fmla="*/ 174 h 1021"/>
                <a:gd name="T18" fmla="*/ 404 w 428"/>
                <a:gd name="T19" fmla="*/ 308 h 1021"/>
                <a:gd name="T20" fmla="*/ 380 w 428"/>
                <a:gd name="T21" fmla="*/ 340 h 1021"/>
                <a:gd name="T22" fmla="*/ 356 w 428"/>
                <a:gd name="T23" fmla="*/ 395 h 1021"/>
                <a:gd name="T24" fmla="*/ 317 w 428"/>
                <a:gd name="T25" fmla="*/ 459 h 1021"/>
                <a:gd name="T26" fmla="*/ 301 w 428"/>
                <a:gd name="T27" fmla="*/ 466 h 1021"/>
                <a:gd name="T28" fmla="*/ 269 w 428"/>
                <a:gd name="T29" fmla="*/ 475 h 1021"/>
                <a:gd name="T30" fmla="*/ 230 w 428"/>
                <a:gd name="T31" fmla="*/ 506 h 1021"/>
                <a:gd name="T32" fmla="*/ 182 w 428"/>
                <a:gd name="T33" fmla="*/ 522 h 1021"/>
                <a:gd name="T34" fmla="*/ 182 w 428"/>
                <a:gd name="T35" fmla="*/ 522 h 1021"/>
                <a:gd name="T36" fmla="*/ 182 w 428"/>
                <a:gd name="T37" fmla="*/ 522 h 1021"/>
                <a:gd name="T38" fmla="*/ 230 w 428"/>
                <a:gd name="T39" fmla="*/ 506 h 1021"/>
                <a:gd name="T40" fmla="*/ 269 w 428"/>
                <a:gd name="T41" fmla="*/ 475 h 1021"/>
                <a:gd name="T42" fmla="*/ 301 w 428"/>
                <a:gd name="T43" fmla="*/ 466 h 1021"/>
                <a:gd name="T44" fmla="*/ 317 w 428"/>
                <a:gd name="T45" fmla="*/ 459 h 1021"/>
                <a:gd name="T46" fmla="*/ 356 w 428"/>
                <a:gd name="T47" fmla="*/ 395 h 1021"/>
                <a:gd name="T48" fmla="*/ 380 w 428"/>
                <a:gd name="T49" fmla="*/ 340 h 1021"/>
                <a:gd name="T50" fmla="*/ 404 w 428"/>
                <a:gd name="T51" fmla="*/ 308 h 1021"/>
                <a:gd name="T52" fmla="*/ 404 w 428"/>
                <a:gd name="T53" fmla="*/ 174 h 1021"/>
                <a:gd name="T54" fmla="*/ 230 w 428"/>
                <a:gd name="T55" fmla="*/ 0 h 1021"/>
                <a:gd name="T56" fmla="*/ 230 w 428"/>
                <a:gd name="T57" fmla="*/ 0 h 1021"/>
                <a:gd name="T58" fmla="*/ 230 w 428"/>
                <a:gd name="T59" fmla="*/ 0 h 1021"/>
                <a:gd name="T60" fmla="*/ 230 w 428"/>
                <a:gd name="T61" fmla="*/ 0 h 1021"/>
                <a:gd name="T62" fmla="*/ 230 w 428"/>
                <a:gd name="T63" fmla="*/ 0 h 1021"/>
                <a:gd name="T64" fmla="*/ 230 w 428"/>
                <a:gd name="T65" fmla="*/ 0 h 1021"/>
                <a:gd name="T66" fmla="*/ 24 w 428"/>
                <a:gd name="T6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8" h="1021">
                  <a:moveTo>
                    <a:pt x="24" y="972"/>
                  </a:moveTo>
                  <a:lnTo>
                    <a:pt x="24" y="972"/>
                  </a:lnTo>
                  <a:cubicBezTo>
                    <a:pt x="24" y="980"/>
                    <a:pt x="16" y="996"/>
                    <a:pt x="0" y="1012"/>
                  </a:cubicBezTo>
                  <a:cubicBezTo>
                    <a:pt x="0" y="1020"/>
                    <a:pt x="0" y="1020"/>
                    <a:pt x="0" y="1020"/>
                  </a:cubicBezTo>
                  <a:lnTo>
                    <a:pt x="0" y="1020"/>
                  </a:lnTo>
                  <a:cubicBezTo>
                    <a:pt x="0" y="1012"/>
                    <a:pt x="0" y="1012"/>
                    <a:pt x="0" y="1012"/>
                  </a:cubicBezTo>
                  <a:cubicBezTo>
                    <a:pt x="16" y="996"/>
                    <a:pt x="24" y="980"/>
                    <a:pt x="24" y="972"/>
                  </a:cubicBezTo>
                  <a:lnTo>
                    <a:pt x="404" y="174"/>
                  </a:lnTo>
                  <a:lnTo>
                    <a:pt x="404" y="174"/>
                  </a:lnTo>
                  <a:cubicBezTo>
                    <a:pt x="420" y="206"/>
                    <a:pt x="427" y="277"/>
                    <a:pt x="404" y="308"/>
                  </a:cubicBezTo>
                  <a:cubicBezTo>
                    <a:pt x="404" y="324"/>
                    <a:pt x="388" y="332"/>
                    <a:pt x="380" y="340"/>
                  </a:cubicBezTo>
                  <a:cubicBezTo>
                    <a:pt x="372" y="348"/>
                    <a:pt x="356" y="356"/>
                    <a:pt x="356" y="395"/>
                  </a:cubicBezTo>
                  <a:cubicBezTo>
                    <a:pt x="356" y="435"/>
                    <a:pt x="340" y="451"/>
                    <a:pt x="317" y="459"/>
                  </a:cubicBezTo>
                  <a:cubicBezTo>
                    <a:pt x="309" y="459"/>
                    <a:pt x="301" y="459"/>
                    <a:pt x="301" y="466"/>
                  </a:cubicBezTo>
                  <a:cubicBezTo>
                    <a:pt x="285" y="475"/>
                    <a:pt x="277" y="475"/>
                    <a:pt x="269" y="475"/>
                  </a:cubicBezTo>
                  <a:cubicBezTo>
                    <a:pt x="254" y="482"/>
                    <a:pt x="246" y="490"/>
                    <a:pt x="230" y="506"/>
                  </a:cubicBezTo>
                  <a:cubicBezTo>
                    <a:pt x="214" y="514"/>
                    <a:pt x="198" y="522"/>
                    <a:pt x="182" y="522"/>
                  </a:cubicBezTo>
                  <a:lnTo>
                    <a:pt x="182" y="522"/>
                  </a:lnTo>
                  <a:lnTo>
                    <a:pt x="182" y="522"/>
                  </a:lnTo>
                  <a:cubicBezTo>
                    <a:pt x="198" y="522"/>
                    <a:pt x="214" y="514"/>
                    <a:pt x="230" y="506"/>
                  </a:cubicBezTo>
                  <a:cubicBezTo>
                    <a:pt x="246" y="490"/>
                    <a:pt x="254" y="482"/>
                    <a:pt x="269" y="475"/>
                  </a:cubicBezTo>
                  <a:cubicBezTo>
                    <a:pt x="277" y="475"/>
                    <a:pt x="285" y="475"/>
                    <a:pt x="301" y="466"/>
                  </a:cubicBezTo>
                  <a:cubicBezTo>
                    <a:pt x="301" y="459"/>
                    <a:pt x="309" y="459"/>
                    <a:pt x="317" y="459"/>
                  </a:cubicBezTo>
                  <a:cubicBezTo>
                    <a:pt x="340" y="451"/>
                    <a:pt x="356" y="435"/>
                    <a:pt x="356" y="395"/>
                  </a:cubicBezTo>
                  <a:cubicBezTo>
                    <a:pt x="356" y="356"/>
                    <a:pt x="372" y="348"/>
                    <a:pt x="380" y="340"/>
                  </a:cubicBezTo>
                  <a:cubicBezTo>
                    <a:pt x="388" y="332"/>
                    <a:pt x="404" y="324"/>
                    <a:pt x="404" y="308"/>
                  </a:cubicBezTo>
                  <a:cubicBezTo>
                    <a:pt x="427" y="277"/>
                    <a:pt x="420" y="206"/>
                    <a:pt x="404" y="174"/>
                  </a:cubicBezTo>
                  <a:lnTo>
                    <a:pt x="230" y="0"/>
                  </a:lnTo>
                  <a:lnTo>
                    <a:pt x="230" y="0"/>
                  </a:lnTo>
                  <a:lnTo>
                    <a:pt x="230" y="0"/>
                  </a:lnTo>
                  <a:lnTo>
                    <a:pt x="230" y="0"/>
                  </a:lnTo>
                  <a:lnTo>
                    <a:pt x="230" y="0"/>
                  </a:lnTo>
                  <a:lnTo>
                    <a:pt x="230" y="0"/>
                  </a:lnTo>
                  <a:lnTo>
                    <a:pt x="24" y="972"/>
                  </a:lnTo>
                </a:path>
              </a:pathLst>
            </a:custGeom>
            <a:grpFill/>
            <a:ln>
              <a:solidFill>
                <a:schemeClr val="bg1">
                  <a:lumMod val="95000"/>
                </a:schemeClr>
              </a:solidFill>
            </a:ln>
            <a:effectLst/>
          </p:spPr>
          <p:txBody>
            <a:bodyPr wrap="none" anchor="ctr"/>
            <a:lstStyle/>
            <a:p>
              <a:endParaRPr lang="en-US" sz="900"/>
            </a:p>
          </p:txBody>
        </p:sp>
        <p:sp>
          <p:nvSpPr>
            <p:cNvPr id="84" name="Freeform 706"/>
            <p:cNvSpPr>
              <a:spLocks noChangeArrowheads="1"/>
            </p:cNvSpPr>
            <p:nvPr/>
          </p:nvSpPr>
          <p:spPr bwMode="auto">
            <a:xfrm>
              <a:off x="13224923" y="5212798"/>
              <a:ext cx="790884" cy="1405499"/>
            </a:xfrm>
            <a:custGeom>
              <a:avLst/>
              <a:gdLst>
                <a:gd name="T0" fmla="*/ 197 w 1503"/>
                <a:gd name="T1" fmla="*/ 625 h 2672"/>
                <a:gd name="T2" fmla="*/ 1225 w 1503"/>
                <a:gd name="T3" fmla="*/ 8 h 2672"/>
                <a:gd name="T4" fmla="*/ 245 w 1503"/>
                <a:gd name="T5" fmla="*/ 103 h 2672"/>
                <a:gd name="T6" fmla="*/ 1225 w 1503"/>
                <a:gd name="T7" fmla="*/ 103 h 2672"/>
                <a:gd name="T8" fmla="*/ 1265 w 1503"/>
                <a:gd name="T9" fmla="*/ 206 h 2672"/>
                <a:gd name="T10" fmla="*/ 1352 w 1503"/>
                <a:gd name="T11" fmla="*/ 380 h 2672"/>
                <a:gd name="T12" fmla="*/ 1423 w 1503"/>
                <a:gd name="T13" fmla="*/ 1613 h 2672"/>
                <a:gd name="T14" fmla="*/ 1462 w 1503"/>
                <a:gd name="T15" fmla="*/ 1676 h 2672"/>
                <a:gd name="T16" fmla="*/ 1486 w 1503"/>
                <a:gd name="T17" fmla="*/ 1819 h 2672"/>
                <a:gd name="T18" fmla="*/ 1352 w 1503"/>
                <a:gd name="T19" fmla="*/ 2071 h 2672"/>
                <a:gd name="T20" fmla="*/ 1328 w 1503"/>
                <a:gd name="T21" fmla="*/ 2205 h 2672"/>
                <a:gd name="T22" fmla="*/ 1320 w 1503"/>
                <a:gd name="T23" fmla="*/ 2300 h 2672"/>
                <a:gd name="T24" fmla="*/ 1344 w 1503"/>
                <a:gd name="T25" fmla="*/ 2387 h 2672"/>
                <a:gd name="T26" fmla="*/ 1194 w 1503"/>
                <a:gd name="T27" fmla="*/ 2442 h 2672"/>
                <a:gd name="T28" fmla="*/ 1217 w 1503"/>
                <a:gd name="T29" fmla="*/ 2561 h 2672"/>
                <a:gd name="T30" fmla="*/ 1051 w 1503"/>
                <a:gd name="T31" fmla="*/ 2569 h 2672"/>
                <a:gd name="T32" fmla="*/ 964 w 1503"/>
                <a:gd name="T33" fmla="*/ 2655 h 2672"/>
                <a:gd name="T34" fmla="*/ 877 w 1503"/>
                <a:gd name="T35" fmla="*/ 2632 h 2672"/>
                <a:gd name="T36" fmla="*/ 846 w 1503"/>
                <a:gd name="T37" fmla="*/ 2521 h 2672"/>
                <a:gd name="T38" fmla="*/ 806 w 1503"/>
                <a:gd name="T39" fmla="*/ 2363 h 2672"/>
                <a:gd name="T40" fmla="*/ 695 w 1503"/>
                <a:gd name="T41" fmla="*/ 2292 h 2672"/>
                <a:gd name="T42" fmla="*/ 466 w 1503"/>
                <a:gd name="T43" fmla="*/ 2024 h 2672"/>
                <a:gd name="T44" fmla="*/ 450 w 1503"/>
                <a:gd name="T45" fmla="*/ 1771 h 2672"/>
                <a:gd name="T46" fmla="*/ 403 w 1503"/>
                <a:gd name="T47" fmla="*/ 1755 h 2672"/>
                <a:gd name="T48" fmla="*/ 348 w 1503"/>
                <a:gd name="T49" fmla="*/ 1779 h 2672"/>
                <a:gd name="T50" fmla="*/ 284 w 1503"/>
                <a:gd name="T51" fmla="*/ 1613 h 2672"/>
                <a:gd name="T52" fmla="*/ 15 w 1503"/>
                <a:gd name="T53" fmla="*/ 1328 h 2672"/>
                <a:gd name="T54" fmla="*/ 15 w 1503"/>
                <a:gd name="T55" fmla="*/ 1123 h 2672"/>
                <a:gd name="T56" fmla="*/ 284 w 1503"/>
                <a:gd name="T57" fmla="*/ 1621 h 2672"/>
                <a:gd name="T58" fmla="*/ 379 w 1503"/>
                <a:gd name="T59" fmla="*/ 1763 h 2672"/>
                <a:gd name="T60" fmla="*/ 442 w 1503"/>
                <a:gd name="T61" fmla="*/ 1787 h 2672"/>
                <a:gd name="T62" fmla="*/ 522 w 1503"/>
                <a:gd name="T63" fmla="*/ 1795 h 2672"/>
                <a:gd name="T64" fmla="*/ 735 w 1503"/>
                <a:gd name="T65" fmla="*/ 2324 h 2672"/>
                <a:gd name="T66" fmla="*/ 822 w 1503"/>
                <a:gd name="T67" fmla="*/ 2529 h 2672"/>
                <a:gd name="T68" fmla="*/ 948 w 1503"/>
                <a:gd name="T69" fmla="*/ 2663 h 2672"/>
                <a:gd name="T70" fmla="*/ 972 w 1503"/>
                <a:gd name="T71" fmla="*/ 2671 h 2672"/>
                <a:gd name="T72" fmla="*/ 1051 w 1503"/>
                <a:gd name="T73" fmla="*/ 2576 h 2672"/>
                <a:gd name="T74" fmla="*/ 1225 w 1503"/>
                <a:gd name="T75" fmla="*/ 2569 h 2672"/>
                <a:gd name="T76" fmla="*/ 1201 w 1503"/>
                <a:gd name="T77" fmla="*/ 2442 h 2672"/>
                <a:gd name="T78" fmla="*/ 1352 w 1503"/>
                <a:gd name="T79" fmla="*/ 2387 h 2672"/>
                <a:gd name="T80" fmla="*/ 1328 w 1503"/>
                <a:gd name="T81" fmla="*/ 2308 h 2672"/>
                <a:gd name="T82" fmla="*/ 1336 w 1503"/>
                <a:gd name="T83" fmla="*/ 2205 h 2672"/>
                <a:gd name="T84" fmla="*/ 1360 w 1503"/>
                <a:gd name="T85" fmla="*/ 2071 h 2672"/>
                <a:gd name="T86" fmla="*/ 1486 w 1503"/>
                <a:gd name="T87" fmla="*/ 1826 h 2672"/>
                <a:gd name="T88" fmla="*/ 1470 w 1503"/>
                <a:gd name="T89" fmla="*/ 1676 h 2672"/>
                <a:gd name="T90" fmla="*/ 1431 w 1503"/>
                <a:gd name="T91" fmla="*/ 1605 h 2672"/>
                <a:gd name="T92" fmla="*/ 1360 w 1503"/>
                <a:gd name="T93" fmla="*/ 380 h 2672"/>
                <a:gd name="T94" fmla="*/ 1328 w 1503"/>
                <a:gd name="T95" fmla="*/ 340 h 2672"/>
                <a:gd name="T96" fmla="*/ 1249 w 1503"/>
                <a:gd name="T97" fmla="*/ 174 h 2672"/>
                <a:gd name="T98" fmla="*/ 1225 w 1503"/>
                <a:gd name="T99" fmla="*/ 8 h 2672"/>
                <a:gd name="T100" fmla="*/ 1225 w 1503"/>
                <a:gd name="T101" fmla="*/ 0 h 2672"/>
                <a:gd name="T102" fmla="*/ 1225 w 1503"/>
                <a:gd name="T103" fmla="*/ 0 h 2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3" h="2672">
                  <a:moveTo>
                    <a:pt x="182" y="617"/>
                  </a:moveTo>
                  <a:lnTo>
                    <a:pt x="182" y="617"/>
                  </a:lnTo>
                  <a:cubicBezTo>
                    <a:pt x="189" y="617"/>
                    <a:pt x="197" y="625"/>
                    <a:pt x="197" y="625"/>
                  </a:cubicBezTo>
                  <a:cubicBezTo>
                    <a:pt x="197" y="625"/>
                    <a:pt x="189" y="617"/>
                    <a:pt x="182" y="617"/>
                  </a:cubicBezTo>
                  <a:lnTo>
                    <a:pt x="1225" y="8"/>
                  </a:lnTo>
                  <a:lnTo>
                    <a:pt x="1225" y="8"/>
                  </a:lnTo>
                  <a:lnTo>
                    <a:pt x="1225" y="8"/>
                  </a:lnTo>
                  <a:cubicBezTo>
                    <a:pt x="1051" y="32"/>
                    <a:pt x="435" y="79"/>
                    <a:pt x="245" y="95"/>
                  </a:cubicBezTo>
                  <a:cubicBezTo>
                    <a:pt x="245" y="95"/>
                    <a:pt x="245" y="95"/>
                    <a:pt x="245" y="103"/>
                  </a:cubicBezTo>
                  <a:cubicBezTo>
                    <a:pt x="245" y="95"/>
                    <a:pt x="245" y="95"/>
                    <a:pt x="245" y="95"/>
                  </a:cubicBezTo>
                  <a:cubicBezTo>
                    <a:pt x="435" y="79"/>
                    <a:pt x="1043" y="32"/>
                    <a:pt x="1217" y="8"/>
                  </a:cubicBezTo>
                  <a:cubicBezTo>
                    <a:pt x="1225" y="48"/>
                    <a:pt x="1225" y="79"/>
                    <a:pt x="1225" y="103"/>
                  </a:cubicBezTo>
                  <a:cubicBezTo>
                    <a:pt x="1225" y="111"/>
                    <a:pt x="1225" y="111"/>
                    <a:pt x="1225" y="111"/>
                  </a:cubicBezTo>
                  <a:cubicBezTo>
                    <a:pt x="1225" y="158"/>
                    <a:pt x="1225" y="166"/>
                    <a:pt x="1241" y="182"/>
                  </a:cubicBezTo>
                  <a:cubicBezTo>
                    <a:pt x="1249" y="190"/>
                    <a:pt x="1257" y="190"/>
                    <a:pt x="1265" y="206"/>
                  </a:cubicBezTo>
                  <a:cubicBezTo>
                    <a:pt x="1288" y="238"/>
                    <a:pt x="1296" y="261"/>
                    <a:pt x="1304" y="293"/>
                  </a:cubicBezTo>
                  <a:cubicBezTo>
                    <a:pt x="1312" y="309"/>
                    <a:pt x="1312" y="325"/>
                    <a:pt x="1320" y="340"/>
                  </a:cubicBezTo>
                  <a:cubicBezTo>
                    <a:pt x="1328" y="356"/>
                    <a:pt x="1336" y="372"/>
                    <a:pt x="1352" y="380"/>
                  </a:cubicBezTo>
                  <a:cubicBezTo>
                    <a:pt x="1454" y="1423"/>
                    <a:pt x="1454" y="1423"/>
                    <a:pt x="1454" y="1423"/>
                  </a:cubicBezTo>
                  <a:cubicBezTo>
                    <a:pt x="1454" y="1447"/>
                    <a:pt x="1447" y="1510"/>
                    <a:pt x="1439" y="1518"/>
                  </a:cubicBezTo>
                  <a:cubicBezTo>
                    <a:pt x="1423" y="1542"/>
                    <a:pt x="1407" y="1581"/>
                    <a:pt x="1423" y="1613"/>
                  </a:cubicBezTo>
                  <a:cubicBezTo>
                    <a:pt x="1431" y="1621"/>
                    <a:pt x="1439" y="1629"/>
                    <a:pt x="1447" y="1629"/>
                  </a:cubicBezTo>
                  <a:cubicBezTo>
                    <a:pt x="1454" y="1637"/>
                    <a:pt x="1462" y="1637"/>
                    <a:pt x="1462" y="1668"/>
                  </a:cubicBezTo>
                  <a:cubicBezTo>
                    <a:pt x="1462" y="1676"/>
                    <a:pt x="1462" y="1676"/>
                    <a:pt x="1462" y="1676"/>
                  </a:cubicBezTo>
                  <a:cubicBezTo>
                    <a:pt x="1462" y="1724"/>
                    <a:pt x="1462" y="1739"/>
                    <a:pt x="1478" y="1747"/>
                  </a:cubicBezTo>
                  <a:cubicBezTo>
                    <a:pt x="1486" y="1755"/>
                    <a:pt x="1494" y="1779"/>
                    <a:pt x="1494" y="1795"/>
                  </a:cubicBezTo>
                  <a:cubicBezTo>
                    <a:pt x="1494" y="1803"/>
                    <a:pt x="1494" y="1819"/>
                    <a:pt x="1486" y="1819"/>
                  </a:cubicBezTo>
                  <a:cubicBezTo>
                    <a:pt x="1462" y="1834"/>
                    <a:pt x="1447" y="1858"/>
                    <a:pt x="1447" y="1882"/>
                  </a:cubicBezTo>
                  <a:cubicBezTo>
                    <a:pt x="1447" y="1898"/>
                    <a:pt x="1391" y="2000"/>
                    <a:pt x="1367" y="2008"/>
                  </a:cubicBezTo>
                  <a:cubicBezTo>
                    <a:pt x="1336" y="2016"/>
                    <a:pt x="1344" y="2055"/>
                    <a:pt x="1352" y="2071"/>
                  </a:cubicBezTo>
                  <a:lnTo>
                    <a:pt x="1352" y="2078"/>
                  </a:lnTo>
                  <a:cubicBezTo>
                    <a:pt x="1352" y="2086"/>
                    <a:pt x="1352" y="2118"/>
                    <a:pt x="1336" y="2134"/>
                  </a:cubicBezTo>
                  <a:cubicBezTo>
                    <a:pt x="1328" y="2158"/>
                    <a:pt x="1328" y="2173"/>
                    <a:pt x="1328" y="2205"/>
                  </a:cubicBezTo>
                  <a:cubicBezTo>
                    <a:pt x="1328" y="2221"/>
                    <a:pt x="1328" y="2236"/>
                    <a:pt x="1336" y="2244"/>
                  </a:cubicBezTo>
                  <a:cubicBezTo>
                    <a:pt x="1336" y="2260"/>
                    <a:pt x="1344" y="2276"/>
                    <a:pt x="1336" y="2284"/>
                  </a:cubicBezTo>
                  <a:cubicBezTo>
                    <a:pt x="1328" y="2292"/>
                    <a:pt x="1328" y="2292"/>
                    <a:pt x="1320" y="2300"/>
                  </a:cubicBezTo>
                  <a:cubicBezTo>
                    <a:pt x="1312" y="2316"/>
                    <a:pt x="1296" y="2331"/>
                    <a:pt x="1312" y="2347"/>
                  </a:cubicBezTo>
                  <a:cubicBezTo>
                    <a:pt x="1320" y="2347"/>
                    <a:pt x="1320" y="2347"/>
                    <a:pt x="1320" y="2347"/>
                  </a:cubicBezTo>
                  <a:cubicBezTo>
                    <a:pt x="1336" y="2363"/>
                    <a:pt x="1344" y="2379"/>
                    <a:pt x="1344" y="2387"/>
                  </a:cubicBezTo>
                  <a:cubicBezTo>
                    <a:pt x="1344" y="2387"/>
                    <a:pt x="1344" y="2387"/>
                    <a:pt x="1344" y="2395"/>
                  </a:cubicBezTo>
                  <a:cubicBezTo>
                    <a:pt x="1336" y="2395"/>
                    <a:pt x="1328" y="2395"/>
                    <a:pt x="1312" y="2395"/>
                  </a:cubicBezTo>
                  <a:cubicBezTo>
                    <a:pt x="1272" y="2402"/>
                    <a:pt x="1209" y="2411"/>
                    <a:pt x="1194" y="2442"/>
                  </a:cubicBezTo>
                  <a:cubicBezTo>
                    <a:pt x="1186" y="2450"/>
                    <a:pt x="1186" y="2458"/>
                    <a:pt x="1186" y="2466"/>
                  </a:cubicBezTo>
                  <a:cubicBezTo>
                    <a:pt x="1194" y="2497"/>
                    <a:pt x="1201" y="2513"/>
                    <a:pt x="1209" y="2529"/>
                  </a:cubicBezTo>
                  <a:cubicBezTo>
                    <a:pt x="1217" y="2545"/>
                    <a:pt x="1225" y="2553"/>
                    <a:pt x="1217" y="2561"/>
                  </a:cubicBezTo>
                  <a:cubicBezTo>
                    <a:pt x="1217" y="2584"/>
                    <a:pt x="1201" y="2608"/>
                    <a:pt x="1178" y="2608"/>
                  </a:cubicBezTo>
                  <a:cubicBezTo>
                    <a:pt x="1170" y="2608"/>
                    <a:pt x="1154" y="2608"/>
                    <a:pt x="1146" y="2600"/>
                  </a:cubicBezTo>
                  <a:cubicBezTo>
                    <a:pt x="1130" y="2584"/>
                    <a:pt x="1091" y="2569"/>
                    <a:pt x="1051" y="2569"/>
                  </a:cubicBezTo>
                  <a:cubicBezTo>
                    <a:pt x="1028" y="2569"/>
                    <a:pt x="1004" y="2576"/>
                    <a:pt x="988" y="2592"/>
                  </a:cubicBezTo>
                  <a:cubicBezTo>
                    <a:pt x="972" y="2608"/>
                    <a:pt x="964" y="2632"/>
                    <a:pt x="964" y="2655"/>
                  </a:cubicBezTo>
                  <a:lnTo>
                    <a:pt x="964" y="2655"/>
                  </a:lnTo>
                  <a:cubicBezTo>
                    <a:pt x="956" y="2655"/>
                    <a:pt x="956" y="2655"/>
                    <a:pt x="948" y="2655"/>
                  </a:cubicBezTo>
                  <a:cubicBezTo>
                    <a:pt x="941" y="2655"/>
                    <a:pt x="933" y="2655"/>
                    <a:pt x="925" y="2655"/>
                  </a:cubicBezTo>
                  <a:cubicBezTo>
                    <a:pt x="901" y="2655"/>
                    <a:pt x="885" y="2648"/>
                    <a:pt x="877" y="2632"/>
                  </a:cubicBezTo>
                  <a:cubicBezTo>
                    <a:pt x="869" y="2616"/>
                    <a:pt x="854" y="2592"/>
                    <a:pt x="846" y="2576"/>
                  </a:cubicBezTo>
                  <a:cubicBezTo>
                    <a:pt x="830" y="2561"/>
                    <a:pt x="814" y="2545"/>
                    <a:pt x="822" y="2529"/>
                  </a:cubicBezTo>
                  <a:cubicBezTo>
                    <a:pt x="830" y="2529"/>
                    <a:pt x="838" y="2521"/>
                    <a:pt x="846" y="2521"/>
                  </a:cubicBezTo>
                  <a:cubicBezTo>
                    <a:pt x="861" y="2513"/>
                    <a:pt x="869" y="2505"/>
                    <a:pt x="854" y="2474"/>
                  </a:cubicBezTo>
                  <a:cubicBezTo>
                    <a:pt x="846" y="2458"/>
                    <a:pt x="838" y="2442"/>
                    <a:pt x="830" y="2434"/>
                  </a:cubicBezTo>
                  <a:cubicBezTo>
                    <a:pt x="814" y="2402"/>
                    <a:pt x="806" y="2387"/>
                    <a:pt x="806" y="2363"/>
                  </a:cubicBezTo>
                  <a:cubicBezTo>
                    <a:pt x="806" y="2347"/>
                    <a:pt x="790" y="2347"/>
                    <a:pt x="775" y="2339"/>
                  </a:cubicBezTo>
                  <a:cubicBezTo>
                    <a:pt x="767" y="2339"/>
                    <a:pt x="751" y="2331"/>
                    <a:pt x="743" y="2324"/>
                  </a:cubicBezTo>
                  <a:cubicBezTo>
                    <a:pt x="727" y="2308"/>
                    <a:pt x="711" y="2300"/>
                    <a:pt x="695" y="2292"/>
                  </a:cubicBezTo>
                  <a:cubicBezTo>
                    <a:pt x="672" y="2284"/>
                    <a:pt x="656" y="2276"/>
                    <a:pt x="648" y="2260"/>
                  </a:cubicBezTo>
                  <a:cubicBezTo>
                    <a:pt x="640" y="2252"/>
                    <a:pt x="617" y="2236"/>
                    <a:pt x="593" y="2213"/>
                  </a:cubicBezTo>
                  <a:cubicBezTo>
                    <a:pt x="529" y="2165"/>
                    <a:pt x="427" y="2094"/>
                    <a:pt x="466" y="2024"/>
                  </a:cubicBezTo>
                  <a:cubicBezTo>
                    <a:pt x="522" y="1937"/>
                    <a:pt x="561" y="1826"/>
                    <a:pt x="522" y="1795"/>
                  </a:cubicBezTo>
                  <a:cubicBezTo>
                    <a:pt x="498" y="1779"/>
                    <a:pt x="474" y="1755"/>
                    <a:pt x="458" y="1755"/>
                  </a:cubicBezTo>
                  <a:cubicBezTo>
                    <a:pt x="458" y="1755"/>
                    <a:pt x="450" y="1763"/>
                    <a:pt x="450" y="1771"/>
                  </a:cubicBezTo>
                  <a:cubicBezTo>
                    <a:pt x="450" y="1779"/>
                    <a:pt x="442" y="1779"/>
                    <a:pt x="442" y="1779"/>
                  </a:cubicBezTo>
                  <a:cubicBezTo>
                    <a:pt x="435" y="1779"/>
                    <a:pt x="435" y="1779"/>
                    <a:pt x="427" y="1771"/>
                  </a:cubicBezTo>
                  <a:cubicBezTo>
                    <a:pt x="427" y="1763"/>
                    <a:pt x="419" y="1755"/>
                    <a:pt x="403" y="1755"/>
                  </a:cubicBezTo>
                  <a:cubicBezTo>
                    <a:pt x="395" y="1755"/>
                    <a:pt x="387" y="1755"/>
                    <a:pt x="379" y="1763"/>
                  </a:cubicBezTo>
                  <a:cubicBezTo>
                    <a:pt x="371" y="1763"/>
                    <a:pt x="371" y="1771"/>
                    <a:pt x="364" y="1771"/>
                  </a:cubicBezTo>
                  <a:cubicBezTo>
                    <a:pt x="355" y="1779"/>
                    <a:pt x="355" y="1779"/>
                    <a:pt x="348" y="1779"/>
                  </a:cubicBezTo>
                  <a:cubicBezTo>
                    <a:pt x="348" y="1779"/>
                    <a:pt x="340" y="1779"/>
                    <a:pt x="332" y="1755"/>
                  </a:cubicBezTo>
                  <a:cubicBezTo>
                    <a:pt x="324" y="1739"/>
                    <a:pt x="316" y="1716"/>
                    <a:pt x="316" y="1692"/>
                  </a:cubicBezTo>
                  <a:cubicBezTo>
                    <a:pt x="308" y="1653"/>
                    <a:pt x="300" y="1621"/>
                    <a:pt x="284" y="1613"/>
                  </a:cubicBezTo>
                  <a:cubicBezTo>
                    <a:pt x="229" y="1597"/>
                    <a:pt x="166" y="1558"/>
                    <a:pt x="166" y="1526"/>
                  </a:cubicBezTo>
                  <a:cubicBezTo>
                    <a:pt x="158" y="1502"/>
                    <a:pt x="126" y="1463"/>
                    <a:pt x="95" y="1431"/>
                  </a:cubicBezTo>
                  <a:cubicBezTo>
                    <a:pt x="55" y="1392"/>
                    <a:pt x="15" y="1352"/>
                    <a:pt x="15" y="1328"/>
                  </a:cubicBezTo>
                  <a:cubicBezTo>
                    <a:pt x="8" y="1273"/>
                    <a:pt x="0" y="1155"/>
                    <a:pt x="15" y="1123"/>
                  </a:cubicBezTo>
                  <a:lnTo>
                    <a:pt x="15" y="1123"/>
                  </a:lnTo>
                  <a:lnTo>
                    <a:pt x="15" y="1123"/>
                  </a:lnTo>
                  <a:cubicBezTo>
                    <a:pt x="0" y="1155"/>
                    <a:pt x="0" y="1273"/>
                    <a:pt x="8" y="1328"/>
                  </a:cubicBezTo>
                  <a:cubicBezTo>
                    <a:pt x="15" y="1384"/>
                    <a:pt x="158" y="1479"/>
                    <a:pt x="158" y="1526"/>
                  </a:cubicBezTo>
                  <a:cubicBezTo>
                    <a:pt x="166" y="1566"/>
                    <a:pt x="261" y="1613"/>
                    <a:pt x="284" y="1621"/>
                  </a:cubicBezTo>
                  <a:cubicBezTo>
                    <a:pt x="308" y="1629"/>
                    <a:pt x="308" y="1708"/>
                    <a:pt x="324" y="1755"/>
                  </a:cubicBezTo>
                  <a:cubicBezTo>
                    <a:pt x="332" y="1779"/>
                    <a:pt x="340" y="1779"/>
                    <a:pt x="348" y="1779"/>
                  </a:cubicBezTo>
                  <a:cubicBezTo>
                    <a:pt x="355" y="1779"/>
                    <a:pt x="364" y="1771"/>
                    <a:pt x="379" y="1763"/>
                  </a:cubicBezTo>
                  <a:cubicBezTo>
                    <a:pt x="387" y="1763"/>
                    <a:pt x="395" y="1763"/>
                    <a:pt x="403" y="1763"/>
                  </a:cubicBezTo>
                  <a:cubicBezTo>
                    <a:pt x="419" y="1763"/>
                    <a:pt x="419" y="1763"/>
                    <a:pt x="427" y="1771"/>
                  </a:cubicBezTo>
                  <a:cubicBezTo>
                    <a:pt x="427" y="1779"/>
                    <a:pt x="435" y="1787"/>
                    <a:pt x="442" y="1787"/>
                  </a:cubicBezTo>
                  <a:cubicBezTo>
                    <a:pt x="450" y="1787"/>
                    <a:pt x="458" y="1779"/>
                    <a:pt x="458" y="1771"/>
                  </a:cubicBezTo>
                  <a:cubicBezTo>
                    <a:pt x="458" y="1763"/>
                    <a:pt x="458" y="1763"/>
                    <a:pt x="458" y="1763"/>
                  </a:cubicBezTo>
                  <a:cubicBezTo>
                    <a:pt x="474" y="1763"/>
                    <a:pt x="498" y="1779"/>
                    <a:pt x="522" y="1795"/>
                  </a:cubicBezTo>
                  <a:cubicBezTo>
                    <a:pt x="553" y="1826"/>
                    <a:pt x="522" y="1929"/>
                    <a:pt x="458" y="2024"/>
                  </a:cubicBezTo>
                  <a:cubicBezTo>
                    <a:pt x="403" y="2118"/>
                    <a:pt x="624" y="2229"/>
                    <a:pt x="640" y="2260"/>
                  </a:cubicBezTo>
                  <a:cubicBezTo>
                    <a:pt x="656" y="2292"/>
                    <a:pt x="711" y="2292"/>
                    <a:pt x="735" y="2324"/>
                  </a:cubicBezTo>
                  <a:cubicBezTo>
                    <a:pt x="759" y="2355"/>
                    <a:pt x="798" y="2339"/>
                    <a:pt x="798" y="2363"/>
                  </a:cubicBezTo>
                  <a:cubicBezTo>
                    <a:pt x="798" y="2395"/>
                    <a:pt x="830" y="2434"/>
                    <a:pt x="846" y="2474"/>
                  </a:cubicBezTo>
                  <a:cubicBezTo>
                    <a:pt x="869" y="2521"/>
                    <a:pt x="838" y="2505"/>
                    <a:pt x="822" y="2529"/>
                  </a:cubicBezTo>
                  <a:cubicBezTo>
                    <a:pt x="798" y="2553"/>
                    <a:pt x="854" y="2584"/>
                    <a:pt x="877" y="2632"/>
                  </a:cubicBezTo>
                  <a:cubicBezTo>
                    <a:pt x="885" y="2655"/>
                    <a:pt x="909" y="2663"/>
                    <a:pt x="925" y="2663"/>
                  </a:cubicBezTo>
                  <a:cubicBezTo>
                    <a:pt x="933" y="2663"/>
                    <a:pt x="941" y="2663"/>
                    <a:pt x="948" y="2663"/>
                  </a:cubicBezTo>
                  <a:cubicBezTo>
                    <a:pt x="956" y="2663"/>
                    <a:pt x="956" y="2663"/>
                    <a:pt x="964" y="2663"/>
                  </a:cubicBezTo>
                  <a:lnTo>
                    <a:pt x="972" y="2663"/>
                  </a:lnTo>
                  <a:cubicBezTo>
                    <a:pt x="972" y="2663"/>
                    <a:pt x="972" y="2663"/>
                    <a:pt x="972" y="2671"/>
                  </a:cubicBezTo>
                  <a:cubicBezTo>
                    <a:pt x="972" y="2663"/>
                    <a:pt x="972" y="2663"/>
                    <a:pt x="972" y="2663"/>
                  </a:cubicBezTo>
                  <a:cubicBezTo>
                    <a:pt x="972" y="2632"/>
                    <a:pt x="980" y="2616"/>
                    <a:pt x="996" y="2600"/>
                  </a:cubicBezTo>
                  <a:cubicBezTo>
                    <a:pt x="1012" y="2584"/>
                    <a:pt x="1035" y="2576"/>
                    <a:pt x="1051" y="2576"/>
                  </a:cubicBezTo>
                  <a:cubicBezTo>
                    <a:pt x="1091" y="2576"/>
                    <a:pt x="1130" y="2592"/>
                    <a:pt x="1146" y="2608"/>
                  </a:cubicBezTo>
                  <a:cubicBezTo>
                    <a:pt x="1154" y="2616"/>
                    <a:pt x="1162" y="2616"/>
                    <a:pt x="1178" y="2616"/>
                  </a:cubicBezTo>
                  <a:cubicBezTo>
                    <a:pt x="1201" y="2616"/>
                    <a:pt x="1225" y="2584"/>
                    <a:pt x="1225" y="2569"/>
                  </a:cubicBezTo>
                  <a:cubicBezTo>
                    <a:pt x="1233" y="2553"/>
                    <a:pt x="1225" y="2537"/>
                    <a:pt x="1217" y="2521"/>
                  </a:cubicBezTo>
                  <a:cubicBezTo>
                    <a:pt x="1209" y="2513"/>
                    <a:pt x="1201" y="2497"/>
                    <a:pt x="1194" y="2466"/>
                  </a:cubicBezTo>
                  <a:cubicBezTo>
                    <a:pt x="1194" y="2458"/>
                    <a:pt x="1194" y="2450"/>
                    <a:pt x="1201" y="2442"/>
                  </a:cubicBezTo>
                  <a:cubicBezTo>
                    <a:pt x="1217" y="2418"/>
                    <a:pt x="1281" y="2411"/>
                    <a:pt x="1312" y="2402"/>
                  </a:cubicBezTo>
                  <a:cubicBezTo>
                    <a:pt x="1328" y="2402"/>
                    <a:pt x="1336" y="2402"/>
                    <a:pt x="1344" y="2395"/>
                  </a:cubicBezTo>
                  <a:cubicBezTo>
                    <a:pt x="1352" y="2395"/>
                    <a:pt x="1352" y="2395"/>
                    <a:pt x="1352" y="2387"/>
                  </a:cubicBezTo>
                  <a:cubicBezTo>
                    <a:pt x="1352" y="2379"/>
                    <a:pt x="1344" y="2363"/>
                    <a:pt x="1328" y="2347"/>
                  </a:cubicBezTo>
                  <a:cubicBezTo>
                    <a:pt x="1320" y="2339"/>
                    <a:pt x="1320" y="2339"/>
                    <a:pt x="1320" y="2339"/>
                  </a:cubicBezTo>
                  <a:cubicBezTo>
                    <a:pt x="1304" y="2331"/>
                    <a:pt x="1312" y="2324"/>
                    <a:pt x="1328" y="2308"/>
                  </a:cubicBezTo>
                  <a:cubicBezTo>
                    <a:pt x="1336" y="2300"/>
                    <a:pt x="1336" y="2292"/>
                    <a:pt x="1344" y="2292"/>
                  </a:cubicBezTo>
                  <a:cubicBezTo>
                    <a:pt x="1352" y="2276"/>
                    <a:pt x="1344" y="2260"/>
                    <a:pt x="1344" y="2244"/>
                  </a:cubicBezTo>
                  <a:cubicBezTo>
                    <a:pt x="1336" y="2229"/>
                    <a:pt x="1336" y="2221"/>
                    <a:pt x="1336" y="2205"/>
                  </a:cubicBezTo>
                  <a:cubicBezTo>
                    <a:pt x="1328" y="2173"/>
                    <a:pt x="1336" y="2158"/>
                    <a:pt x="1344" y="2142"/>
                  </a:cubicBezTo>
                  <a:cubicBezTo>
                    <a:pt x="1360" y="2118"/>
                    <a:pt x="1360" y="2094"/>
                    <a:pt x="1360" y="2078"/>
                  </a:cubicBezTo>
                  <a:lnTo>
                    <a:pt x="1360" y="2071"/>
                  </a:lnTo>
                  <a:cubicBezTo>
                    <a:pt x="1352" y="2055"/>
                    <a:pt x="1352" y="2024"/>
                    <a:pt x="1367" y="2016"/>
                  </a:cubicBezTo>
                  <a:cubicBezTo>
                    <a:pt x="1391" y="2008"/>
                    <a:pt x="1454" y="1898"/>
                    <a:pt x="1454" y="1882"/>
                  </a:cubicBezTo>
                  <a:cubicBezTo>
                    <a:pt x="1454" y="1858"/>
                    <a:pt x="1462" y="1842"/>
                    <a:pt x="1486" y="1826"/>
                  </a:cubicBezTo>
                  <a:cubicBezTo>
                    <a:pt x="1502" y="1819"/>
                    <a:pt x="1502" y="1811"/>
                    <a:pt x="1502" y="1795"/>
                  </a:cubicBezTo>
                  <a:cubicBezTo>
                    <a:pt x="1502" y="1771"/>
                    <a:pt x="1494" y="1747"/>
                    <a:pt x="1486" y="1747"/>
                  </a:cubicBezTo>
                  <a:cubicBezTo>
                    <a:pt x="1470" y="1739"/>
                    <a:pt x="1470" y="1716"/>
                    <a:pt x="1470" y="1676"/>
                  </a:cubicBezTo>
                  <a:cubicBezTo>
                    <a:pt x="1470" y="1668"/>
                    <a:pt x="1470" y="1668"/>
                    <a:pt x="1470" y="1668"/>
                  </a:cubicBezTo>
                  <a:cubicBezTo>
                    <a:pt x="1470" y="1637"/>
                    <a:pt x="1462" y="1629"/>
                    <a:pt x="1447" y="1621"/>
                  </a:cubicBezTo>
                  <a:cubicBezTo>
                    <a:pt x="1439" y="1621"/>
                    <a:pt x="1439" y="1613"/>
                    <a:pt x="1431" y="1605"/>
                  </a:cubicBezTo>
                  <a:cubicBezTo>
                    <a:pt x="1415" y="1581"/>
                    <a:pt x="1431" y="1542"/>
                    <a:pt x="1447" y="1526"/>
                  </a:cubicBezTo>
                  <a:cubicBezTo>
                    <a:pt x="1454" y="1510"/>
                    <a:pt x="1462" y="1431"/>
                    <a:pt x="1462" y="1423"/>
                  </a:cubicBezTo>
                  <a:cubicBezTo>
                    <a:pt x="1360" y="380"/>
                    <a:pt x="1360" y="380"/>
                    <a:pt x="1360" y="380"/>
                  </a:cubicBezTo>
                  <a:lnTo>
                    <a:pt x="1360" y="380"/>
                  </a:lnTo>
                  <a:lnTo>
                    <a:pt x="1360" y="380"/>
                  </a:lnTo>
                  <a:cubicBezTo>
                    <a:pt x="1344" y="364"/>
                    <a:pt x="1328" y="356"/>
                    <a:pt x="1328" y="340"/>
                  </a:cubicBezTo>
                  <a:cubicBezTo>
                    <a:pt x="1320" y="325"/>
                    <a:pt x="1312" y="309"/>
                    <a:pt x="1312" y="293"/>
                  </a:cubicBezTo>
                  <a:cubicBezTo>
                    <a:pt x="1304" y="261"/>
                    <a:pt x="1296" y="230"/>
                    <a:pt x="1272" y="206"/>
                  </a:cubicBezTo>
                  <a:cubicBezTo>
                    <a:pt x="1265" y="190"/>
                    <a:pt x="1257" y="182"/>
                    <a:pt x="1249" y="174"/>
                  </a:cubicBezTo>
                  <a:cubicBezTo>
                    <a:pt x="1233" y="166"/>
                    <a:pt x="1225" y="158"/>
                    <a:pt x="1225" y="111"/>
                  </a:cubicBezTo>
                  <a:cubicBezTo>
                    <a:pt x="1225" y="103"/>
                    <a:pt x="1225" y="103"/>
                    <a:pt x="1225" y="103"/>
                  </a:cubicBezTo>
                  <a:cubicBezTo>
                    <a:pt x="1225" y="79"/>
                    <a:pt x="1225" y="40"/>
                    <a:pt x="1225" y="8"/>
                  </a:cubicBezTo>
                  <a:lnTo>
                    <a:pt x="1225" y="0"/>
                  </a:lnTo>
                  <a:lnTo>
                    <a:pt x="1225" y="0"/>
                  </a:lnTo>
                  <a:lnTo>
                    <a:pt x="1225" y="0"/>
                  </a:lnTo>
                  <a:lnTo>
                    <a:pt x="1225" y="0"/>
                  </a:lnTo>
                  <a:lnTo>
                    <a:pt x="1225" y="0"/>
                  </a:lnTo>
                  <a:lnTo>
                    <a:pt x="1225" y="0"/>
                  </a:lnTo>
                  <a:lnTo>
                    <a:pt x="1225" y="0"/>
                  </a:lnTo>
                  <a:lnTo>
                    <a:pt x="182" y="617"/>
                  </a:lnTo>
                </a:path>
              </a:pathLst>
            </a:custGeom>
            <a:solidFill>
              <a:schemeClr val="accent4"/>
            </a:solidFill>
            <a:ln>
              <a:solidFill>
                <a:schemeClr val="bg1">
                  <a:lumMod val="95000"/>
                </a:schemeClr>
              </a:solidFill>
            </a:ln>
            <a:effectLst/>
          </p:spPr>
          <p:txBody>
            <a:bodyPr wrap="none" anchor="ctr"/>
            <a:lstStyle/>
            <a:p>
              <a:endParaRPr lang="en-US" sz="900"/>
            </a:p>
          </p:txBody>
        </p:sp>
        <p:sp>
          <p:nvSpPr>
            <p:cNvPr id="85" name="Freeform 708"/>
            <p:cNvSpPr>
              <a:spLocks noChangeArrowheads="1"/>
            </p:cNvSpPr>
            <p:nvPr/>
          </p:nvSpPr>
          <p:spPr bwMode="auto">
            <a:xfrm>
              <a:off x="13227243" y="5261505"/>
              <a:ext cx="229611" cy="540398"/>
            </a:xfrm>
            <a:custGeom>
              <a:avLst/>
              <a:gdLst>
                <a:gd name="T0" fmla="*/ 237 w 435"/>
                <a:gd name="T1" fmla="*/ 0 h 1029"/>
                <a:gd name="T2" fmla="*/ 229 w 435"/>
                <a:gd name="T3" fmla="*/ 0 h 1029"/>
                <a:gd name="T4" fmla="*/ 237 w 435"/>
                <a:gd name="T5" fmla="*/ 16 h 1029"/>
                <a:gd name="T6" fmla="*/ 269 w 435"/>
                <a:gd name="T7" fmla="*/ 48 h 1029"/>
                <a:gd name="T8" fmla="*/ 379 w 435"/>
                <a:gd name="T9" fmla="*/ 174 h 1029"/>
                <a:gd name="T10" fmla="*/ 419 w 435"/>
                <a:gd name="T11" fmla="*/ 253 h 1029"/>
                <a:gd name="T12" fmla="*/ 387 w 435"/>
                <a:gd name="T13" fmla="*/ 340 h 1029"/>
                <a:gd name="T14" fmla="*/ 316 w 435"/>
                <a:gd name="T15" fmla="*/ 459 h 1029"/>
                <a:gd name="T16" fmla="*/ 276 w 435"/>
                <a:gd name="T17" fmla="*/ 483 h 1029"/>
                <a:gd name="T18" fmla="*/ 189 w 435"/>
                <a:gd name="T19" fmla="*/ 522 h 1029"/>
                <a:gd name="T20" fmla="*/ 150 w 435"/>
                <a:gd name="T21" fmla="*/ 514 h 1029"/>
                <a:gd name="T22" fmla="*/ 103 w 435"/>
                <a:gd name="T23" fmla="*/ 530 h 1029"/>
                <a:gd name="T24" fmla="*/ 103 w 435"/>
                <a:gd name="T25" fmla="*/ 585 h 1029"/>
                <a:gd name="T26" fmla="*/ 134 w 435"/>
                <a:gd name="T27" fmla="*/ 648 h 1029"/>
                <a:gd name="T28" fmla="*/ 158 w 435"/>
                <a:gd name="T29" fmla="*/ 688 h 1029"/>
                <a:gd name="T30" fmla="*/ 110 w 435"/>
                <a:gd name="T31" fmla="*/ 799 h 1029"/>
                <a:gd name="T32" fmla="*/ 118 w 435"/>
                <a:gd name="T33" fmla="*/ 846 h 1029"/>
                <a:gd name="T34" fmla="*/ 118 w 435"/>
                <a:gd name="T35" fmla="*/ 846 h 1029"/>
                <a:gd name="T36" fmla="*/ 7 w 435"/>
                <a:gd name="T37" fmla="*/ 917 h 1029"/>
                <a:gd name="T38" fmla="*/ 0 w 435"/>
                <a:gd name="T39" fmla="*/ 933 h 1029"/>
                <a:gd name="T40" fmla="*/ 23 w 435"/>
                <a:gd name="T41" fmla="*/ 965 h 1029"/>
                <a:gd name="T42" fmla="*/ 7 w 435"/>
                <a:gd name="T43" fmla="*/ 1020 h 1029"/>
                <a:gd name="T44" fmla="*/ 7 w 435"/>
                <a:gd name="T45" fmla="*/ 1020 h 1029"/>
                <a:gd name="T46" fmla="*/ 7 w 435"/>
                <a:gd name="T47" fmla="*/ 1028 h 1029"/>
                <a:gd name="T48" fmla="*/ 7 w 435"/>
                <a:gd name="T49" fmla="*/ 1028 h 1029"/>
                <a:gd name="T50" fmla="*/ 31 w 435"/>
                <a:gd name="T51" fmla="*/ 980 h 1029"/>
                <a:gd name="T52" fmla="*/ 16 w 435"/>
                <a:gd name="T53" fmla="*/ 941 h 1029"/>
                <a:gd name="T54" fmla="*/ 7 w 435"/>
                <a:gd name="T55" fmla="*/ 933 h 1029"/>
                <a:gd name="T56" fmla="*/ 39 w 435"/>
                <a:gd name="T57" fmla="*/ 917 h 1029"/>
                <a:gd name="T58" fmla="*/ 118 w 435"/>
                <a:gd name="T59" fmla="*/ 807 h 1029"/>
                <a:gd name="T60" fmla="*/ 126 w 435"/>
                <a:gd name="T61" fmla="*/ 783 h 1029"/>
                <a:gd name="T62" fmla="*/ 166 w 435"/>
                <a:gd name="T63" fmla="*/ 672 h 1029"/>
                <a:gd name="T64" fmla="*/ 118 w 435"/>
                <a:gd name="T65" fmla="*/ 617 h 1029"/>
                <a:gd name="T66" fmla="*/ 103 w 435"/>
                <a:gd name="T67" fmla="*/ 546 h 1029"/>
                <a:gd name="T68" fmla="*/ 126 w 435"/>
                <a:gd name="T69" fmla="*/ 530 h 1029"/>
                <a:gd name="T70" fmla="*/ 174 w 435"/>
                <a:gd name="T71" fmla="*/ 522 h 1029"/>
                <a:gd name="T72" fmla="*/ 189 w 435"/>
                <a:gd name="T73" fmla="*/ 530 h 1029"/>
                <a:gd name="T74" fmla="*/ 237 w 435"/>
                <a:gd name="T75" fmla="*/ 514 h 1029"/>
                <a:gd name="T76" fmla="*/ 308 w 435"/>
                <a:gd name="T77" fmla="*/ 474 h 1029"/>
                <a:gd name="T78" fmla="*/ 363 w 435"/>
                <a:gd name="T79" fmla="*/ 403 h 1029"/>
                <a:gd name="T80" fmla="*/ 411 w 435"/>
                <a:gd name="T81" fmla="*/ 316 h 1029"/>
                <a:gd name="T82" fmla="*/ 411 w 435"/>
                <a:gd name="T83" fmla="*/ 182 h 1029"/>
                <a:gd name="T84" fmla="*/ 332 w 435"/>
                <a:gd name="T85" fmla="*/ 119 h 1029"/>
                <a:gd name="T86" fmla="*/ 237 w 435"/>
                <a:gd name="T87" fmla="*/ 8 h 1029"/>
                <a:gd name="T88" fmla="*/ 237 w 435"/>
                <a:gd name="T89" fmla="*/ 8 h 1029"/>
                <a:gd name="T90" fmla="*/ 237 w 435"/>
                <a:gd name="T91"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5" h="1029">
                  <a:moveTo>
                    <a:pt x="237" y="0"/>
                  </a:moveTo>
                  <a:lnTo>
                    <a:pt x="237" y="0"/>
                  </a:lnTo>
                  <a:lnTo>
                    <a:pt x="237" y="0"/>
                  </a:lnTo>
                  <a:cubicBezTo>
                    <a:pt x="229" y="0"/>
                    <a:pt x="229" y="0"/>
                    <a:pt x="229" y="0"/>
                  </a:cubicBezTo>
                  <a:lnTo>
                    <a:pt x="229" y="8"/>
                  </a:lnTo>
                  <a:cubicBezTo>
                    <a:pt x="229" y="8"/>
                    <a:pt x="229" y="8"/>
                    <a:pt x="237" y="16"/>
                  </a:cubicBezTo>
                  <a:lnTo>
                    <a:pt x="237" y="16"/>
                  </a:lnTo>
                  <a:cubicBezTo>
                    <a:pt x="237" y="24"/>
                    <a:pt x="253" y="32"/>
                    <a:pt x="269" y="48"/>
                  </a:cubicBezTo>
                  <a:cubicBezTo>
                    <a:pt x="292" y="71"/>
                    <a:pt x="324" y="103"/>
                    <a:pt x="324" y="119"/>
                  </a:cubicBezTo>
                  <a:cubicBezTo>
                    <a:pt x="324" y="143"/>
                    <a:pt x="356" y="158"/>
                    <a:pt x="379" y="174"/>
                  </a:cubicBezTo>
                  <a:cubicBezTo>
                    <a:pt x="387" y="174"/>
                    <a:pt x="395" y="182"/>
                    <a:pt x="403" y="182"/>
                  </a:cubicBezTo>
                  <a:cubicBezTo>
                    <a:pt x="411" y="190"/>
                    <a:pt x="419" y="221"/>
                    <a:pt x="419" y="253"/>
                  </a:cubicBezTo>
                  <a:cubicBezTo>
                    <a:pt x="419" y="277"/>
                    <a:pt x="419" y="301"/>
                    <a:pt x="411" y="316"/>
                  </a:cubicBezTo>
                  <a:cubicBezTo>
                    <a:pt x="403" y="324"/>
                    <a:pt x="395" y="332"/>
                    <a:pt x="387" y="340"/>
                  </a:cubicBezTo>
                  <a:cubicBezTo>
                    <a:pt x="371" y="356"/>
                    <a:pt x="356" y="364"/>
                    <a:pt x="356" y="403"/>
                  </a:cubicBezTo>
                  <a:cubicBezTo>
                    <a:pt x="356" y="443"/>
                    <a:pt x="340" y="451"/>
                    <a:pt x="316" y="459"/>
                  </a:cubicBezTo>
                  <a:cubicBezTo>
                    <a:pt x="316" y="459"/>
                    <a:pt x="308" y="467"/>
                    <a:pt x="300" y="467"/>
                  </a:cubicBezTo>
                  <a:cubicBezTo>
                    <a:pt x="292" y="474"/>
                    <a:pt x="284" y="474"/>
                    <a:pt x="276" y="483"/>
                  </a:cubicBezTo>
                  <a:cubicBezTo>
                    <a:pt x="261" y="483"/>
                    <a:pt x="245" y="490"/>
                    <a:pt x="229" y="506"/>
                  </a:cubicBezTo>
                  <a:cubicBezTo>
                    <a:pt x="221" y="514"/>
                    <a:pt x="213" y="522"/>
                    <a:pt x="189" y="522"/>
                  </a:cubicBezTo>
                  <a:cubicBezTo>
                    <a:pt x="189" y="522"/>
                    <a:pt x="181" y="522"/>
                    <a:pt x="174" y="522"/>
                  </a:cubicBezTo>
                  <a:cubicBezTo>
                    <a:pt x="166" y="514"/>
                    <a:pt x="158" y="514"/>
                    <a:pt x="150" y="514"/>
                  </a:cubicBezTo>
                  <a:cubicBezTo>
                    <a:pt x="134" y="514"/>
                    <a:pt x="126" y="514"/>
                    <a:pt x="118" y="522"/>
                  </a:cubicBezTo>
                  <a:cubicBezTo>
                    <a:pt x="110" y="522"/>
                    <a:pt x="103" y="522"/>
                    <a:pt x="103" y="530"/>
                  </a:cubicBezTo>
                  <a:cubicBezTo>
                    <a:pt x="103" y="538"/>
                    <a:pt x="94" y="546"/>
                    <a:pt x="94" y="546"/>
                  </a:cubicBezTo>
                  <a:cubicBezTo>
                    <a:pt x="94" y="561"/>
                    <a:pt x="103" y="569"/>
                    <a:pt x="103" y="585"/>
                  </a:cubicBezTo>
                  <a:cubicBezTo>
                    <a:pt x="110" y="593"/>
                    <a:pt x="110" y="609"/>
                    <a:pt x="110" y="617"/>
                  </a:cubicBezTo>
                  <a:cubicBezTo>
                    <a:pt x="110" y="633"/>
                    <a:pt x="126" y="641"/>
                    <a:pt x="134" y="648"/>
                  </a:cubicBezTo>
                  <a:cubicBezTo>
                    <a:pt x="150" y="656"/>
                    <a:pt x="158" y="664"/>
                    <a:pt x="158" y="680"/>
                  </a:cubicBezTo>
                  <a:cubicBezTo>
                    <a:pt x="158" y="680"/>
                    <a:pt x="158" y="680"/>
                    <a:pt x="158" y="688"/>
                  </a:cubicBezTo>
                  <a:cubicBezTo>
                    <a:pt x="158" y="720"/>
                    <a:pt x="142" y="767"/>
                    <a:pt x="126" y="775"/>
                  </a:cubicBezTo>
                  <a:cubicBezTo>
                    <a:pt x="118" y="783"/>
                    <a:pt x="110" y="791"/>
                    <a:pt x="110" y="799"/>
                  </a:cubicBezTo>
                  <a:cubicBezTo>
                    <a:pt x="110" y="799"/>
                    <a:pt x="110" y="807"/>
                    <a:pt x="110" y="814"/>
                  </a:cubicBezTo>
                  <a:cubicBezTo>
                    <a:pt x="118" y="822"/>
                    <a:pt x="118" y="830"/>
                    <a:pt x="118" y="846"/>
                  </a:cubicBezTo>
                  <a:lnTo>
                    <a:pt x="118" y="846"/>
                  </a:lnTo>
                  <a:lnTo>
                    <a:pt x="118" y="846"/>
                  </a:lnTo>
                  <a:cubicBezTo>
                    <a:pt x="118" y="878"/>
                    <a:pt x="71" y="894"/>
                    <a:pt x="31" y="909"/>
                  </a:cubicBezTo>
                  <a:cubicBezTo>
                    <a:pt x="23" y="909"/>
                    <a:pt x="16" y="917"/>
                    <a:pt x="7" y="917"/>
                  </a:cubicBezTo>
                  <a:cubicBezTo>
                    <a:pt x="0" y="925"/>
                    <a:pt x="0" y="925"/>
                    <a:pt x="0" y="933"/>
                  </a:cubicBezTo>
                  <a:lnTo>
                    <a:pt x="0" y="933"/>
                  </a:lnTo>
                  <a:cubicBezTo>
                    <a:pt x="0" y="941"/>
                    <a:pt x="0" y="941"/>
                    <a:pt x="7" y="949"/>
                  </a:cubicBezTo>
                  <a:cubicBezTo>
                    <a:pt x="16" y="949"/>
                    <a:pt x="16" y="957"/>
                    <a:pt x="23" y="965"/>
                  </a:cubicBezTo>
                  <a:cubicBezTo>
                    <a:pt x="23" y="965"/>
                    <a:pt x="23" y="973"/>
                    <a:pt x="23" y="980"/>
                  </a:cubicBezTo>
                  <a:cubicBezTo>
                    <a:pt x="23" y="988"/>
                    <a:pt x="16" y="1004"/>
                    <a:pt x="7" y="1020"/>
                  </a:cubicBezTo>
                  <a:lnTo>
                    <a:pt x="7" y="1020"/>
                  </a:lnTo>
                  <a:lnTo>
                    <a:pt x="7" y="1020"/>
                  </a:lnTo>
                  <a:cubicBezTo>
                    <a:pt x="7" y="1020"/>
                    <a:pt x="7" y="1020"/>
                    <a:pt x="7" y="1028"/>
                  </a:cubicBezTo>
                  <a:lnTo>
                    <a:pt x="7" y="1028"/>
                  </a:lnTo>
                  <a:lnTo>
                    <a:pt x="7" y="1028"/>
                  </a:lnTo>
                  <a:lnTo>
                    <a:pt x="7" y="1028"/>
                  </a:lnTo>
                  <a:cubicBezTo>
                    <a:pt x="7" y="1028"/>
                    <a:pt x="7" y="1028"/>
                    <a:pt x="7" y="1020"/>
                  </a:cubicBezTo>
                  <a:cubicBezTo>
                    <a:pt x="23" y="1004"/>
                    <a:pt x="31" y="988"/>
                    <a:pt x="31" y="980"/>
                  </a:cubicBezTo>
                  <a:cubicBezTo>
                    <a:pt x="31" y="973"/>
                    <a:pt x="31" y="965"/>
                    <a:pt x="23" y="957"/>
                  </a:cubicBezTo>
                  <a:cubicBezTo>
                    <a:pt x="23" y="949"/>
                    <a:pt x="16" y="949"/>
                    <a:pt x="16" y="941"/>
                  </a:cubicBezTo>
                  <a:cubicBezTo>
                    <a:pt x="7" y="941"/>
                    <a:pt x="7" y="933"/>
                    <a:pt x="7" y="933"/>
                  </a:cubicBezTo>
                  <a:lnTo>
                    <a:pt x="7" y="933"/>
                  </a:lnTo>
                  <a:cubicBezTo>
                    <a:pt x="7" y="933"/>
                    <a:pt x="7" y="933"/>
                    <a:pt x="16" y="925"/>
                  </a:cubicBezTo>
                  <a:cubicBezTo>
                    <a:pt x="23" y="925"/>
                    <a:pt x="31" y="917"/>
                    <a:pt x="39" y="917"/>
                  </a:cubicBezTo>
                  <a:cubicBezTo>
                    <a:pt x="71" y="901"/>
                    <a:pt x="126" y="878"/>
                    <a:pt x="126" y="846"/>
                  </a:cubicBezTo>
                  <a:cubicBezTo>
                    <a:pt x="126" y="830"/>
                    <a:pt x="118" y="814"/>
                    <a:pt x="118" y="807"/>
                  </a:cubicBezTo>
                  <a:lnTo>
                    <a:pt x="118" y="799"/>
                  </a:lnTo>
                  <a:cubicBezTo>
                    <a:pt x="118" y="791"/>
                    <a:pt x="118" y="791"/>
                    <a:pt x="126" y="783"/>
                  </a:cubicBezTo>
                  <a:cubicBezTo>
                    <a:pt x="150" y="775"/>
                    <a:pt x="166" y="720"/>
                    <a:pt x="166" y="688"/>
                  </a:cubicBezTo>
                  <a:cubicBezTo>
                    <a:pt x="166" y="680"/>
                    <a:pt x="166" y="680"/>
                    <a:pt x="166" y="672"/>
                  </a:cubicBezTo>
                  <a:cubicBezTo>
                    <a:pt x="166" y="664"/>
                    <a:pt x="150" y="656"/>
                    <a:pt x="142" y="648"/>
                  </a:cubicBezTo>
                  <a:cubicBezTo>
                    <a:pt x="126" y="641"/>
                    <a:pt x="118" y="633"/>
                    <a:pt x="118" y="617"/>
                  </a:cubicBezTo>
                  <a:cubicBezTo>
                    <a:pt x="118" y="609"/>
                    <a:pt x="118" y="593"/>
                    <a:pt x="110" y="585"/>
                  </a:cubicBezTo>
                  <a:cubicBezTo>
                    <a:pt x="110" y="569"/>
                    <a:pt x="103" y="561"/>
                    <a:pt x="103" y="546"/>
                  </a:cubicBezTo>
                  <a:cubicBezTo>
                    <a:pt x="103" y="546"/>
                    <a:pt x="103" y="538"/>
                    <a:pt x="110" y="538"/>
                  </a:cubicBezTo>
                  <a:cubicBezTo>
                    <a:pt x="110" y="530"/>
                    <a:pt x="118" y="530"/>
                    <a:pt x="126" y="530"/>
                  </a:cubicBezTo>
                  <a:cubicBezTo>
                    <a:pt x="126" y="522"/>
                    <a:pt x="134" y="522"/>
                    <a:pt x="150" y="522"/>
                  </a:cubicBezTo>
                  <a:cubicBezTo>
                    <a:pt x="158" y="522"/>
                    <a:pt x="166" y="522"/>
                    <a:pt x="174" y="522"/>
                  </a:cubicBezTo>
                  <a:lnTo>
                    <a:pt x="174" y="522"/>
                  </a:lnTo>
                  <a:cubicBezTo>
                    <a:pt x="181" y="522"/>
                    <a:pt x="189" y="530"/>
                    <a:pt x="189" y="530"/>
                  </a:cubicBezTo>
                  <a:lnTo>
                    <a:pt x="189" y="530"/>
                  </a:lnTo>
                  <a:cubicBezTo>
                    <a:pt x="205" y="530"/>
                    <a:pt x="221" y="522"/>
                    <a:pt x="237" y="514"/>
                  </a:cubicBezTo>
                  <a:cubicBezTo>
                    <a:pt x="253" y="498"/>
                    <a:pt x="261" y="490"/>
                    <a:pt x="276" y="483"/>
                  </a:cubicBezTo>
                  <a:cubicBezTo>
                    <a:pt x="284" y="483"/>
                    <a:pt x="292" y="483"/>
                    <a:pt x="308" y="474"/>
                  </a:cubicBezTo>
                  <a:cubicBezTo>
                    <a:pt x="308" y="467"/>
                    <a:pt x="316" y="467"/>
                    <a:pt x="324" y="467"/>
                  </a:cubicBezTo>
                  <a:cubicBezTo>
                    <a:pt x="347" y="459"/>
                    <a:pt x="363" y="443"/>
                    <a:pt x="363" y="403"/>
                  </a:cubicBezTo>
                  <a:cubicBezTo>
                    <a:pt x="363" y="364"/>
                    <a:pt x="379" y="356"/>
                    <a:pt x="387" y="348"/>
                  </a:cubicBezTo>
                  <a:cubicBezTo>
                    <a:pt x="395" y="340"/>
                    <a:pt x="411" y="332"/>
                    <a:pt x="411" y="316"/>
                  </a:cubicBezTo>
                  <a:cubicBezTo>
                    <a:pt x="434" y="285"/>
                    <a:pt x="427" y="214"/>
                    <a:pt x="411" y="182"/>
                  </a:cubicBezTo>
                  <a:lnTo>
                    <a:pt x="411" y="182"/>
                  </a:lnTo>
                  <a:cubicBezTo>
                    <a:pt x="403" y="174"/>
                    <a:pt x="387" y="166"/>
                    <a:pt x="379" y="166"/>
                  </a:cubicBezTo>
                  <a:cubicBezTo>
                    <a:pt x="356" y="150"/>
                    <a:pt x="332" y="143"/>
                    <a:pt x="332" y="119"/>
                  </a:cubicBezTo>
                  <a:cubicBezTo>
                    <a:pt x="332" y="95"/>
                    <a:pt x="300" y="71"/>
                    <a:pt x="276" y="48"/>
                  </a:cubicBezTo>
                  <a:cubicBezTo>
                    <a:pt x="261" y="32"/>
                    <a:pt x="245" y="16"/>
                    <a:pt x="237" y="8"/>
                  </a:cubicBezTo>
                  <a:lnTo>
                    <a:pt x="237" y="8"/>
                  </a:lnTo>
                  <a:lnTo>
                    <a:pt x="237" y="8"/>
                  </a:lnTo>
                  <a:lnTo>
                    <a:pt x="237" y="8"/>
                  </a:lnTo>
                  <a:cubicBezTo>
                    <a:pt x="237" y="0"/>
                    <a:pt x="237" y="0"/>
                    <a:pt x="237" y="0"/>
                  </a:cubicBezTo>
                </a:path>
              </a:pathLst>
            </a:custGeom>
            <a:grpFill/>
            <a:ln>
              <a:solidFill>
                <a:schemeClr val="bg1">
                  <a:lumMod val="95000"/>
                </a:schemeClr>
              </a:solidFill>
            </a:ln>
            <a:effectLst/>
          </p:spPr>
          <p:txBody>
            <a:bodyPr wrap="none" anchor="ctr"/>
            <a:lstStyle/>
            <a:p>
              <a:endParaRPr lang="en-US" sz="900"/>
            </a:p>
          </p:txBody>
        </p:sp>
        <p:sp>
          <p:nvSpPr>
            <p:cNvPr id="86" name="Freeform 709"/>
            <p:cNvSpPr>
              <a:spLocks noChangeArrowheads="1"/>
            </p:cNvSpPr>
            <p:nvPr/>
          </p:nvSpPr>
          <p:spPr bwMode="auto">
            <a:xfrm>
              <a:off x="13220285" y="5799584"/>
              <a:ext cx="514886" cy="818714"/>
            </a:xfrm>
            <a:custGeom>
              <a:avLst/>
              <a:gdLst>
                <a:gd name="T0" fmla="*/ 23 w 981"/>
                <a:gd name="T1" fmla="*/ 0 h 1557"/>
                <a:gd name="T2" fmla="*/ 23 w 981"/>
                <a:gd name="T3" fmla="*/ 0 h 1557"/>
                <a:gd name="T4" fmla="*/ 16 w 981"/>
                <a:gd name="T5" fmla="*/ 213 h 1557"/>
                <a:gd name="T6" fmla="*/ 95 w 981"/>
                <a:gd name="T7" fmla="*/ 316 h 1557"/>
                <a:gd name="T8" fmla="*/ 166 w 981"/>
                <a:gd name="T9" fmla="*/ 411 h 1557"/>
                <a:gd name="T10" fmla="*/ 292 w 981"/>
                <a:gd name="T11" fmla="*/ 506 h 1557"/>
                <a:gd name="T12" fmla="*/ 316 w 981"/>
                <a:gd name="T13" fmla="*/ 577 h 1557"/>
                <a:gd name="T14" fmla="*/ 332 w 981"/>
                <a:gd name="T15" fmla="*/ 640 h 1557"/>
                <a:gd name="T16" fmla="*/ 356 w 981"/>
                <a:gd name="T17" fmla="*/ 672 h 1557"/>
                <a:gd name="T18" fmla="*/ 379 w 981"/>
                <a:gd name="T19" fmla="*/ 664 h 1557"/>
                <a:gd name="T20" fmla="*/ 387 w 981"/>
                <a:gd name="T21" fmla="*/ 656 h 1557"/>
                <a:gd name="T22" fmla="*/ 411 w 981"/>
                <a:gd name="T23" fmla="*/ 648 h 1557"/>
                <a:gd name="T24" fmla="*/ 427 w 981"/>
                <a:gd name="T25" fmla="*/ 664 h 1557"/>
                <a:gd name="T26" fmla="*/ 450 w 981"/>
                <a:gd name="T27" fmla="*/ 672 h 1557"/>
                <a:gd name="T28" fmla="*/ 466 w 981"/>
                <a:gd name="T29" fmla="*/ 656 h 1557"/>
                <a:gd name="T30" fmla="*/ 466 w 981"/>
                <a:gd name="T31" fmla="*/ 648 h 1557"/>
                <a:gd name="T32" fmla="*/ 522 w 981"/>
                <a:gd name="T33" fmla="*/ 688 h 1557"/>
                <a:gd name="T34" fmla="*/ 466 w 981"/>
                <a:gd name="T35" fmla="*/ 909 h 1557"/>
                <a:gd name="T36" fmla="*/ 593 w 981"/>
                <a:gd name="T37" fmla="*/ 1106 h 1557"/>
                <a:gd name="T38" fmla="*/ 648 w 981"/>
                <a:gd name="T39" fmla="*/ 1145 h 1557"/>
                <a:gd name="T40" fmla="*/ 696 w 981"/>
                <a:gd name="T41" fmla="*/ 1185 h 1557"/>
                <a:gd name="T42" fmla="*/ 743 w 981"/>
                <a:gd name="T43" fmla="*/ 1209 h 1557"/>
                <a:gd name="T44" fmla="*/ 783 w 981"/>
                <a:gd name="T45" fmla="*/ 1232 h 1557"/>
                <a:gd name="T46" fmla="*/ 806 w 981"/>
                <a:gd name="T47" fmla="*/ 1248 h 1557"/>
                <a:gd name="T48" fmla="*/ 830 w 981"/>
                <a:gd name="T49" fmla="*/ 1319 h 1557"/>
                <a:gd name="T50" fmla="*/ 854 w 981"/>
                <a:gd name="T51" fmla="*/ 1367 h 1557"/>
                <a:gd name="T52" fmla="*/ 846 w 981"/>
                <a:gd name="T53" fmla="*/ 1398 h 1557"/>
                <a:gd name="T54" fmla="*/ 830 w 981"/>
                <a:gd name="T55" fmla="*/ 1414 h 1557"/>
                <a:gd name="T56" fmla="*/ 846 w 981"/>
                <a:gd name="T57" fmla="*/ 1469 h 1557"/>
                <a:gd name="T58" fmla="*/ 877 w 981"/>
                <a:gd name="T59" fmla="*/ 1517 h 1557"/>
                <a:gd name="T60" fmla="*/ 933 w 981"/>
                <a:gd name="T61" fmla="*/ 1548 h 1557"/>
                <a:gd name="T62" fmla="*/ 956 w 981"/>
                <a:gd name="T63" fmla="*/ 1548 h 1557"/>
                <a:gd name="T64" fmla="*/ 972 w 981"/>
                <a:gd name="T65" fmla="*/ 1548 h 1557"/>
                <a:gd name="T66" fmla="*/ 972 w 981"/>
                <a:gd name="T67" fmla="*/ 1548 h 1557"/>
                <a:gd name="T68" fmla="*/ 980 w 981"/>
                <a:gd name="T69" fmla="*/ 1556 h 1557"/>
                <a:gd name="T70" fmla="*/ 980 w 981"/>
                <a:gd name="T71" fmla="*/ 1556 h 1557"/>
                <a:gd name="T72" fmla="*/ 980 w 981"/>
                <a:gd name="T73" fmla="*/ 1548 h 1557"/>
                <a:gd name="T74" fmla="*/ 972 w 981"/>
                <a:gd name="T75" fmla="*/ 1548 h 1557"/>
                <a:gd name="T76" fmla="*/ 956 w 981"/>
                <a:gd name="T77" fmla="*/ 1548 h 1557"/>
                <a:gd name="T78" fmla="*/ 933 w 981"/>
                <a:gd name="T79" fmla="*/ 1548 h 1557"/>
                <a:gd name="T80" fmla="*/ 885 w 981"/>
                <a:gd name="T81" fmla="*/ 1517 h 1557"/>
                <a:gd name="T82" fmla="*/ 830 w 981"/>
                <a:gd name="T83" fmla="*/ 1414 h 1557"/>
                <a:gd name="T84" fmla="*/ 854 w 981"/>
                <a:gd name="T85" fmla="*/ 1359 h 1557"/>
                <a:gd name="T86" fmla="*/ 806 w 981"/>
                <a:gd name="T87" fmla="*/ 1248 h 1557"/>
                <a:gd name="T88" fmla="*/ 743 w 981"/>
                <a:gd name="T89" fmla="*/ 1209 h 1557"/>
                <a:gd name="T90" fmla="*/ 648 w 981"/>
                <a:gd name="T91" fmla="*/ 1145 h 1557"/>
                <a:gd name="T92" fmla="*/ 466 w 981"/>
                <a:gd name="T93" fmla="*/ 909 h 1557"/>
                <a:gd name="T94" fmla="*/ 530 w 981"/>
                <a:gd name="T95" fmla="*/ 680 h 1557"/>
                <a:gd name="T96" fmla="*/ 466 w 981"/>
                <a:gd name="T97" fmla="*/ 648 h 1557"/>
                <a:gd name="T98" fmla="*/ 466 w 981"/>
                <a:gd name="T99" fmla="*/ 656 h 1557"/>
                <a:gd name="T100" fmla="*/ 450 w 981"/>
                <a:gd name="T101" fmla="*/ 672 h 1557"/>
                <a:gd name="T102" fmla="*/ 435 w 981"/>
                <a:gd name="T103" fmla="*/ 656 h 1557"/>
                <a:gd name="T104" fmla="*/ 411 w 981"/>
                <a:gd name="T105" fmla="*/ 648 h 1557"/>
                <a:gd name="T106" fmla="*/ 387 w 981"/>
                <a:gd name="T107" fmla="*/ 648 h 1557"/>
                <a:gd name="T108" fmla="*/ 356 w 981"/>
                <a:gd name="T109" fmla="*/ 664 h 1557"/>
                <a:gd name="T110" fmla="*/ 332 w 981"/>
                <a:gd name="T111" fmla="*/ 640 h 1557"/>
                <a:gd name="T112" fmla="*/ 292 w 981"/>
                <a:gd name="T113" fmla="*/ 506 h 1557"/>
                <a:gd name="T114" fmla="*/ 166 w 981"/>
                <a:gd name="T115" fmla="*/ 411 h 1557"/>
                <a:gd name="T116" fmla="*/ 16 w 981"/>
                <a:gd name="T117" fmla="*/ 213 h 1557"/>
                <a:gd name="T118" fmla="*/ 23 w 981"/>
                <a:gd name="T119" fmla="*/ 8 h 1557"/>
                <a:gd name="T120" fmla="*/ 23 w 981"/>
                <a:gd name="T121" fmla="*/ 8 h 1557"/>
                <a:gd name="T122" fmla="*/ 23 w 981"/>
                <a:gd name="T123" fmla="*/ 0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1" h="1557">
                  <a:moveTo>
                    <a:pt x="23" y="0"/>
                  </a:moveTo>
                  <a:lnTo>
                    <a:pt x="23" y="0"/>
                  </a:lnTo>
                  <a:cubicBezTo>
                    <a:pt x="0" y="32"/>
                    <a:pt x="8" y="166"/>
                    <a:pt x="16" y="213"/>
                  </a:cubicBezTo>
                  <a:cubicBezTo>
                    <a:pt x="16" y="245"/>
                    <a:pt x="55" y="285"/>
                    <a:pt x="95" y="316"/>
                  </a:cubicBezTo>
                  <a:cubicBezTo>
                    <a:pt x="126" y="356"/>
                    <a:pt x="158" y="387"/>
                    <a:pt x="166" y="411"/>
                  </a:cubicBezTo>
                  <a:cubicBezTo>
                    <a:pt x="166" y="458"/>
                    <a:pt x="269" y="498"/>
                    <a:pt x="292" y="506"/>
                  </a:cubicBezTo>
                  <a:cubicBezTo>
                    <a:pt x="300" y="514"/>
                    <a:pt x="308" y="545"/>
                    <a:pt x="316" y="577"/>
                  </a:cubicBezTo>
                  <a:cubicBezTo>
                    <a:pt x="324" y="601"/>
                    <a:pt x="324" y="624"/>
                    <a:pt x="332" y="640"/>
                  </a:cubicBezTo>
                  <a:cubicBezTo>
                    <a:pt x="340" y="664"/>
                    <a:pt x="348" y="672"/>
                    <a:pt x="356" y="672"/>
                  </a:cubicBezTo>
                  <a:cubicBezTo>
                    <a:pt x="363" y="672"/>
                    <a:pt x="372" y="664"/>
                    <a:pt x="379" y="664"/>
                  </a:cubicBezTo>
                  <a:lnTo>
                    <a:pt x="387" y="656"/>
                  </a:lnTo>
                  <a:cubicBezTo>
                    <a:pt x="395" y="648"/>
                    <a:pt x="403" y="648"/>
                    <a:pt x="411" y="648"/>
                  </a:cubicBezTo>
                  <a:cubicBezTo>
                    <a:pt x="419" y="648"/>
                    <a:pt x="427" y="656"/>
                    <a:pt x="427" y="664"/>
                  </a:cubicBezTo>
                  <a:cubicBezTo>
                    <a:pt x="435" y="672"/>
                    <a:pt x="443" y="672"/>
                    <a:pt x="450" y="672"/>
                  </a:cubicBezTo>
                  <a:cubicBezTo>
                    <a:pt x="458" y="672"/>
                    <a:pt x="466" y="664"/>
                    <a:pt x="466" y="656"/>
                  </a:cubicBezTo>
                  <a:cubicBezTo>
                    <a:pt x="466" y="648"/>
                    <a:pt x="466" y="648"/>
                    <a:pt x="466" y="648"/>
                  </a:cubicBezTo>
                  <a:cubicBezTo>
                    <a:pt x="474" y="648"/>
                    <a:pt x="498" y="664"/>
                    <a:pt x="522" y="688"/>
                  </a:cubicBezTo>
                  <a:cubicBezTo>
                    <a:pt x="553" y="711"/>
                    <a:pt x="530" y="798"/>
                    <a:pt x="466" y="909"/>
                  </a:cubicBezTo>
                  <a:cubicBezTo>
                    <a:pt x="427" y="979"/>
                    <a:pt x="530" y="1058"/>
                    <a:pt x="593" y="1106"/>
                  </a:cubicBezTo>
                  <a:cubicBezTo>
                    <a:pt x="625" y="1121"/>
                    <a:pt x="640" y="1137"/>
                    <a:pt x="648" y="1145"/>
                  </a:cubicBezTo>
                  <a:cubicBezTo>
                    <a:pt x="656" y="1169"/>
                    <a:pt x="680" y="1177"/>
                    <a:pt x="696" y="1185"/>
                  </a:cubicBezTo>
                  <a:cubicBezTo>
                    <a:pt x="711" y="1185"/>
                    <a:pt x="735" y="1193"/>
                    <a:pt x="743" y="1209"/>
                  </a:cubicBezTo>
                  <a:cubicBezTo>
                    <a:pt x="759" y="1224"/>
                    <a:pt x="775" y="1232"/>
                    <a:pt x="783" y="1232"/>
                  </a:cubicBezTo>
                  <a:cubicBezTo>
                    <a:pt x="798" y="1240"/>
                    <a:pt x="806" y="1240"/>
                    <a:pt x="806" y="1248"/>
                  </a:cubicBezTo>
                  <a:cubicBezTo>
                    <a:pt x="806" y="1272"/>
                    <a:pt x="814" y="1296"/>
                    <a:pt x="830" y="1319"/>
                  </a:cubicBezTo>
                  <a:cubicBezTo>
                    <a:pt x="838" y="1335"/>
                    <a:pt x="846" y="1351"/>
                    <a:pt x="854" y="1367"/>
                  </a:cubicBezTo>
                  <a:cubicBezTo>
                    <a:pt x="862" y="1390"/>
                    <a:pt x="862" y="1390"/>
                    <a:pt x="846" y="1398"/>
                  </a:cubicBezTo>
                  <a:cubicBezTo>
                    <a:pt x="838" y="1398"/>
                    <a:pt x="830" y="1406"/>
                    <a:pt x="830" y="1414"/>
                  </a:cubicBezTo>
                  <a:cubicBezTo>
                    <a:pt x="814" y="1430"/>
                    <a:pt x="830" y="1446"/>
                    <a:pt x="846" y="1469"/>
                  </a:cubicBezTo>
                  <a:cubicBezTo>
                    <a:pt x="862" y="1485"/>
                    <a:pt x="877" y="1501"/>
                    <a:pt x="877" y="1517"/>
                  </a:cubicBezTo>
                  <a:cubicBezTo>
                    <a:pt x="893" y="1540"/>
                    <a:pt x="909" y="1548"/>
                    <a:pt x="933" y="1548"/>
                  </a:cubicBezTo>
                  <a:cubicBezTo>
                    <a:pt x="941" y="1548"/>
                    <a:pt x="949" y="1548"/>
                    <a:pt x="956" y="1548"/>
                  </a:cubicBezTo>
                  <a:cubicBezTo>
                    <a:pt x="964" y="1548"/>
                    <a:pt x="964" y="1548"/>
                    <a:pt x="972" y="1548"/>
                  </a:cubicBezTo>
                  <a:lnTo>
                    <a:pt x="972" y="1548"/>
                  </a:lnTo>
                  <a:cubicBezTo>
                    <a:pt x="980" y="1556"/>
                    <a:pt x="980" y="1556"/>
                    <a:pt x="980" y="1556"/>
                  </a:cubicBezTo>
                  <a:lnTo>
                    <a:pt x="980" y="1556"/>
                  </a:lnTo>
                  <a:cubicBezTo>
                    <a:pt x="980" y="1548"/>
                    <a:pt x="980" y="1548"/>
                    <a:pt x="980" y="1548"/>
                  </a:cubicBezTo>
                  <a:lnTo>
                    <a:pt x="972" y="1548"/>
                  </a:lnTo>
                  <a:cubicBezTo>
                    <a:pt x="964" y="1548"/>
                    <a:pt x="964" y="1548"/>
                    <a:pt x="956" y="1548"/>
                  </a:cubicBezTo>
                  <a:cubicBezTo>
                    <a:pt x="949" y="1548"/>
                    <a:pt x="941" y="1548"/>
                    <a:pt x="933" y="1548"/>
                  </a:cubicBezTo>
                  <a:cubicBezTo>
                    <a:pt x="917" y="1548"/>
                    <a:pt x="893" y="1540"/>
                    <a:pt x="885" y="1517"/>
                  </a:cubicBezTo>
                  <a:cubicBezTo>
                    <a:pt x="862" y="1469"/>
                    <a:pt x="806" y="1438"/>
                    <a:pt x="830" y="1414"/>
                  </a:cubicBezTo>
                  <a:cubicBezTo>
                    <a:pt x="846" y="1390"/>
                    <a:pt x="877" y="1406"/>
                    <a:pt x="854" y="1359"/>
                  </a:cubicBezTo>
                  <a:cubicBezTo>
                    <a:pt x="838" y="1319"/>
                    <a:pt x="806" y="1280"/>
                    <a:pt x="806" y="1248"/>
                  </a:cubicBezTo>
                  <a:cubicBezTo>
                    <a:pt x="806" y="1224"/>
                    <a:pt x="767" y="1240"/>
                    <a:pt x="743" y="1209"/>
                  </a:cubicBezTo>
                  <a:cubicBezTo>
                    <a:pt x="719" y="1177"/>
                    <a:pt x="664" y="1177"/>
                    <a:pt x="648" y="1145"/>
                  </a:cubicBezTo>
                  <a:cubicBezTo>
                    <a:pt x="632" y="1114"/>
                    <a:pt x="411" y="1003"/>
                    <a:pt x="466" y="909"/>
                  </a:cubicBezTo>
                  <a:cubicBezTo>
                    <a:pt x="530" y="814"/>
                    <a:pt x="561" y="711"/>
                    <a:pt x="530" y="680"/>
                  </a:cubicBezTo>
                  <a:cubicBezTo>
                    <a:pt x="506" y="664"/>
                    <a:pt x="482" y="648"/>
                    <a:pt x="466" y="648"/>
                  </a:cubicBezTo>
                  <a:cubicBezTo>
                    <a:pt x="466" y="648"/>
                    <a:pt x="466" y="648"/>
                    <a:pt x="466" y="656"/>
                  </a:cubicBezTo>
                  <a:cubicBezTo>
                    <a:pt x="466" y="664"/>
                    <a:pt x="458" y="672"/>
                    <a:pt x="450" y="672"/>
                  </a:cubicBezTo>
                  <a:cubicBezTo>
                    <a:pt x="443" y="672"/>
                    <a:pt x="435" y="664"/>
                    <a:pt x="435" y="656"/>
                  </a:cubicBezTo>
                  <a:cubicBezTo>
                    <a:pt x="427" y="648"/>
                    <a:pt x="427" y="648"/>
                    <a:pt x="411" y="648"/>
                  </a:cubicBezTo>
                  <a:cubicBezTo>
                    <a:pt x="403" y="648"/>
                    <a:pt x="395" y="648"/>
                    <a:pt x="387" y="648"/>
                  </a:cubicBezTo>
                  <a:cubicBezTo>
                    <a:pt x="372" y="656"/>
                    <a:pt x="363" y="664"/>
                    <a:pt x="356" y="664"/>
                  </a:cubicBezTo>
                  <a:cubicBezTo>
                    <a:pt x="348" y="664"/>
                    <a:pt x="340" y="664"/>
                    <a:pt x="332" y="640"/>
                  </a:cubicBezTo>
                  <a:cubicBezTo>
                    <a:pt x="316" y="593"/>
                    <a:pt x="316" y="514"/>
                    <a:pt x="292" y="506"/>
                  </a:cubicBezTo>
                  <a:cubicBezTo>
                    <a:pt x="269" y="498"/>
                    <a:pt x="174" y="451"/>
                    <a:pt x="166" y="411"/>
                  </a:cubicBezTo>
                  <a:cubicBezTo>
                    <a:pt x="166" y="364"/>
                    <a:pt x="23" y="269"/>
                    <a:pt x="16" y="213"/>
                  </a:cubicBezTo>
                  <a:cubicBezTo>
                    <a:pt x="8" y="158"/>
                    <a:pt x="8" y="40"/>
                    <a:pt x="23" y="8"/>
                  </a:cubicBezTo>
                  <a:lnTo>
                    <a:pt x="23" y="8"/>
                  </a:lnTo>
                  <a:cubicBezTo>
                    <a:pt x="23" y="0"/>
                    <a:pt x="23" y="0"/>
                    <a:pt x="23" y="0"/>
                  </a:cubicBezTo>
                </a:path>
              </a:pathLst>
            </a:custGeom>
            <a:grpFill/>
            <a:ln>
              <a:solidFill>
                <a:schemeClr val="bg1">
                  <a:lumMod val="95000"/>
                </a:schemeClr>
              </a:solidFill>
            </a:ln>
            <a:effectLst/>
          </p:spPr>
          <p:txBody>
            <a:bodyPr wrap="none" anchor="ctr"/>
            <a:lstStyle/>
            <a:p>
              <a:endParaRPr lang="en-US" sz="900"/>
            </a:p>
          </p:txBody>
        </p:sp>
        <p:sp>
          <p:nvSpPr>
            <p:cNvPr id="87" name="Freeform 752"/>
            <p:cNvSpPr>
              <a:spLocks noChangeArrowheads="1"/>
            </p:cNvSpPr>
            <p:nvPr/>
          </p:nvSpPr>
          <p:spPr bwMode="auto">
            <a:xfrm>
              <a:off x="16752588" y="3366631"/>
              <a:ext cx="654044" cy="964831"/>
            </a:xfrm>
            <a:custGeom>
              <a:avLst/>
              <a:gdLst>
                <a:gd name="T0" fmla="*/ 1202 w 1243"/>
                <a:gd name="T1" fmla="*/ 1012 h 1835"/>
                <a:gd name="T2" fmla="*/ 1202 w 1243"/>
                <a:gd name="T3" fmla="*/ 1012 h 1835"/>
                <a:gd name="T4" fmla="*/ 1155 w 1243"/>
                <a:gd name="T5" fmla="*/ 989 h 1835"/>
                <a:gd name="T6" fmla="*/ 1163 w 1243"/>
                <a:gd name="T7" fmla="*/ 925 h 1835"/>
                <a:gd name="T8" fmla="*/ 1131 w 1243"/>
                <a:gd name="T9" fmla="*/ 894 h 1835"/>
                <a:gd name="T10" fmla="*/ 1092 w 1243"/>
                <a:gd name="T11" fmla="*/ 933 h 1835"/>
                <a:gd name="T12" fmla="*/ 997 w 1243"/>
                <a:gd name="T13" fmla="*/ 846 h 1835"/>
                <a:gd name="T14" fmla="*/ 981 w 1243"/>
                <a:gd name="T15" fmla="*/ 728 h 1835"/>
                <a:gd name="T16" fmla="*/ 870 w 1243"/>
                <a:gd name="T17" fmla="*/ 720 h 1835"/>
                <a:gd name="T18" fmla="*/ 823 w 1243"/>
                <a:gd name="T19" fmla="*/ 641 h 1835"/>
                <a:gd name="T20" fmla="*/ 657 w 1243"/>
                <a:gd name="T21" fmla="*/ 174 h 1835"/>
                <a:gd name="T22" fmla="*/ 491 w 1243"/>
                <a:gd name="T23" fmla="*/ 24 h 1835"/>
                <a:gd name="T24" fmla="*/ 428 w 1243"/>
                <a:gd name="T25" fmla="*/ 56 h 1835"/>
                <a:gd name="T26" fmla="*/ 253 w 1243"/>
                <a:gd name="T27" fmla="*/ 143 h 1835"/>
                <a:gd name="T28" fmla="*/ 182 w 1243"/>
                <a:gd name="T29" fmla="*/ 56 h 1835"/>
                <a:gd name="T30" fmla="*/ 119 w 1243"/>
                <a:gd name="T31" fmla="*/ 135 h 1835"/>
                <a:gd name="T32" fmla="*/ 32 w 1243"/>
                <a:gd name="T33" fmla="*/ 427 h 1835"/>
                <a:gd name="T34" fmla="*/ 32 w 1243"/>
                <a:gd name="T35" fmla="*/ 554 h 1835"/>
                <a:gd name="T36" fmla="*/ 32 w 1243"/>
                <a:gd name="T37" fmla="*/ 569 h 1835"/>
                <a:gd name="T38" fmla="*/ 380 w 1243"/>
                <a:gd name="T39" fmla="*/ 1755 h 1835"/>
                <a:gd name="T40" fmla="*/ 396 w 1243"/>
                <a:gd name="T41" fmla="*/ 1755 h 1835"/>
                <a:gd name="T42" fmla="*/ 428 w 1243"/>
                <a:gd name="T43" fmla="*/ 1779 h 1835"/>
                <a:gd name="T44" fmla="*/ 483 w 1243"/>
                <a:gd name="T45" fmla="*/ 1811 h 1835"/>
                <a:gd name="T46" fmla="*/ 475 w 1243"/>
                <a:gd name="T47" fmla="*/ 1763 h 1835"/>
                <a:gd name="T48" fmla="*/ 483 w 1243"/>
                <a:gd name="T49" fmla="*/ 1732 h 1835"/>
                <a:gd name="T50" fmla="*/ 506 w 1243"/>
                <a:gd name="T51" fmla="*/ 1692 h 1835"/>
                <a:gd name="T52" fmla="*/ 538 w 1243"/>
                <a:gd name="T53" fmla="*/ 1724 h 1835"/>
                <a:gd name="T54" fmla="*/ 554 w 1243"/>
                <a:gd name="T55" fmla="*/ 1676 h 1835"/>
                <a:gd name="T56" fmla="*/ 562 w 1243"/>
                <a:gd name="T57" fmla="*/ 1637 h 1835"/>
                <a:gd name="T58" fmla="*/ 625 w 1243"/>
                <a:gd name="T59" fmla="*/ 1645 h 1835"/>
                <a:gd name="T60" fmla="*/ 657 w 1243"/>
                <a:gd name="T61" fmla="*/ 1613 h 1835"/>
                <a:gd name="T62" fmla="*/ 649 w 1243"/>
                <a:gd name="T63" fmla="*/ 1463 h 1835"/>
                <a:gd name="T64" fmla="*/ 680 w 1243"/>
                <a:gd name="T65" fmla="*/ 1439 h 1835"/>
                <a:gd name="T66" fmla="*/ 688 w 1243"/>
                <a:gd name="T67" fmla="*/ 1384 h 1835"/>
                <a:gd name="T68" fmla="*/ 712 w 1243"/>
                <a:gd name="T69" fmla="*/ 1400 h 1835"/>
                <a:gd name="T70" fmla="*/ 752 w 1243"/>
                <a:gd name="T71" fmla="*/ 1439 h 1835"/>
                <a:gd name="T72" fmla="*/ 783 w 1243"/>
                <a:gd name="T73" fmla="*/ 1439 h 1835"/>
                <a:gd name="T74" fmla="*/ 823 w 1243"/>
                <a:gd name="T75" fmla="*/ 1431 h 1835"/>
                <a:gd name="T76" fmla="*/ 807 w 1243"/>
                <a:gd name="T77" fmla="*/ 1376 h 1835"/>
                <a:gd name="T78" fmla="*/ 839 w 1243"/>
                <a:gd name="T79" fmla="*/ 1400 h 1835"/>
                <a:gd name="T80" fmla="*/ 870 w 1243"/>
                <a:gd name="T81" fmla="*/ 1400 h 1835"/>
                <a:gd name="T82" fmla="*/ 902 w 1243"/>
                <a:gd name="T83" fmla="*/ 1376 h 1835"/>
                <a:gd name="T84" fmla="*/ 910 w 1243"/>
                <a:gd name="T85" fmla="*/ 1328 h 1835"/>
                <a:gd name="T86" fmla="*/ 854 w 1243"/>
                <a:gd name="T87" fmla="*/ 1313 h 1835"/>
                <a:gd name="T88" fmla="*/ 839 w 1243"/>
                <a:gd name="T89" fmla="*/ 1305 h 1835"/>
                <a:gd name="T90" fmla="*/ 902 w 1243"/>
                <a:gd name="T91" fmla="*/ 1281 h 1835"/>
                <a:gd name="T92" fmla="*/ 926 w 1243"/>
                <a:gd name="T93" fmla="*/ 1321 h 1835"/>
                <a:gd name="T94" fmla="*/ 965 w 1243"/>
                <a:gd name="T95" fmla="*/ 1321 h 1835"/>
                <a:gd name="T96" fmla="*/ 989 w 1243"/>
                <a:gd name="T97" fmla="*/ 1289 h 1835"/>
                <a:gd name="T98" fmla="*/ 1005 w 1243"/>
                <a:gd name="T99" fmla="*/ 1234 h 1835"/>
                <a:gd name="T100" fmla="*/ 1028 w 1243"/>
                <a:gd name="T101" fmla="*/ 1226 h 1835"/>
                <a:gd name="T102" fmla="*/ 1068 w 1243"/>
                <a:gd name="T103" fmla="*/ 1234 h 1835"/>
                <a:gd name="T104" fmla="*/ 1092 w 1243"/>
                <a:gd name="T105" fmla="*/ 1186 h 1835"/>
                <a:gd name="T106" fmla="*/ 1139 w 1243"/>
                <a:gd name="T107" fmla="*/ 1131 h 1835"/>
                <a:gd name="T108" fmla="*/ 1202 w 1243"/>
                <a:gd name="T109" fmla="*/ 1091 h 1835"/>
                <a:gd name="T110" fmla="*/ 1202 w 1243"/>
                <a:gd name="T111" fmla="*/ 1012 h 1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3" h="1835">
                  <a:moveTo>
                    <a:pt x="1202" y="1012"/>
                  </a:moveTo>
                  <a:lnTo>
                    <a:pt x="1202" y="1012"/>
                  </a:lnTo>
                  <a:cubicBezTo>
                    <a:pt x="1163" y="1012"/>
                    <a:pt x="1139" y="1020"/>
                    <a:pt x="1155" y="989"/>
                  </a:cubicBezTo>
                  <a:cubicBezTo>
                    <a:pt x="1179" y="949"/>
                    <a:pt x="1186" y="933"/>
                    <a:pt x="1163" y="925"/>
                  </a:cubicBezTo>
                  <a:cubicBezTo>
                    <a:pt x="1147" y="917"/>
                    <a:pt x="1123" y="902"/>
                    <a:pt x="1131" y="894"/>
                  </a:cubicBezTo>
                  <a:cubicBezTo>
                    <a:pt x="1131" y="902"/>
                    <a:pt x="1107" y="925"/>
                    <a:pt x="1092" y="933"/>
                  </a:cubicBezTo>
                  <a:cubicBezTo>
                    <a:pt x="1076" y="941"/>
                    <a:pt x="1020" y="870"/>
                    <a:pt x="997" y="846"/>
                  </a:cubicBezTo>
                  <a:cubicBezTo>
                    <a:pt x="981" y="822"/>
                    <a:pt x="1005" y="759"/>
                    <a:pt x="981" y="728"/>
                  </a:cubicBezTo>
                  <a:cubicBezTo>
                    <a:pt x="957" y="696"/>
                    <a:pt x="902" y="751"/>
                    <a:pt x="870" y="720"/>
                  </a:cubicBezTo>
                  <a:cubicBezTo>
                    <a:pt x="831" y="696"/>
                    <a:pt x="823" y="641"/>
                    <a:pt x="823" y="641"/>
                  </a:cubicBezTo>
                  <a:cubicBezTo>
                    <a:pt x="823" y="641"/>
                    <a:pt x="680" y="230"/>
                    <a:pt x="657" y="174"/>
                  </a:cubicBezTo>
                  <a:cubicBezTo>
                    <a:pt x="641" y="119"/>
                    <a:pt x="538" y="48"/>
                    <a:pt x="491" y="24"/>
                  </a:cubicBezTo>
                  <a:cubicBezTo>
                    <a:pt x="443" y="0"/>
                    <a:pt x="435" y="24"/>
                    <a:pt x="428" y="56"/>
                  </a:cubicBezTo>
                  <a:cubicBezTo>
                    <a:pt x="412" y="79"/>
                    <a:pt x="285" y="158"/>
                    <a:pt x="253" y="143"/>
                  </a:cubicBezTo>
                  <a:cubicBezTo>
                    <a:pt x="230" y="127"/>
                    <a:pt x="206" y="72"/>
                    <a:pt x="182" y="56"/>
                  </a:cubicBezTo>
                  <a:cubicBezTo>
                    <a:pt x="159" y="32"/>
                    <a:pt x="135" y="95"/>
                    <a:pt x="119" y="135"/>
                  </a:cubicBezTo>
                  <a:cubicBezTo>
                    <a:pt x="111" y="174"/>
                    <a:pt x="56" y="388"/>
                    <a:pt x="32" y="427"/>
                  </a:cubicBezTo>
                  <a:cubicBezTo>
                    <a:pt x="0" y="475"/>
                    <a:pt x="32" y="498"/>
                    <a:pt x="32" y="554"/>
                  </a:cubicBezTo>
                  <a:cubicBezTo>
                    <a:pt x="32" y="562"/>
                    <a:pt x="32" y="569"/>
                    <a:pt x="32" y="569"/>
                  </a:cubicBezTo>
                  <a:cubicBezTo>
                    <a:pt x="380" y="1755"/>
                    <a:pt x="380" y="1755"/>
                    <a:pt x="380" y="1755"/>
                  </a:cubicBezTo>
                  <a:cubicBezTo>
                    <a:pt x="388" y="1755"/>
                    <a:pt x="388" y="1755"/>
                    <a:pt x="396" y="1755"/>
                  </a:cubicBezTo>
                  <a:cubicBezTo>
                    <a:pt x="428" y="1755"/>
                    <a:pt x="404" y="1803"/>
                    <a:pt x="428" y="1779"/>
                  </a:cubicBezTo>
                  <a:cubicBezTo>
                    <a:pt x="459" y="1763"/>
                    <a:pt x="475" y="1834"/>
                    <a:pt x="483" y="1811"/>
                  </a:cubicBezTo>
                  <a:cubicBezTo>
                    <a:pt x="491" y="1787"/>
                    <a:pt x="467" y="1779"/>
                    <a:pt x="475" y="1763"/>
                  </a:cubicBezTo>
                  <a:cubicBezTo>
                    <a:pt x="475" y="1748"/>
                    <a:pt x="491" y="1755"/>
                    <a:pt x="483" y="1732"/>
                  </a:cubicBezTo>
                  <a:cubicBezTo>
                    <a:pt x="475" y="1700"/>
                    <a:pt x="491" y="1668"/>
                    <a:pt x="506" y="1692"/>
                  </a:cubicBezTo>
                  <a:cubicBezTo>
                    <a:pt x="522" y="1724"/>
                    <a:pt x="530" y="1739"/>
                    <a:pt x="538" y="1724"/>
                  </a:cubicBezTo>
                  <a:cubicBezTo>
                    <a:pt x="554" y="1708"/>
                    <a:pt x="562" y="1716"/>
                    <a:pt x="554" y="1676"/>
                  </a:cubicBezTo>
                  <a:cubicBezTo>
                    <a:pt x="546" y="1645"/>
                    <a:pt x="538" y="1645"/>
                    <a:pt x="562" y="1637"/>
                  </a:cubicBezTo>
                  <a:cubicBezTo>
                    <a:pt x="586" y="1637"/>
                    <a:pt x="593" y="1661"/>
                    <a:pt x="625" y="1645"/>
                  </a:cubicBezTo>
                  <a:cubicBezTo>
                    <a:pt x="657" y="1629"/>
                    <a:pt x="665" y="1637"/>
                    <a:pt x="657" y="1613"/>
                  </a:cubicBezTo>
                  <a:cubicBezTo>
                    <a:pt x="657" y="1589"/>
                    <a:pt x="625" y="1510"/>
                    <a:pt x="649" y="1463"/>
                  </a:cubicBezTo>
                  <a:cubicBezTo>
                    <a:pt x="680" y="1415"/>
                    <a:pt x="680" y="1463"/>
                    <a:pt x="680" y="1439"/>
                  </a:cubicBezTo>
                  <a:cubicBezTo>
                    <a:pt x="673" y="1415"/>
                    <a:pt x="688" y="1423"/>
                    <a:pt x="688" y="1384"/>
                  </a:cubicBezTo>
                  <a:cubicBezTo>
                    <a:pt x="696" y="1344"/>
                    <a:pt x="704" y="1384"/>
                    <a:pt x="712" y="1400"/>
                  </a:cubicBezTo>
                  <a:cubicBezTo>
                    <a:pt x="728" y="1423"/>
                    <a:pt x="736" y="1447"/>
                    <a:pt x="752" y="1439"/>
                  </a:cubicBezTo>
                  <a:cubicBezTo>
                    <a:pt x="775" y="1431"/>
                    <a:pt x="759" y="1431"/>
                    <a:pt x="783" y="1439"/>
                  </a:cubicBezTo>
                  <a:cubicBezTo>
                    <a:pt x="807" y="1455"/>
                    <a:pt x="846" y="1455"/>
                    <a:pt x="823" y="1431"/>
                  </a:cubicBezTo>
                  <a:cubicBezTo>
                    <a:pt x="807" y="1408"/>
                    <a:pt x="783" y="1384"/>
                    <a:pt x="807" y="1376"/>
                  </a:cubicBezTo>
                  <a:cubicBezTo>
                    <a:pt x="831" y="1368"/>
                    <a:pt x="831" y="1384"/>
                    <a:pt x="839" y="1400"/>
                  </a:cubicBezTo>
                  <a:cubicBezTo>
                    <a:pt x="839" y="1423"/>
                    <a:pt x="870" y="1400"/>
                    <a:pt x="870" y="1400"/>
                  </a:cubicBezTo>
                  <a:cubicBezTo>
                    <a:pt x="870" y="1400"/>
                    <a:pt x="878" y="1400"/>
                    <a:pt x="902" y="1376"/>
                  </a:cubicBezTo>
                  <a:cubicBezTo>
                    <a:pt x="918" y="1352"/>
                    <a:pt x="926" y="1344"/>
                    <a:pt x="910" y="1328"/>
                  </a:cubicBezTo>
                  <a:cubicBezTo>
                    <a:pt x="894" y="1321"/>
                    <a:pt x="862" y="1305"/>
                    <a:pt x="854" y="1313"/>
                  </a:cubicBezTo>
                  <a:cubicBezTo>
                    <a:pt x="839" y="1328"/>
                    <a:pt x="815" y="1321"/>
                    <a:pt x="839" y="1305"/>
                  </a:cubicBezTo>
                  <a:cubicBezTo>
                    <a:pt x="870" y="1281"/>
                    <a:pt x="886" y="1265"/>
                    <a:pt x="902" y="1281"/>
                  </a:cubicBezTo>
                  <a:cubicBezTo>
                    <a:pt x="918" y="1305"/>
                    <a:pt x="894" y="1305"/>
                    <a:pt x="926" y="1321"/>
                  </a:cubicBezTo>
                  <a:cubicBezTo>
                    <a:pt x="949" y="1344"/>
                    <a:pt x="957" y="1360"/>
                    <a:pt x="965" y="1321"/>
                  </a:cubicBezTo>
                  <a:cubicBezTo>
                    <a:pt x="973" y="1289"/>
                    <a:pt x="973" y="1289"/>
                    <a:pt x="989" y="1289"/>
                  </a:cubicBezTo>
                  <a:cubicBezTo>
                    <a:pt x="1005" y="1289"/>
                    <a:pt x="1005" y="1265"/>
                    <a:pt x="1005" y="1234"/>
                  </a:cubicBezTo>
                  <a:cubicBezTo>
                    <a:pt x="1005" y="1210"/>
                    <a:pt x="1012" y="1210"/>
                    <a:pt x="1028" y="1226"/>
                  </a:cubicBezTo>
                  <a:cubicBezTo>
                    <a:pt x="1044" y="1249"/>
                    <a:pt x="1052" y="1257"/>
                    <a:pt x="1068" y="1234"/>
                  </a:cubicBezTo>
                  <a:cubicBezTo>
                    <a:pt x="1076" y="1210"/>
                    <a:pt x="1060" y="1218"/>
                    <a:pt x="1092" y="1186"/>
                  </a:cubicBezTo>
                  <a:cubicBezTo>
                    <a:pt x="1123" y="1155"/>
                    <a:pt x="1107" y="1131"/>
                    <a:pt x="1139" y="1131"/>
                  </a:cubicBezTo>
                  <a:cubicBezTo>
                    <a:pt x="1171" y="1123"/>
                    <a:pt x="1171" y="1123"/>
                    <a:pt x="1202" y="1091"/>
                  </a:cubicBezTo>
                  <a:cubicBezTo>
                    <a:pt x="1234" y="1068"/>
                    <a:pt x="1242" y="1020"/>
                    <a:pt x="1202" y="1012"/>
                  </a:cubicBezTo>
                </a:path>
              </a:pathLst>
            </a:custGeom>
            <a:grpFill/>
            <a:ln>
              <a:solidFill>
                <a:schemeClr val="bg1">
                  <a:lumMod val="95000"/>
                </a:schemeClr>
              </a:solidFill>
            </a:ln>
            <a:effectLst/>
          </p:spPr>
          <p:txBody>
            <a:bodyPr wrap="none" anchor="ctr"/>
            <a:lstStyle/>
            <a:p>
              <a:endParaRPr lang="en-US" sz="900"/>
            </a:p>
          </p:txBody>
        </p:sp>
        <p:sp>
          <p:nvSpPr>
            <p:cNvPr id="88" name="Freeform 753"/>
            <p:cNvSpPr>
              <a:spLocks noChangeArrowheads="1"/>
            </p:cNvSpPr>
            <p:nvPr/>
          </p:nvSpPr>
          <p:spPr bwMode="auto">
            <a:xfrm>
              <a:off x="16759545" y="3368951"/>
              <a:ext cx="644767" cy="953234"/>
            </a:xfrm>
            <a:custGeom>
              <a:avLst/>
              <a:gdLst>
                <a:gd name="T0" fmla="*/ 434 w 1226"/>
                <a:gd name="T1" fmla="*/ 1771 h 1812"/>
                <a:gd name="T2" fmla="*/ 387 w 1226"/>
                <a:gd name="T3" fmla="*/ 1747 h 1812"/>
                <a:gd name="T4" fmla="*/ 23 w 1226"/>
                <a:gd name="T5" fmla="*/ 561 h 1812"/>
                <a:gd name="T6" fmla="*/ 15 w 1226"/>
                <a:gd name="T7" fmla="*/ 419 h 1812"/>
                <a:gd name="T8" fmla="*/ 173 w 1226"/>
                <a:gd name="T9" fmla="*/ 40 h 1812"/>
                <a:gd name="T10" fmla="*/ 411 w 1226"/>
                <a:gd name="T11" fmla="*/ 40 h 1812"/>
                <a:gd name="T12" fmla="*/ 656 w 1226"/>
                <a:gd name="T13" fmla="*/ 166 h 1812"/>
                <a:gd name="T14" fmla="*/ 917 w 1226"/>
                <a:gd name="T15" fmla="*/ 712 h 1812"/>
                <a:gd name="T16" fmla="*/ 996 w 1226"/>
                <a:gd name="T17" fmla="*/ 838 h 1812"/>
                <a:gd name="T18" fmla="*/ 1138 w 1226"/>
                <a:gd name="T19" fmla="*/ 862 h 1812"/>
                <a:gd name="T20" fmla="*/ 1170 w 1226"/>
                <a:gd name="T21" fmla="*/ 925 h 1812"/>
                <a:gd name="T22" fmla="*/ 1170 w 1226"/>
                <a:gd name="T23" fmla="*/ 1004 h 1812"/>
                <a:gd name="T24" fmla="*/ 1130 w 1226"/>
                <a:gd name="T25" fmla="*/ 1123 h 1812"/>
                <a:gd name="T26" fmla="*/ 1067 w 1226"/>
                <a:gd name="T27" fmla="*/ 1210 h 1812"/>
                <a:gd name="T28" fmla="*/ 1003 w 1226"/>
                <a:gd name="T29" fmla="*/ 1210 h 1812"/>
                <a:gd name="T30" fmla="*/ 980 w 1226"/>
                <a:gd name="T31" fmla="*/ 1281 h 1812"/>
                <a:gd name="T32" fmla="*/ 909 w 1226"/>
                <a:gd name="T33" fmla="*/ 1320 h 1812"/>
                <a:gd name="T34" fmla="*/ 845 w 1226"/>
                <a:gd name="T35" fmla="*/ 1289 h 1812"/>
                <a:gd name="T36" fmla="*/ 901 w 1226"/>
                <a:gd name="T37" fmla="*/ 1320 h 1812"/>
                <a:gd name="T38" fmla="*/ 837 w 1226"/>
                <a:gd name="T39" fmla="*/ 1407 h 1812"/>
                <a:gd name="T40" fmla="*/ 798 w 1226"/>
                <a:gd name="T41" fmla="*/ 1368 h 1812"/>
                <a:gd name="T42" fmla="*/ 822 w 1226"/>
                <a:gd name="T43" fmla="*/ 1439 h 1812"/>
                <a:gd name="T44" fmla="*/ 750 w 1226"/>
                <a:gd name="T45" fmla="*/ 1431 h 1812"/>
                <a:gd name="T46" fmla="*/ 703 w 1226"/>
                <a:gd name="T47" fmla="*/ 1392 h 1812"/>
                <a:gd name="T48" fmla="*/ 679 w 1226"/>
                <a:gd name="T49" fmla="*/ 1407 h 1812"/>
                <a:gd name="T50" fmla="*/ 664 w 1226"/>
                <a:gd name="T51" fmla="*/ 1439 h 1812"/>
                <a:gd name="T52" fmla="*/ 632 w 1226"/>
                <a:gd name="T53" fmla="*/ 1637 h 1812"/>
                <a:gd name="T54" fmla="*/ 553 w 1226"/>
                <a:gd name="T55" fmla="*/ 1637 h 1812"/>
                <a:gd name="T56" fmla="*/ 545 w 1226"/>
                <a:gd name="T57" fmla="*/ 1716 h 1812"/>
                <a:gd name="T58" fmla="*/ 482 w 1226"/>
                <a:gd name="T59" fmla="*/ 1684 h 1812"/>
                <a:gd name="T60" fmla="*/ 466 w 1226"/>
                <a:gd name="T61" fmla="*/ 1755 h 1812"/>
                <a:gd name="T62" fmla="*/ 434 w 1226"/>
                <a:gd name="T63" fmla="*/ 1763 h 1812"/>
                <a:gd name="T64" fmla="*/ 466 w 1226"/>
                <a:gd name="T65" fmla="*/ 1795 h 1812"/>
                <a:gd name="T66" fmla="*/ 474 w 1226"/>
                <a:gd name="T67" fmla="*/ 1724 h 1812"/>
                <a:gd name="T68" fmla="*/ 521 w 1226"/>
                <a:gd name="T69" fmla="*/ 1716 h 1812"/>
                <a:gd name="T70" fmla="*/ 537 w 1226"/>
                <a:gd name="T71" fmla="*/ 1660 h 1812"/>
                <a:gd name="T72" fmla="*/ 600 w 1226"/>
                <a:gd name="T73" fmla="*/ 1637 h 1812"/>
                <a:gd name="T74" fmla="*/ 640 w 1226"/>
                <a:gd name="T75" fmla="*/ 1589 h 1812"/>
                <a:gd name="T76" fmla="*/ 671 w 1226"/>
                <a:gd name="T77" fmla="*/ 1407 h 1812"/>
                <a:gd name="T78" fmla="*/ 711 w 1226"/>
                <a:gd name="T79" fmla="*/ 1392 h 1812"/>
                <a:gd name="T80" fmla="*/ 743 w 1226"/>
                <a:gd name="T81" fmla="*/ 1423 h 1812"/>
                <a:gd name="T82" fmla="*/ 806 w 1226"/>
                <a:gd name="T83" fmla="*/ 1439 h 1812"/>
                <a:gd name="T84" fmla="*/ 790 w 1226"/>
                <a:gd name="T85" fmla="*/ 1376 h 1812"/>
                <a:gd name="T86" fmla="*/ 830 w 1226"/>
                <a:gd name="T87" fmla="*/ 1392 h 1812"/>
                <a:gd name="T88" fmla="*/ 885 w 1226"/>
                <a:gd name="T89" fmla="*/ 1368 h 1812"/>
                <a:gd name="T90" fmla="*/ 845 w 1226"/>
                <a:gd name="T91" fmla="*/ 1313 h 1812"/>
                <a:gd name="T92" fmla="*/ 837 w 1226"/>
                <a:gd name="T93" fmla="*/ 1281 h 1812"/>
                <a:gd name="T94" fmla="*/ 917 w 1226"/>
                <a:gd name="T95" fmla="*/ 1313 h 1812"/>
                <a:gd name="T96" fmla="*/ 980 w 1226"/>
                <a:gd name="T97" fmla="*/ 1273 h 1812"/>
                <a:gd name="T98" fmla="*/ 1003 w 1226"/>
                <a:gd name="T99" fmla="*/ 1202 h 1812"/>
                <a:gd name="T100" fmla="*/ 1059 w 1226"/>
                <a:gd name="T101" fmla="*/ 1210 h 1812"/>
                <a:gd name="T102" fmla="*/ 1130 w 1226"/>
                <a:gd name="T103" fmla="*/ 1115 h 1812"/>
                <a:gd name="T104" fmla="*/ 1170 w 1226"/>
                <a:gd name="T105" fmla="*/ 1012 h 1812"/>
                <a:gd name="T106" fmla="*/ 1162 w 1226"/>
                <a:gd name="T107" fmla="*/ 925 h 1812"/>
                <a:gd name="T108" fmla="*/ 1083 w 1226"/>
                <a:gd name="T109" fmla="*/ 925 h 1812"/>
                <a:gd name="T110" fmla="*/ 972 w 1226"/>
                <a:gd name="T111" fmla="*/ 720 h 1812"/>
                <a:gd name="T112" fmla="*/ 861 w 1226"/>
                <a:gd name="T113" fmla="*/ 720 h 1812"/>
                <a:gd name="T114" fmla="*/ 450 w 1226"/>
                <a:gd name="T115" fmla="*/ 8 h 1812"/>
                <a:gd name="T116" fmla="*/ 244 w 1226"/>
                <a:gd name="T117" fmla="*/ 143 h 1812"/>
                <a:gd name="T118" fmla="*/ 118 w 1226"/>
                <a:gd name="T119" fmla="*/ 127 h 1812"/>
                <a:gd name="T120" fmla="*/ 31 w 1226"/>
                <a:gd name="T121" fmla="*/ 546 h 1812"/>
                <a:gd name="T122" fmla="*/ 411 w 1226"/>
                <a:gd name="T123" fmla="*/ 1771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812">
                  <a:moveTo>
                    <a:pt x="466" y="1811"/>
                  </a:moveTo>
                  <a:lnTo>
                    <a:pt x="466" y="1811"/>
                  </a:lnTo>
                  <a:cubicBezTo>
                    <a:pt x="466" y="1811"/>
                    <a:pt x="458" y="1803"/>
                    <a:pt x="458" y="1795"/>
                  </a:cubicBezTo>
                  <a:cubicBezTo>
                    <a:pt x="450" y="1787"/>
                    <a:pt x="442" y="1771"/>
                    <a:pt x="434" y="1771"/>
                  </a:cubicBezTo>
                  <a:cubicBezTo>
                    <a:pt x="426" y="1771"/>
                    <a:pt x="426" y="1771"/>
                    <a:pt x="426" y="1779"/>
                  </a:cubicBezTo>
                  <a:cubicBezTo>
                    <a:pt x="419" y="1779"/>
                    <a:pt x="411" y="1787"/>
                    <a:pt x="411" y="1787"/>
                  </a:cubicBezTo>
                  <a:cubicBezTo>
                    <a:pt x="403" y="1787"/>
                    <a:pt x="403" y="1779"/>
                    <a:pt x="403" y="1771"/>
                  </a:cubicBezTo>
                  <a:cubicBezTo>
                    <a:pt x="395" y="1755"/>
                    <a:pt x="395" y="1755"/>
                    <a:pt x="387" y="1747"/>
                  </a:cubicBezTo>
                  <a:cubicBezTo>
                    <a:pt x="379" y="1747"/>
                    <a:pt x="379" y="1747"/>
                    <a:pt x="371" y="1755"/>
                  </a:cubicBezTo>
                  <a:lnTo>
                    <a:pt x="371" y="1755"/>
                  </a:lnTo>
                  <a:cubicBezTo>
                    <a:pt x="371" y="1747"/>
                    <a:pt x="371" y="1747"/>
                    <a:pt x="371" y="1747"/>
                  </a:cubicBezTo>
                  <a:cubicBezTo>
                    <a:pt x="23" y="561"/>
                    <a:pt x="23" y="561"/>
                    <a:pt x="23" y="561"/>
                  </a:cubicBezTo>
                  <a:lnTo>
                    <a:pt x="23" y="561"/>
                  </a:lnTo>
                  <a:cubicBezTo>
                    <a:pt x="23" y="561"/>
                    <a:pt x="23" y="554"/>
                    <a:pt x="23" y="546"/>
                  </a:cubicBezTo>
                  <a:cubicBezTo>
                    <a:pt x="23" y="530"/>
                    <a:pt x="15" y="514"/>
                    <a:pt x="15" y="498"/>
                  </a:cubicBezTo>
                  <a:cubicBezTo>
                    <a:pt x="7" y="475"/>
                    <a:pt x="0" y="451"/>
                    <a:pt x="15" y="419"/>
                  </a:cubicBezTo>
                  <a:cubicBezTo>
                    <a:pt x="39" y="388"/>
                    <a:pt x="79" y="245"/>
                    <a:pt x="94" y="174"/>
                  </a:cubicBezTo>
                  <a:cubicBezTo>
                    <a:pt x="102" y="150"/>
                    <a:pt x="110" y="135"/>
                    <a:pt x="110" y="127"/>
                  </a:cubicBezTo>
                  <a:cubicBezTo>
                    <a:pt x="118" y="103"/>
                    <a:pt x="142" y="40"/>
                    <a:pt x="166" y="40"/>
                  </a:cubicBezTo>
                  <a:cubicBezTo>
                    <a:pt x="173" y="40"/>
                    <a:pt x="173" y="40"/>
                    <a:pt x="173" y="40"/>
                  </a:cubicBezTo>
                  <a:cubicBezTo>
                    <a:pt x="189" y="48"/>
                    <a:pt x="197" y="64"/>
                    <a:pt x="205" y="79"/>
                  </a:cubicBezTo>
                  <a:cubicBezTo>
                    <a:pt x="221" y="103"/>
                    <a:pt x="229" y="127"/>
                    <a:pt x="253" y="135"/>
                  </a:cubicBezTo>
                  <a:cubicBezTo>
                    <a:pt x="253" y="135"/>
                    <a:pt x="253" y="135"/>
                    <a:pt x="260" y="135"/>
                  </a:cubicBezTo>
                  <a:cubicBezTo>
                    <a:pt x="292" y="135"/>
                    <a:pt x="403" y="64"/>
                    <a:pt x="411" y="40"/>
                  </a:cubicBezTo>
                  <a:cubicBezTo>
                    <a:pt x="411" y="40"/>
                    <a:pt x="419" y="40"/>
                    <a:pt x="419" y="32"/>
                  </a:cubicBezTo>
                  <a:cubicBezTo>
                    <a:pt x="426" y="16"/>
                    <a:pt x="434" y="0"/>
                    <a:pt x="450" y="0"/>
                  </a:cubicBezTo>
                  <a:cubicBezTo>
                    <a:pt x="458" y="0"/>
                    <a:pt x="474" y="8"/>
                    <a:pt x="482" y="8"/>
                  </a:cubicBezTo>
                  <a:cubicBezTo>
                    <a:pt x="529" y="32"/>
                    <a:pt x="632" y="103"/>
                    <a:pt x="656" y="166"/>
                  </a:cubicBezTo>
                  <a:cubicBezTo>
                    <a:pt x="671" y="222"/>
                    <a:pt x="814" y="625"/>
                    <a:pt x="822" y="633"/>
                  </a:cubicBezTo>
                  <a:cubicBezTo>
                    <a:pt x="822" y="633"/>
                    <a:pt x="830" y="688"/>
                    <a:pt x="861" y="712"/>
                  </a:cubicBezTo>
                  <a:cubicBezTo>
                    <a:pt x="869" y="712"/>
                    <a:pt x="877" y="720"/>
                    <a:pt x="885" y="720"/>
                  </a:cubicBezTo>
                  <a:cubicBezTo>
                    <a:pt x="893" y="720"/>
                    <a:pt x="909" y="712"/>
                    <a:pt x="917" y="712"/>
                  </a:cubicBezTo>
                  <a:cubicBezTo>
                    <a:pt x="932" y="704"/>
                    <a:pt x="940" y="704"/>
                    <a:pt x="948" y="704"/>
                  </a:cubicBezTo>
                  <a:cubicBezTo>
                    <a:pt x="964" y="704"/>
                    <a:pt x="972" y="704"/>
                    <a:pt x="972" y="712"/>
                  </a:cubicBezTo>
                  <a:cubicBezTo>
                    <a:pt x="988" y="736"/>
                    <a:pt x="988" y="759"/>
                    <a:pt x="988" y="783"/>
                  </a:cubicBezTo>
                  <a:cubicBezTo>
                    <a:pt x="988" y="807"/>
                    <a:pt x="988" y="823"/>
                    <a:pt x="996" y="838"/>
                  </a:cubicBezTo>
                  <a:cubicBezTo>
                    <a:pt x="996" y="838"/>
                    <a:pt x="996" y="838"/>
                    <a:pt x="1003" y="846"/>
                  </a:cubicBezTo>
                  <a:cubicBezTo>
                    <a:pt x="1019" y="862"/>
                    <a:pt x="1067" y="917"/>
                    <a:pt x="1083" y="917"/>
                  </a:cubicBezTo>
                  <a:cubicBezTo>
                    <a:pt x="1090" y="917"/>
                    <a:pt x="1106" y="894"/>
                    <a:pt x="1122" y="886"/>
                  </a:cubicBezTo>
                  <a:cubicBezTo>
                    <a:pt x="1138" y="862"/>
                    <a:pt x="1138" y="862"/>
                    <a:pt x="1138" y="862"/>
                  </a:cubicBezTo>
                  <a:cubicBezTo>
                    <a:pt x="1122" y="894"/>
                    <a:pt x="1122" y="894"/>
                    <a:pt x="1122" y="894"/>
                  </a:cubicBezTo>
                  <a:lnTo>
                    <a:pt x="1122" y="894"/>
                  </a:lnTo>
                  <a:cubicBezTo>
                    <a:pt x="1130" y="894"/>
                    <a:pt x="1146" y="909"/>
                    <a:pt x="1154" y="909"/>
                  </a:cubicBezTo>
                  <a:cubicBezTo>
                    <a:pt x="1162" y="917"/>
                    <a:pt x="1170" y="917"/>
                    <a:pt x="1170" y="925"/>
                  </a:cubicBezTo>
                  <a:cubicBezTo>
                    <a:pt x="1170" y="933"/>
                    <a:pt x="1162" y="949"/>
                    <a:pt x="1154" y="973"/>
                  </a:cubicBezTo>
                  <a:cubicBezTo>
                    <a:pt x="1154" y="981"/>
                    <a:pt x="1154" y="981"/>
                    <a:pt x="1154" y="981"/>
                  </a:cubicBezTo>
                  <a:cubicBezTo>
                    <a:pt x="1146" y="989"/>
                    <a:pt x="1146" y="996"/>
                    <a:pt x="1146" y="996"/>
                  </a:cubicBezTo>
                  <a:cubicBezTo>
                    <a:pt x="1146" y="1004"/>
                    <a:pt x="1154" y="1004"/>
                    <a:pt x="1170" y="1004"/>
                  </a:cubicBezTo>
                  <a:cubicBezTo>
                    <a:pt x="1177" y="1004"/>
                    <a:pt x="1185" y="1004"/>
                    <a:pt x="1193" y="1004"/>
                  </a:cubicBezTo>
                  <a:cubicBezTo>
                    <a:pt x="1209" y="1004"/>
                    <a:pt x="1217" y="1012"/>
                    <a:pt x="1217" y="1020"/>
                  </a:cubicBezTo>
                  <a:cubicBezTo>
                    <a:pt x="1225" y="1044"/>
                    <a:pt x="1217" y="1067"/>
                    <a:pt x="1193" y="1091"/>
                  </a:cubicBezTo>
                  <a:cubicBezTo>
                    <a:pt x="1162" y="1115"/>
                    <a:pt x="1162" y="1115"/>
                    <a:pt x="1130" y="1123"/>
                  </a:cubicBezTo>
                  <a:lnTo>
                    <a:pt x="1130" y="1123"/>
                  </a:lnTo>
                  <a:cubicBezTo>
                    <a:pt x="1114" y="1123"/>
                    <a:pt x="1114" y="1131"/>
                    <a:pt x="1106" y="1139"/>
                  </a:cubicBezTo>
                  <a:cubicBezTo>
                    <a:pt x="1106" y="1154"/>
                    <a:pt x="1106" y="1162"/>
                    <a:pt x="1090" y="1178"/>
                  </a:cubicBezTo>
                  <a:cubicBezTo>
                    <a:pt x="1067" y="1202"/>
                    <a:pt x="1067" y="1202"/>
                    <a:pt x="1067" y="1210"/>
                  </a:cubicBezTo>
                  <a:cubicBezTo>
                    <a:pt x="1067" y="1210"/>
                    <a:pt x="1059" y="1218"/>
                    <a:pt x="1059" y="1226"/>
                  </a:cubicBezTo>
                  <a:cubicBezTo>
                    <a:pt x="1059" y="1234"/>
                    <a:pt x="1051" y="1241"/>
                    <a:pt x="1043" y="1241"/>
                  </a:cubicBezTo>
                  <a:cubicBezTo>
                    <a:pt x="1035" y="1241"/>
                    <a:pt x="1027" y="1234"/>
                    <a:pt x="1019" y="1226"/>
                  </a:cubicBezTo>
                  <a:cubicBezTo>
                    <a:pt x="1011" y="1210"/>
                    <a:pt x="1003" y="1210"/>
                    <a:pt x="1003" y="1210"/>
                  </a:cubicBezTo>
                  <a:cubicBezTo>
                    <a:pt x="1003" y="1210"/>
                    <a:pt x="1003" y="1210"/>
                    <a:pt x="1003" y="1226"/>
                  </a:cubicBezTo>
                  <a:cubicBezTo>
                    <a:pt x="1003" y="1234"/>
                    <a:pt x="1003" y="1234"/>
                    <a:pt x="1003" y="1234"/>
                  </a:cubicBezTo>
                  <a:cubicBezTo>
                    <a:pt x="996" y="1257"/>
                    <a:pt x="996" y="1281"/>
                    <a:pt x="980" y="1281"/>
                  </a:cubicBezTo>
                  <a:lnTo>
                    <a:pt x="980" y="1281"/>
                  </a:lnTo>
                  <a:cubicBezTo>
                    <a:pt x="972" y="1281"/>
                    <a:pt x="964" y="1281"/>
                    <a:pt x="956" y="1320"/>
                  </a:cubicBezTo>
                  <a:cubicBezTo>
                    <a:pt x="956" y="1328"/>
                    <a:pt x="956" y="1344"/>
                    <a:pt x="940" y="1344"/>
                  </a:cubicBezTo>
                  <a:cubicBezTo>
                    <a:pt x="940" y="1344"/>
                    <a:pt x="932" y="1336"/>
                    <a:pt x="924" y="1328"/>
                  </a:cubicBezTo>
                  <a:cubicBezTo>
                    <a:pt x="917" y="1320"/>
                    <a:pt x="917" y="1320"/>
                    <a:pt x="909" y="1320"/>
                  </a:cubicBezTo>
                  <a:cubicBezTo>
                    <a:pt x="893" y="1305"/>
                    <a:pt x="893" y="1305"/>
                    <a:pt x="893" y="1297"/>
                  </a:cubicBezTo>
                  <a:cubicBezTo>
                    <a:pt x="901" y="1289"/>
                    <a:pt x="901" y="1289"/>
                    <a:pt x="893" y="1281"/>
                  </a:cubicBezTo>
                  <a:cubicBezTo>
                    <a:pt x="885" y="1273"/>
                    <a:pt x="885" y="1273"/>
                    <a:pt x="877" y="1273"/>
                  </a:cubicBezTo>
                  <a:cubicBezTo>
                    <a:pt x="869" y="1273"/>
                    <a:pt x="861" y="1281"/>
                    <a:pt x="845" y="1289"/>
                  </a:cubicBezTo>
                  <a:lnTo>
                    <a:pt x="837" y="1297"/>
                  </a:lnTo>
                  <a:cubicBezTo>
                    <a:pt x="830" y="1305"/>
                    <a:pt x="822" y="1305"/>
                    <a:pt x="822" y="1313"/>
                  </a:cubicBezTo>
                  <a:cubicBezTo>
                    <a:pt x="830" y="1313"/>
                    <a:pt x="837" y="1313"/>
                    <a:pt x="837" y="1305"/>
                  </a:cubicBezTo>
                  <a:cubicBezTo>
                    <a:pt x="845" y="1297"/>
                    <a:pt x="869" y="1297"/>
                    <a:pt x="901" y="1320"/>
                  </a:cubicBezTo>
                  <a:cubicBezTo>
                    <a:pt x="909" y="1320"/>
                    <a:pt x="909" y="1328"/>
                    <a:pt x="909" y="1336"/>
                  </a:cubicBezTo>
                  <a:cubicBezTo>
                    <a:pt x="909" y="1344"/>
                    <a:pt x="909" y="1352"/>
                    <a:pt x="893" y="1368"/>
                  </a:cubicBezTo>
                  <a:cubicBezTo>
                    <a:pt x="877" y="1392"/>
                    <a:pt x="869" y="1400"/>
                    <a:pt x="861" y="1400"/>
                  </a:cubicBezTo>
                  <a:cubicBezTo>
                    <a:pt x="861" y="1400"/>
                    <a:pt x="853" y="1407"/>
                    <a:pt x="837" y="1407"/>
                  </a:cubicBezTo>
                  <a:cubicBezTo>
                    <a:pt x="830" y="1407"/>
                    <a:pt x="822" y="1400"/>
                    <a:pt x="822" y="1392"/>
                  </a:cubicBezTo>
                  <a:lnTo>
                    <a:pt x="822" y="1384"/>
                  </a:lnTo>
                  <a:cubicBezTo>
                    <a:pt x="814" y="1368"/>
                    <a:pt x="814" y="1368"/>
                    <a:pt x="806" y="1368"/>
                  </a:cubicBezTo>
                  <a:cubicBezTo>
                    <a:pt x="806" y="1368"/>
                    <a:pt x="806" y="1368"/>
                    <a:pt x="798" y="1368"/>
                  </a:cubicBezTo>
                  <a:cubicBezTo>
                    <a:pt x="798" y="1368"/>
                    <a:pt x="790" y="1368"/>
                    <a:pt x="790" y="1376"/>
                  </a:cubicBezTo>
                  <a:cubicBezTo>
                    <a:pt x="790" y="1384"/>
                    <a:pt x="806" y="1400"/>
                    <a:pt x="814" y="1415"/>
                  </a:cubicBezTo>
                  <a:cubicBezTo>
                    <a:pt x="814" y="1415"/>
                    <a:pt x="822" y="1415"/>
                    <a:pt x="822" y="1423"/>
                  </a:cubicBezTo>
                  <a:cubicBezTo>
                    <a:pt x="830" y="1431"/>
                    <a:pt x="830" y="1431"/>
                    <a:pt x="822" y="1439"/>
                  </a:cubicBezTo>
                  <a:cubicBezTo>
                    <a:pt x="822" y="1439"/>
                    <a:pt x="814" y="1447"/>
                    <a:pt x="806" y="1447"/>
                  </a:cubicBezTo>
                  <a:cubicBezTo>
                    <a:pt x="798" y="1447"/>
                    <a:pt x="782" y="1439"/>
                    <a:pt x="774" y="1439"/>
                  </a:cubicBezTo>
                  <a:cubicBezTo>
                    <a:pt x="759" y="1431"/>
                    <a:pt x="759" y="1431"/>
                    <a:pt x="750" y="1431"/>
                  </a:cubicBezTo>
                  <a:lnTo>
                    <a:pt x="750" y="1431"/>
                  </a:lnTo>
                  <a:cubicBezTo>
                    <a:pt x="743" y="1431"/>
                    <a:pt x="743" y="1431"/>
                    <a:pt x="743" y="1431"/>
                  </a:cubicBezTo>
                  <a:cubicBezTo>
                    <a:pt x="743" y="1431"/>
                    <a:pt x="743" y="1431"/>
                    <a:pt x="735" y="1431"/>
                  </a:cubicBezTo>
                  <a:cubicBezTo>
                    <a:pt x="719" y="1431"/>
                    <a:pt x="711" y="1415"/>
                    <a:pt x="703" y="1392"/>
                  </a:cubicBezTo>
                  <a:lnTo>
                    <a:pt x="703" y="1392"/>
                  </a:lnTo>
                  <a:cubicBezTo>
                    <a:pt x="703" y="1392"/>
                    <a:pt x="703" y="1384"/>
                    <a:pt x="695" y="1384"/>
                  </a:cubicBezTo>
                  <a:cubicBezTo>
                    <a:pt x="695" y="1376"/>
                    <a:pt x="695" y="1368"/>
                    <a:pt x="687" y="1360"/>
                  </a:cubicBezTo>
                  <a:cubicBezTo>
                    <a:pt x="687" y="1368"/>
                    <a:pt x="687" y="1368"/>
                    <a:pt x="687" y="1376"/>
                  </a:cubicBezTo>
                  <a:cubicBezTo>
                    <a:pt x="687" y="1392"/>
                    <a:pt x="679" y="1407"/>
                    <a:pt x="679" y="1407"/>
                  </a:cubicBezTo>
                  <a:cubicBezTo>
                    <a:pt x="671" y="1415"/>
                    <a:pt x="671" y="1423"/>
                    <a:pt x="671" y="1431"/>
                  </a:cubicBezTo>
                  <a:cubicBezTo>
                    <a:pt x="671" y="1439"/>
                    <a:pt x="671" y="1439"/>
                    <a:pt x="671" y="1439"/>
                  </a:cubicBezTo>
                  <a:cubicBezTo>
                    <a:pt x="664" y="1439"/>
                    <a:pt x="664" y="1439"/>
                    <a:pt x="664" y="1439"/>
                  </a:cubicBezTo>
                  <a:lnTo>
                    <a:pt x="664" y="1439"/>
                  </a:lnTo>
                  <a:cubicBezTo>
                    <a:pt x="664" y="1439"/>
                    <a:pt x="656" y="1439"/>
                    <a:pt x="648" y="1455"/>
                  </a:cubicBezTo>
                  <a:cubicBezTo>
                    <a:pt x="624" y="1494"/>
                    <a:pt x="640" y="1550"/>
                    <a:pt x="648" y="1581"/>
                  </a:cubicBezTo>
                  <a:cubicBezTo>
                    <a:pt x="648" y="1589"/>
                    <a:pt x="656" y="1597"/>
                    <a:pt x="656" y="1605"/>
                  </a:cubicBezTo>
                  <a:cubicBezTo>
                    <a:pt x="656" y="1621"/>
                    <a:pt x="656" y="1629"/>
                    <a:pt x="632" y="1637"/>
                  </a:cubicBezTo>
                  <a:cubicBezTo>
                    <a:pt x="624" y="1637"/>
                    <a:pt x="624" y="1637"/>
                    <a:pt x="616" y="1645"/>
                  </a:cubicBezTo>
                  <a:cubicBezTo>
                    <a:pt x="608" y="1645"/>
                    <a:pt x="600" y="1645"/>
                    <a:pt x="600" y="1645"/>
                  </a:cubicBezTo>
                  <a:cubicBezTo>
                    <a:pt x="584" y="1645"/>
                    <a:pt x="584" y="1645"/>
                    <a:pt x="577" y="1637"/>
                  </a:cubicBezTo>
                  <a:cubicBezTo>
                    <a:pt x="569" y="1637"/>
                    <a:pt x="561" y="1637"/>
                    <a:pt x="553" y="1637"/>
                  </a:cubicBezTo>
                  <a:cubicBezTo>
                    <a:pt x="545" y="1637"/>
                    <a:pt x="545" y="1637"/>
                    <a:pt x="537" y="1637"/>
                  </a:cubicBezTo>
                  <a:cubicBezTo>
                    <a:pt x="537" y="1645"/>
                    <a:pt x="545" y="1653"/>
                    <a:pt x="545" y="1660"/>
                  </a:cubicBezTo>
                  <a:lnTo>
                    <a:pt x="545" y="1668"/>
                  </a:lnTo>
                  <a:cubicBezTo>
                    <a:pt x="553" y="1700"/>
                    <a:pt x="553" y="1708"/>
                    <a:pt x="545" y="1716"/>
                  </a:cubicBezTo>
                  <a:cubicBezTo>
                    <a:pt x="537" y="1716"/>
                    <a:pt x="537" y="1716"/>
                    <a:pt x="537" y="1716"/>
                  </a:cubicBezTo>
                  <a:cubicBezTo>
                    <a:pt x="529" y="1724"/>
                    <a:pt x="529" y="1724"/>
                    <a:pt x="521" y="1724"/>
                  </a:cubicBezTo>
                  <a:cubicBezTo>
                    <a:pt x="513" y="1724"/>
                    <a:pt x="506" y="1708"/>
                    <a:pt x="490" y="1692"/>
                  </a:cubicBezTo>
                  <a:cubicBezTo>
                    <a:pt x="490" y="1684"/>
                    <a:pt x="490" y="1684"/>
                    <a:pt x="482" y="1684"/>
                  </a:cubicBezTo>
                  <a:lnTo>
                    <a:pt x="482" y="1684"/>
                  </a:lnTo>
                  <a:cubicBezTo>
                    <a:pt x="474" y="1692"/>
                    <a:pt x="474" y="1708"/>
                    <a:pt x="482" y="1716"/>
                  </a:cubicBezTo>
                  <a:cubicBezTo>
                    <a:pt x="482" y="1740"/>
                    <a:pt x="482" y="1740"/>
                    <a:pt x="474" y="1747"/>
                  </a:cubicBezTo>
                  <a:cubicBezTo>
                    <a:pt x="474" y="1747"/>
                    <a:pt x="466" y="1747"/>
                    <a:pt x="466" y="1755"/>
                  </a:cubicBezTo>
                  <a:cubicBezTo>
                    <a:pt x="466" y="1763"/>
                    <a:pt x="466" y="1763"/>
                    <a:pt x="474" y="1771"/>
                  </a:cubicBezTo>
                  <a:cubicBezTo>
                    <a:pt x="474" y="1779"/>
                    <a:pt x="482" y="1787"/>
                    <a:pt x="474" y="1803"/>
                  </a:cubicBezTo>
                  <a:cubicBezTo>
                    <a:pt x="474" y="1803"/>
                    <a:pt x="474" y="1811"/>
                    <a:pt x="466" y="1811"/>
                  </a:cubicBezTo>
                  <a:close/>
                  <a:moveTo>
                    <a:pt x="434" y="1763"/>
                  </a:moveTo>
                  <a:lnTo>
                    <a:pt x="434" y="1763"/>
                  </a:lnTo>
                  <a:cubicBezTo>
                    <a:pt x="442" y="1763"/>
                    <a:pt x="458" y="1779"/>
                    <a:pt x="458" y="1787"/>
                  </a:cubicBezTo>
                  <a:cubicBezTo>
                    <a:pt x="466" y="1795"/>
                    <a:pt x="466" y="1795"/>
                    <a:pt x="466" y="1803"/>
                  </a:cubicBezTo>
                  <a:cubicBezTo>
                    <a:pt x="466" y="1795"/>
                    <a:pt x="466" y="1795"/>
                    <a:pt x="466" y="1795"/>
                  </a:cubicBezTo>
                  <a:cubicBezTo>
                    <a:pt x="474" y="1787"/>
                    <a:pt x="466" y="1779"/>
                    <a:pt x="466" y="1771"/>
                  </a:cubicBezTo>
                  <a:cubicBezTo>
                    <a:pt x="458" y="1771"/>
                    <a:pt x="458" y="1763"/>
                    <a:pt x="458" y="1755"/>
                  </a:cubicBezTo>
                  <a:cubicBezTo>
                    <a:pt x="466" y="1747"/>
                    <a:pt x="466" y="1740"/>
                    <a:pt x="474" y="1740"/>
                  </a:cubicBezTo>
                  <a:cubicBezTo>
                    <a:pt x="474" y="1740"/>
                    <a:pt x="474" y="1731"/>
                    <a:pt x="474" y="1724"/>
                  </a:cubicBezTo>
                  <a:cubicBezTo>
                    <a:pt x="466" y="1708"/>
                    <a:pt x="466" y="1692"/>
                    <a:pt x="474" y="1684"/>
                  </a:cubicBezTo>
                  <a:cubicBezTo>
                    <a:pt x="482" y="1676"/>
                    <a:pt x="482" y="1676"/>
                    <a:pt x="482" y="1676"/>
                  </a:cubicBezTo>
                  <a:cubicBezTo>
                    <a:pt x="490" y="1676"/>
                    <a:pt x="497" y="1676"/>
                    <a:pt x="497" y="1684"/>
                  </a:cubicBezTo>
                  <a:cubicBezTo>
                    <a:pt x="506" y="1700"/>
                    <a:pt x="521" y="1716"/>
                    <a:pt x="521" y="1716"/>
                  </a:cubicBezTo>
                  <a:cubicBezTo>
                    <a:pt x="529" y="1716"/>
                    <a:pt x="529" y="1716"/>
                    <a:pt x="529" y="1716"/>
                  </a:cubicBezTo>
                  <a:cubicBezTo>
                    <a:pt x="529" y="1708"/>
                    <a:pt x="537" y="1708"/>
                    <a:pt x="537" y="1708"/>
                  </a:cubicBezTo>
                  <a:cubicBezTo>
                    <a:pt x="545" y="1700"/>
                    <a:pt x="545" y="1700"/>
                    <a:pt x="545" y="1676"/>
                  </a:cubicBezTo>
                  <a:cubicBezTo>
                    <a:pt x="537" y="1668"/>
                    <a:pt x="537" y="1668"/>
                    <a:pt x="537" y="1660"/>
                  </a:cubicBezTo>
                  <a:cubicBezTo>
                    <a:pt x="537" y="1645"/>
                    <a:pt x="529" y="1637"/>
                    <a:pt x="537" y="1637"/>
                  </a:cubicBezTo>
                  <a:cubicBezTo>
                    <a:pt x="537" y="1629"/>
                    <a:pt x="545" y="1629"/>
                    <a:pt x="553" y="1629"/>
                  </a:cubicBezTo>
                  <a:cubicBezTo>
                    <a:pt x="561" y="1629"/>
                    <a:pt x="569" y="1629"/>
                    <a:pt x="577" y="1637"/>
                  </a:cubicBezTo>
                  <a:cubicBezTo>
                    <a:pt x="584" y="1637"/>
                    <a:pt x="592" y="1637"/>
                    <a:pt x="600" y="1637"/>
                  </a:cubicBezTo>
                  <a:cubicBezTo>
                    <a:pt x="600" y="1637"/>
                    <a:pt x="608" y="1637"/>
                    <a:pt x="616" y="1637"/>
                  </a:cubicBezTo>
                  <a:lnTo>
                    <a:pt x="624" y="1629"/>
                  </a:lnTo>
                  <a:cubicBezTo>
                    <a:pt x="648" y="1621"/>
                    <a:pt x="648" y="1621"/>
                    <a:pt x="648" y="1605"/>
                  </a:cubicBezTo>
                  <a:cubicBezTo>
                    <a:pt x="648" y="1597"/>
                    <a:pt x="640" y="1589"/>
                    <a:pt x="640" y="1589"/>
                  </a:cubicBezTo>
                  <a:cubicBezTo>
                    <a:pt x="632" y="1558"/>
                    <a:pt x="616" y="1494"/>
                    <a:pt x="640" y="1455"/>
                  </a:cubicBezTo>
                  <a:cubicBezTo>
                    <a:pt x="648" y="1439"/>
                    <a:pt x="656" y="1431"/>
                    <a:pt x="664" y="1431"/>
                  </a:cubicBezTo>
                  <a:lnTo>
                    <a:pt x="664" y="1431"/>
                  </a:lnTo>
                  <a:cubicBezTo>
                    <a:pt x="664" y="1415"/>
                    <a:pt x="664" y="1415"/>
                    <a:pt x="671" y="1407"/>
                  </a:cubicBezTo>
                  <a:cubicBezTo>
                    <a:pt x="671" y="1400"/>
                    <a:pt x="679" y="1392"/>
                    <a:pt x="679" y="1376"/>
                  </a:cubicBezTo>
                  <a:cubicBezTo>
                    <a:pt x="679" y="1360"/>
                    <a:pt x="679" y="1352"/>
                    <a:pt x="687" y="1352"/>
                  </a:cubicBezTo>
                  <a:cubicBezTo>
                    <a:pt x="695" y="1352"/>
                    <a:pt x="695" y="1360"/>
                    <a:pt x="703" y="1384"/>
                  </a:cubicBezTo>
                  <a:cubicBezTo>
                    <a:pt x="711" y="1384"/>
                    <a:pt x="711" y="1392"/>
                    <a:pt x="711" y="1392"/>
                  </a:cubicBezTo>
                  <a:lnTo>
                    <a:pt x="711" y="1392"/>
                  </a:lnTo>
                  <a:cubicBezTo>
                    <a:pt x="719" y="1407"/>
                    <a:pt x="727" y="1423"/>
                    <a:pt x="735" y="1423"/>
                  </a:cubicBezTo>
                  <a:cubicBezTo>
                    <a:pt x="743" y="1423"/>
                    <a:pt x="743" y="1423"/>
                    <a:pt x="743" y="1423"/>
                  </a:cubicBezTo>
                  <a:lnTo>
                    <a:pt x="743" y="1423"/>
                  </a:lnTo>
                  <a:cubicBezTo>
                    <a:pt x="750" y="1423"/>
                    <a:pt x="750" y="1423"/>
                    <a:pt x="759" y="1423"/>
                  </a:cubicBezTo>
                  <a:lnTo>
                    <a:pt x="759" y="1423"/>
                  </a:lnTo>
                  <a:cubicBezTo>
                    <a:pt x="759" y="1423"/>
                    <a:pt x="766" y="1431"/>
                    <a:pt x="774" y="1431"/>
                  </a:cubicBezTo>
                  <a:cubicBezTo>
                    <a:pt x="782" y="1439"/>
                    <a:pt x="798" y="1439"/>
                    <a:pt x="806" y="1439"/>
                  </a:cubicBezTo>
                  <a:cubicBezTo>
                    <a:pt x="814" y="1439"/>
                    <a:pt x="822" y="1439"/>
                    <a:pt x="822" y="1431"/>
                  </a:cubicBezTo>
                  <a:cubicBezTo>
                    <a:pt x="822" y="1431"/>
                    <a:pt x="822" y="1431"/>
                    <a:pt x="814" y="1423"/>
                  </a:cubicBezTo>
                  <a:cubicBezTo>
                    <a:pt x="814" y="1423"/>
                    <a:pt x="814" y="1415"/>
                    <a:pt x="806" y="1415"/>
                  </a:cubicBezTo>
                  <a:cubicBezTo>
                    <a:pt x="798" y="1400"/>
                    <a:pt x="782" y="1384"/>
                    <a:pt x="790" y="1376"/>
                  </a:cubicBezTo>
                  <a:cubicBezTo>
                    <a:pt x="790" y="1368"/>
                    <a:pt x="790" y="1360"/>
                    <a:pt x="798" y="1360"/>
                  </a:cubicBezTo>
                  <a:lnTo>
                    <a:pt x="806" y="1360"/>
                  </a:lnTo>
                  <a:cubicBezTo>
                    <a:pt x="822" y="1360"/>
                    <a:pt x="822" y="1368"/>
                    <a:pt x="830" y="1384"/>
                  </a:cubicBezTo>
                  <a:lnTo>
                    <a:pt x="830" y="1392"/>
                  </a:lnTo>
                  <a:cubicBezTo>
                    <a:pt x="830" y="1400"/>
                    <a:pt x="837" y="1400"/>
                    <a:pt x="837" y="1400"/>
                  </a:cubicBezTo>
                  <a:cubicBezTo>
                    <a:pt x="845" y="1400"/>
                    <a:pt x="861" y="1392"/>
                    <a:pt x="861" y="1392"/>
                  </a:cubicBezTo>
                  <a:lnTo>
                    <a:pt x="861" y="1392"/>
                  </a:lnTo>
                  <a:cubicBezTo>
                    <a:pt x="861" y="1392"/>
                    <a:pt x="869" y="1392"/>
                    <a:pt x="885" y="1368"/>
                  </a:cubicBezTo>
                  <a:cubicBezTo>
                    <a:pt x="901" y="1352"/>
                    <a:pt x="901" y="1344"/>
                    <a:pt x="901" y="1336"/>
                  </a:cubicBezTo>
                  <a:cubicBezTo>
                    <a:pt x="901" y="1328"/>
                    <a:pt x="901" y="1328"/>
                    <a:pt x="893" y="1328"/>
                  </a:cubicBezTo>
                  <a:cubicBezTo>
                    <a:pt x="877" y="1313"/>
                    <a:pt x="861" y="1305"/>
                    <a:pt x="853" y="1305"/>
                  </a:cubicBezTo>
                  <a:cubicBezTo>
                    <a:pt x="853" y="1305"/>
                    <a:pt x="845" y="1305"/>
                    <a:pt x="845" y="1313"/>
                  </a:cubicBezTo>
                  <a:cubicBezTo>
                    <a:pt x="845" y="1313"/>
                    <a:pt x="837" y="1320"/>
                    <a:pt x="830" y="1320"/>
                  </a:cubicBezTo>
                  <a:cubicBezTo>
                    <a:pt x="822" y="1320"/>
                    <a:pt x="822" y="1313"/>
                    <a:pt x="822" y="1313"/>
                  </a:cubicBezTo>
                  <a:cubicBezTo>
                    <a:pt x="814" y="1305"/>
                    <a:pt x="814" y="1305"/>
                    <a:pt x="830" y="1289"/>
                  </a:cubicBezTo>
                  <a:cubicBezTo>
                    <a:pt x="837" y="1289"/>
                    <a:pt x="837" y="1289"/>
                    <a:pt x="837" y="1281"/>
                  </a:cubicBezTo>
                  <a:cubicBezTo>
                    <a:pt x="853" y="1273"/>
                    <a:pt x="869" y="1265"/>
                    <a:pt x="877" y="1265"/>
                  </a:cubicBezTo>
                  <a:cubicBezTo>
                    <a:pt x="885" y="1265"/>
                    <a:pt x="893" y="1265"/>
                    <a:pt x="901" y="1273"/>
                  </a:cubicBezTo>
                  <a:cubicBezTo>
                    <a:pt x="909" y="1281"/>
                    <a:pt x="901" y="1289"/>
                    <a:pt x="901" y="1297"/>
                  </a:cubicBezTo>
                  <a:cubicBezTo>
                    <a:pt x="901" y="1297"/>
                    <a:pt x="901" y="1305"/>
                    <a:pt x="917" y="1313"/>
                  </a:cubicBezTo>
                  <a:lnTo>
                    <a:pt x="924" y="1320"/>
                  </a:lnTo>
                  <a:cubicBezTo>
                    <a:pt x="932" y="1328"/>
                    <a:pt x="940" y="1336"/>
                    <a:pt x="940" y="1336"/>
                  </a:cubicBezTo>
                  <a:cubicBezTo>
                    <a:pt x="948" y="1336"/>
                    <a:pt x="948" y="1328"/>
                    <a:pt x="948" y="1313"/>
                  </a:cubicBezTo>
                  <a:cubicBezTo>
                    <a:pt x="956" y="1281"/>
                    <a:pt x="964" y="1273"/>
                    <a:pt x="980" y="1273"/>
                  </a:cubicBezTo>
                  <a:lnTo>
                    <a:pt x="980" y="1273"/>
                  </a:lnTo>
                  <a:cubicBezTo>
                    <a:pt x="988" y="1273"/>
                    <a:pt x="988" y="1249"/>
                    <a:pt x="996" y="1234"/>
                  </a:cubicBezTo>
                  <a:cubicBezTo>
                    <a:pt x="996" y="1226"/>
                    <a:pt x="996" y="1226"/>
                    <a:pt x="996" y="1226"/>
                  </a:cubicBezTo>
                  <a:cubicBezTo>
                    <a:pt x="996" y="1218"/>
                    <a:pt x="996" y="1202"/>
                    <a:pt x="1003" y="1202"/>
                  </a:cubicBezTo>
                  <a:cubicBezTo>
                    <a:pt x="1011" y="1202"/>
                    <a:pt x="1011" y="1210"/>
                    <a:pt x="1019" y="1218"/>
                  </a:cubicBezTo>
                  <a:cubicBezTo>
                    <a:pt x="1027" y="1226"/>
                    <a:pt x="1035" y="1234"/>
                    <a:pt x="1043" y="1234"/>
                  </a:cubicBezTo>
                  <a:cubicBezTo>
                    <a:pt x="1043" y="1234"/>
                    <a:pt x="1051" y="1234"/>
                    <a:pt x="1051" y="1226"/>
                  </a:cubicBezTo>
                  <a:cubicBezTo>
                    <a:pt x="1059" y="1218"/>
                    <a:pt x="1059" y="1210"/>
                    <a:pt x="1059" y="1210"/>
                  </a:cubicBezTo>
                  <a:cubicBezTo>
                    <a:pt x="1059" y="1202"/>
                    <a:pt x="1059" y="1194"/>
                    <a:pt x="1083" y="1178"/>
                  </a:cubicBezTo>
                  <a:cubicBezTo>
                    <a:pt x="1098" y="1162"/>
                    <a:pt x="1098" y="1147"/>
                    <a:pt x="1106" y="1139"/>
                  </a:cubicBezTo>
                  <a:cubicBezTo>
                    <a:pt x="1106" y="1131"/>
                    <a:pt x="1106" y="1115"/>
                    <a:pt x="1130" y="1115"/>
                  </a:cubicBezTo>
                  <a:lnTo>
                    <a:pt x="1130" y="1115"/>
                  </a:lnTo>
                  <a:cubicBezTo>
                    <a:pt x="1162" y="1115"/>
                    <a:pt x="1162" y="1115"/>
                    <a:pt x="1193" y="1083"/>
                  </a:cubicBezTo>
                  <a:cubicBezTo>
                    <a:pt x="1209" y="1067"/>
                    <a:pt x="1217" y="1044"/>
                    <a:pt x="1209" y="1028"/>
                  </a:cubicBezTo>
                  <a:cubicBezTo>
                    <a:pt x="1209" y="1020"/>
                    <a:pt x="1201" y="1012"/>
                    <a:pt x="1193" y="1012"/>
                  </a:cubicBezTo>
                  <a:cubicBezTo>
                    <a:pt x="1185" y="1012"/>
                    <a:pt x="1177" y="1012"/>
                    <a:pt x="1170" y="1012"/>
                  </a:cubicBezTo>
                  <a:cubicBezTo>
                    <a:pt x="1154" y="1012"/>
                    <a:pt x="1146" y="1012"/>
                    <a:pt x="1138" y="1004"/>
                  </a:cubicBezTo>
                  <a:cubicBezTo>
                    <a:pt x="1138" y="996"/>
                    <a:pt x="1138" y="989"/>
                    <a:pt x="1146" y="973"/>
                  </a:cubicBezTo>
                  <a:lnTo>
                    <a:pt x="1146" y="973"/>
                  </a:lnTo>
                  <a:cubicBezTo>
                    <a:pt x="1162" y="949"/>
                    <a:pt x="1170" y="933"/>
                    <a:pt x="1162" y="925"/>
                  </a:cubicBezTo>
                  <a:cubicBezTo>
                    <a:pt x="1162" y="925"/>
                    <a:pt x="1162" y="917"/>
                    <a:pt x="1154" y="917"/>
                  </a:cubicBezTo>
                  <a:cubicBezTo>
                    <a:pt x="1138" y="909"/>
                    <a:pt x="1122" y="901"/>
                    <a:pt x="1122" y="894"/>
                  </a:cubicBezTo>
                  <a:cubicBezTo>
                    <a:pt x="1114" y="909"/>
                    <a:pt x="1098" y="925"/>
                    <a:pt x="1083" y="925"/>
                  </a:cubicBezTo>
                  <a:lnTo>
                    <a:pt x="1083" y="925"/>
                  </a:lnTo>
                  <a:cubicBezTo>
                    <a:pt x="1067" y="925"/>
                    <a:pt x="1035" y="894"/>
                    <a:pt x="996" y="846"/>
                  </a:cubicBezTo>
                  <a:lnTo>
                    <a:pt x="988" y="838"/>
                  </a:lnTo>
                  <a:cubicBezTo>
                    <a:pt x="980" y="830"/>
                    <a:pt x="980" y="807"/>
                    <a:pt x="980" y="783"/>
                  </a:cubicBezTo>
                  <a:cubicBezTo>
                    <a:pt x="980" y="759"/>
                    <a:pt x="980" y="736"/>
                    <a:pt x="972" y="720"/>
                  </a:cubicBezTo>
                  <a:cubicBezTo>
                    <a:pt x="964" y="712"/>
                    <a:pt x="956" y="712"/>
                    <a:pt x="948" y="712"/>
                  </a:cubicBezTo>
                  <a:cubicBezTo>
                    <a:pt x="940" y="712"/>
                    <a:pt x="932" y="712"/>
                    <a:pt x="924" y="720"/>
                  </a:cubicBezTo>
                  <a:cubicBezTo>
                    <a:pt x="909" y="720"/>
                    <a:pt x="893" y="728"/>
                    <a:pt x="885" y="728"/>
                  </a:cubicBezTo>
                  <a:cubicBezTo>
                    <a:pt x="877" y="728"/>
                    <a:pt x="861" y="720"/>
                    <a:pt x="861" y="720"/>
                  </a:cubicBezTo>
                  <a:cubicBezTo>
                    <a:pt x="822" y="688"/>
                    <a:pt x="814" y="633"/>
                    <a:pt x="814" y="633"/>
                  </a:cubicBezTo>
                  <a:cubicBezTo>
                    <a:pt x="814" y="633"/>
                    <a:pt x="664" y="222"/>
                    <a:pt x="648" y="166"/>
                  </a:cubicBezTo>
                  <a:cubicBezTo>
                    <a:pt x="624" y="111"/>
                    <a:pt x="529" y="40"/>
                    <a:pt x="482" y="16"/>
                  </a:cubicBezTo>
                  <a:cubicBezTo>
                    <a:pt x="466" y="16"/>
                    <a:pt x="458" y="8"/>
                    <a:pt x="450" y="8"/>
                  </a:cubicBezTo>
                  <a:cubicBezTo>
                    <a:pt x="434" y="8"/>
                    <a:pt x="434" y="24"/>
                    <a:pt x="426" y="40"/>
                  </a:cubicBezTo>
                  <a:cubicBezTo>
                    <a:pt x="419" y="40"/>
                    <a:pt x="419" y="40"/>
                    <a:pt x="419" y="48"/>
                  </a:cubicBezTo>
                  <a:cubicBezTo>
                    <a:pt x="403" y="71"/>
                    <a:pt x="300" y="143"/>
                    <a:pt x="260" y="143"/>
                  </a:cubicBezTo>
                  <a:cubicBezTo>
                    <a:pt x="253" y="143"/>
                    <a:pt x="244" y="143"/>
                    <a:pt x="244" y="143"/>
                  </a:cubicBezTo>
                  <a:cubicBezTo>
                    <a:pt x="229" y="127"/>
                    <a:pt x="213" y="111"/>
                    <a:pt x="197" y="87"/>
                  </a:cubicBezTo>
                  <a:cubicBezTo>
                    <a:pt x="189" y="71"/>
                    <a:pt x="181" y="56"/>
                    <a:pt x="173" y="48"/>
                  </a:cubicBezTo>
                  <a:lnTo>
                    <a:pt x="166" y="48"/>
                  </a:lnTo>
                  <a:cubicBezTo>
                    <a:pt x="150" y="48"/>
                    <a:pt x="126" y="87"/>
                    <a:pt x="118" y="127"/>
                  </a:cubicBezTo>
                  <a:cubicBezTo>
                    <a:pt x="110" y="135"/>
                    <a:pt x="110" y="150"/>
                    <a:pt x="102" y="174"/>
                  </a:cubicBezTo>
                  <a:cubicBezTo>
                    <a:pt x="79" y="253"/>
                    <a:pt x="47" y="388"/>
                    <a:pt x="23" y="427"/>
                  </a:cubicBezTo>
                  <a:cubicBezTo>
                    <a:pt x="7" y="451"/>
                    <a:pt x="15" y="467"/>
                    <a:pt x="15" y="498"/>
                  </a:cubicBezTo>
                  <a:cubicBezTo>
                    <a:pt x="23" y="506"/>
                    <a:pt x="31" y="530"/>
                    <a:pt x="31" y="546"/>
                  </a:cubicBezTo>
                  <a:cubicBezTo>
                    <a:pt x="31" y="554"/>
                    <a:pt x="31" y="561"/>
                    <a:pt x="31" y="561"/>
                  </a:cubicBezTo>
                  <a:cubicBezTo>
                    <a:pt x="379" y="1747"/>
                    <a:pt x="379" y="1747"/>
                    <a:pt x="379" y="1747"/>
                  </a:cubicBezTo>
                  <a:cubicBezTo>
                    <a:pt x="379" y="1740"/>
                    <a:pt x="379" y="1740"/>
                    <a:pt x="387" y="1740"/>
                  </a:cubicBezTo>
                  <a:cubicBezTo>
                    <a:pt x="403" y="1747"/>
                    <a:pt x="403" y="1755"/>
                    <a:pt x="411" y="1771"/>
                  </a:cubicBezTo>
                  <a:lnTo>
                    <a:pt x="411" y="1779"/>
                  </a:lnTo>
                  <a:cubicBezTo>
                    <a:pt x="411" y="1779"/>
                    <a:pt x="411" y="1779"/>
                    <a:pt x="419" y="1771"/>
                  </a:cubicBezTo>
                  <a:cubicBezTo>
                    <a:pt x="426" y="1771"/>
                    <a:pt x="426" y="1763"/>
                    <a:pt x="434" y="1763"/>
                  </a:cubicBezTo>
                  <a:close/>
                </a:path>
              </a:pathLst>
            </a:custGeom>
            <a:grpFill/>
            <a:ln>
              <a:solidFill>
                <a:schemeClr val="bg1">
                  <a:lumMod val="95000"/>
                </a:schemeClr>
              </a:solidFill>
            </a:ln>
            <a:effectLst/>
          </p:spPr>
          <p:txBody>
            <a:bodyPr wrap="none" anchor="ctr"/>
            <a:lstStyle/>
            <a:p>
              <a:endParaRPr lang="en-US" sz="900"/>
            </a:p>
          </p:txBody>
        </p:sp>
        <p:sp>
          <p:nvSpPr>
            <p:cNvPr id="89" name="Freeform 755"/>
            <p:cNvSpPr>
              <a:spLocks noChangeArrowheads="1"/>
            </p:cNvSpPr>
            <p:nvPr/>
          </p:nvSpPr>
          <p:spPr bwMode="auto">
            <a:xfrm>
              <a:off x="16673731" y="3665822"/>
              <a:ext cx="278317" cy="890613"/>
            </a:xfrm>
            <a:custGeom>
              <a:avLst/>
              <a:gdLst>
                <a:gd name="T0" fmla="*/ 340 w 531"/>
                <a:gd name="T1" fmla="*/ 1534 h 1693"/>
                <a:gd name="T2" fmla="*/ 340 w 531"/>
                <a:gd name="T3" fmla="*/ 1534 h 1693"/>
                <a:gd name="T4" fmla="*/ 364 w 531"/>
                <a:gd name="T5" fmla="*/ 1692 h 1693"/>
                <a:gd name="T6" fmla="*/ 380 w 531"/>
                <a:gd name="T7" fmla="*/ 1676 h 1693"/>
                <a:gd name="T8" fmla="*/ 419 w 531"/>
                <a:gd name="T9" fmla="*/ 1613 h 1693"/>
                <a:gd name="T10" fmla="*/ 435 w 531"/>
                <a:gd name="T11" fmla="*/ 1510 h 1693"/>
                <a:gd name="T12" fmla="*/ 490 w 531"/>
                <a:gd name="T13" fmla="*/ 1376 h 1693"/>
                <a:gd name="T14" fmla="*/ 490 w 531"/>
                <a:gd name="T15" fmla="*/ 1321 h 1693"/>
                <a:gd name="T16" fmla="*/ 490 w 531"/>
                <a:gd name="T17" fmla="*/ 1257 h 1693"/>
                <a:gd name="T18" fmla="*/ 530 w 531"/>
                <a:gd name="T19" fmla="*/ 1186 h 1693"/>
                <a:gd name="T20" fmla="*/ 182 w 531"/>
                <a:gd name="T21" fmla="*/ 0 h 1693"/>
                <a:gd name="T22" fmla="*/ 127 w 531"/>
                <a:gd name="T23" fmla="*/ 103 h 1693"/>
                <a:gd name="T24" fmla="*/ 159 w 531"/>
                <a:gd name="T25" fmla="*/ 167 h 1693"/>
                <a:gd name="T26" fmla="*/ 159 w 531"/>
                <a:gd name="T27" fmla="*/ 238 h 1693"/>
                <a:gd name="T28" fmla="*/ 190 w 531"/>
                <a:gd name="T29" fmla="*/ 325 h 1693"/>
                <a:gd name="T30" fmla="*/ 127 w 531"/>
                <a:gd name="T31" fmla="*/ 412 h 1693"/>
                <a:gd name="T32" fmla="*/ 103 w 531"/>
                <a:gd name="T33" fmla="*/ 530 h 1693"/>
                <a:gd name="T34" fmla="*/ 79 w 531"/>
                <a:gd name="T35" fmla="*/ 578 h 1693"/>
                <a:gd name="T36" fmla="*/ 48 w 531"/>
                <a:gd name="T37" fmla="*/ 617 h 1693"/>
                <a:gd name="T38" fmla="*/ 24 w 531"/>
                <a:gd name="T39" fmla="*/ 609 h 1693"/>
                <a:gd name="T40" fmla="*/ 0 w 531"/>
                <a:gd name="T41" fmla="*/ 657 h 1693"/>
                <a:gd name="T42" fmla="*/ 261 w 531"/>
                <a:gd name="T43" fmla="*/ 1447 h 1693"/>
                <a:gd name="T44" fmla="*/ 340 w 531"/>
                <a:gd name="T45" fmla="*/ 1534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1" h="1693">
                  <a:moveTo>
                    <a:pt x="340" y="1534"/>
                  </a:moveTo>
                  <a:lnTo>
                    <a:pt x="340" y="1534"/>
                  </a:lnTo>
                  <a:cubicBezTo>
                    <a:pt x="364" y="1542"/>
                    <a:pt x="340" y="1653"/>
                    <a:pt x="364" y="1692"/>
                  </a:cubicBezTo>
                  <a:cubicBezTo>
                    <a:pt x="364" y="1684"/>
                    <a:pt x="372" y="1684"/>
                    <a:pt x="380" y="1676"/>
                  </a:cubicBezTo>
                  <a:cubicBezTo>
                    <a:pt x="419" y="1645"/>
                    <a:pt x="419" y="1653"/>
                    <a:pt x="419" y="1613"/>
                  </a:cubicBezTo>
                  <a:cubicBezTo>
                    <a:pt x="419" y="1574"/>
                    <a:pt x="451" y="1542"/>
                    <a:pt x="435" y="1510"/>
                  </a:cubicBezTo>
                  <a:cubicBezTo>
                    <a:pt x="419" y="1479"/>
                    <a:pt x="514" y="1392"/>
                    <a:pt x="490" y="1376"/>
                  </a:cubicBezTo>
                  <a:cubicBezTo>
                    <a:pt x="467" y="1360"/>
                    <a:pt x="498" y="1368"/>
                    <a:pt x="490" y="1321"/>
                  </a:cubicBezTo>
                  <a:cubicBezTo>
                    <a:pt x="475" y="1273"/>
                    <a:pt x="459" y="1273"/>
                    <a:pt x="490" y="1257"/>
                  </a:cubicBezTo>
                  <a:cubicBezTo>
                    <a:pt x="506" y="1234"/>
                    <a:pt x="514" y="1194"/>
                    <a:pt x="530" y="1186"/>
                  </a:cubicBezTo>
                  <a:cubicBezTo>
                    <a:pt x="182" y="0"/>
                    <a:pt x="182" y="0"/>
                    <a:pt x="182" y="0"/>
                  </a:cubicBezTo>
                  <a:cubicBezTo>
                    <a:pt x="182" y="48"/>
                    <a:pt x="143" y="72"/>
                    <a:pt x="127" y="103"/>
                  </a:cubicBezTo>
                  <a:cubicBezTo>
                    <a:pt x="111" y="135"/>
                    <a:pt x="159" y="143"/>
                    <a:pt x="159" y="167"/>
                  </a:cubicBezTo>
                  <a:cubicBezTo>
                    <a:pt x="166" y="182"/>
                    <a:pt x="103" y="190"/>
                    <a:pt x="159" y="238"/>
                  </a:cubicBezTo>
                  <a:cubicBezTo>
                    <a:pt x="214" y="285"/>
                    <a:pt x="174" y="309"/>
                    <a:pt x="190" y="325"/>
                  </a:cubicBezTo>
                  <a:cubicBezTo>
                    <a:pt x="198" y="340"/>
                    <a:pt x="143" y="372"/>
                    <a:pt x="127" y="412"/>
                  </a:cubicBezTo>
                  <a:cubicBezTo>
                    <a:pt x="103" y="443"/>
                    <a:pt x="79" y="483"/>
                    <a:pt x="103" y="530"/>
                  </a:cubicBezTo>
                  <a:cubicBezTo>
                    <a:pt x="119" y="570"/>
                    <a:pt x="79" y="562"/>
                    <a:pt x="79" y="578"/>
                  </a:cubicBezTo>
                  <a:cubicBezTo>
                    <a:pt x="79" y="593"/>
                    <a:pt x="48" y="617"/>
                    <a:pt x="48" y="617"/>
                  </a:cubicBezTo>
                  <a:cubicBezTo>
                    <a:pt x="48" y="617"/>
                    <a:pt x="32" y="546"/>
                    <a:pt x="24" y="609"/>
                  </a:cubicBezTo>
                  <a:cubicBezTo>
                    <a:pt x="16" y="633"/>
                    <a:pt x="8" y="649"/>
                    <a:pt x="0" y="657"/>
                  </a:cubicBezTo>
                  <a:cubicBezTo>
                    <a:pt x="261" y="1447"/>
                    <a:pt x="261" y="1447"/>
                    <a:pt x="261" y="1447"/>
                  </a:cubicBezTo>
                  <a:cubicBezTo>
                    <a:pt x="261" y="1447"/>
                    <a:pt x="317" y="1526"/>
                    <a:pt x="340" y="1534"/>
                  </a:cubicBezTo>
                </a:path>
              </a:pathLst>
            </a:custGeom>
            <a:grpFill/>
            <a:ln>
              <a:solidFill>
                <a:schemeClr val="bg1">
                  <a:lumMod val="95000"/>
                </a:schemeClr>
              </a:solidFill>
            </a:ln>
            <a:effectLst/>
          </p:spPr>
          <p:txBody>
            <a:bodyPr wrap="none" anchor="ctr"/>
            <a:lstStyle/>
            <a:p>
              <a:endParaRPr lang="en-US" sz="900"/>
            </a:p>
          </p:txBody>
        </p:sp>
        <p:sp>
          <p:nvSpPr>
            <p:cNvPr id="90" name="Freeform 756"/>
            <p:cNvSpPr>
              <a:spLocks noChangeArrowheads="1"/>
            </p:cNvSpPr>
            <p:nvPr/>
          </p:nvSpPr>
          <p:spPr bwMode="auto">
            <a:xfrm>
              <a:off x="16671411" y="3656545"/>
              <a:ext cx="287594" cy="902209"/>
            </a:xfrm>
            <a:custGeom>
              <a:avLst/>
              <a:gdLst>
                <a:gd name="T0" fmla="*/ 372 w 547"/>
                <a:gd name="T1" fmla="*/ 1715 h 1716"/>
                <a:gd name="T2" fmla="*/ 356 w 547"/>
                <a:gd name="T3" fmla="*/ 1620 h 1716"/>
                <a:gd name="T4" fmla="*/ 269 w 547"/>
                <a:gd name="T5" fmla="*/ 1462 h 1716"/>
                <a:gd name="T6" fmla="*/ 0 w 547"/>
                <a:gd name="T7" fmla="*/ 664 h 1716"/>
                <a:gd name="T8" fmla="*/ 24 w 547"/>
                <a:gd name="T9" fmla="*/ 624 h 1716"/>
                <a:gd name="T10" fmla="*/ 64 w 547"/>
                <a:gd name="T11" fmla="*/ 624 h 1716"/>
                <a:gd name="T12" fmla="*/ 95 w 547"/>
                <a:gd name="T13" fmla="*/ 577 h 1716"/>
                <a:gd name="T14" fmla="*/ 127 w 547"/>
                <a:gd name="T15" fmla="*/ 427 h 1716"/>
                <a:gd name="T16" fmla="*/ 167 w 547"/>
                <a:gd name="T17" fmla="*/ 379 h 1716"/>
                <a:gd name="T18" fmla="*/ 190 w 547"/>
                <a:gd name="T19" fmla="*/ 316 h 1716"/>
                <a:gd name="T20" fmla="*/ 143 w 547"/>
                <a:gd name="T21" fmla="*/ 221 h 1716"/>
                <a:gd name="T22" fmla="*/ 167 w 547"/>
                <a:gd name="T23" fmla="*/ 182 h 1716"/>
                <a:gd name="T24" fmla="*/ 135 w 547"/>
                <a:gd name="T25" fmla="*/ 118 h 1716"/>
                <a:gd name="T26" fmla="*/ 190 w 547"/>
                <a:gd name="T27" fmla="*/ 15 h 1716"/>
                <a:gd name="T28" fmla="*/ 546 w 547"/>
                <a:gd name="T29" fmla="*/ 1201 h 1716"/>
                <a:gd name="T30" fmla="*/ 522 w 547"/>
                <a:gd name="T31" fmla="*/ 1233 h 1716"/>
                <a:gd name="T32" fmla="*/ 491 w 547"/>
                <a:gd name="T33" fmla="*/ 1304 h 1716"/>
                <a:gd name="T34" fmla="*/ 498 w 547"/>
                <a:gd name="T35" fmla="*/ 1375 h 1716"/>
                <a:gd name="T36" fmla="*/ 506 w 547"/>
                <a:gd name="T37" fmla="*/ 1391 h 1716"/>
                <a:gd name="T38" fmla="*/ 443 w 547"/>
                <a:gd name="T39" fmla="*/ 1525 h 1716"/>
                <a:gd name="T40" fmla="*/ 435 w 547"/>
                <a:gd name="T41" fmla="*/ 1628 h 1716"/>
                <a:gd name="T42" fmla="*/ 396 w 547"/>
                <a:gd name="T43" fmla="*/ 1691 h 1716"/>
                <a:gd name="T44" fmla="*/ 372 w 547"/>
                <a:gd name="T45" fmla="*/ 1715 h 1716"/>
                <a:gd name="T46" fmla="*/ 277 w 547"/>
                <a:gd name="T47" fmla="*/ 1462 h 1716"/>
                <a:gd name="T48" fmla="*/ 364 w 547"/>
                <a:gd name="T49" fmla="*/ 1620 h 1716"/>
                <a:gd name="T50" fmla="*/ 388 w 547"/>
                <a:gd name="T51" fmla="*/ 1684 h 1716"/>
                <a:gd name="T52" fmla="*/ 427 w 547"/>
                <a:gd name="T53" fmla="*/ 1628 h 1716"/>
                <a:gd name="T54" fmla="*/ 443 w 547"/>
                <a:gd name="T55" fmla="*/ 1533 h 1716"/>
                <a:gd name="T56" fmla="*/ 498 w 547"/>
                <a:gd name="T57" fmla="*/ 1399 h 1716"/>
                <a:gd name="T58" fmla="*/ 491 w 547"/>
                <a:gd name="T59" fmla="*/ 1375 h 1716"/>
                <a:gd name="T60" fmla="*/ 483 w 547"/>
                <a:gd name="T61" fmla="*/ 1304 h 1716"/>
                <a:gd name="T62" fmla="*/ 514 w 547"/>
                <a:gd name="T63" fmla="*/ 1233 h 1716"/>
                <a:gd name="T64" fmla="*/ 190 w 547"/>
                <a:gd name="T65" fmla="*/ 31 h 1716"/>
                <a:gd name="T66" fmla="*/ 143 w 547"/>
                <a:gd name="T67" fmla="*/ 118 h 1716"/>
                <a:gd name="T68" fmla="*/ 174 w 547"/>
                <a:gd name="T69" fmla="*/ 182 h 1716"/>
                <a:gd name="T70" fmla="*/ 151 w 547"/>
                <a:gd name="T71" fmla="*/ 221 h 1716"/>
                <a:gd name="T72" fmla="*/ 198 w 547"/>
                <a:gd name="T73" fmla="*/ 324 h 1716"/>
                <a:gd name="T74" fmla="*/ 167 w 547"/>
                <a:gd name="T75" fmla="*/ 387 h 1716"/>
                <a:gd name="T76" fmla="*/ 135 w 547"/>
                <a:gd name="T77" fmla="*/ 427 h 1716"/>
                <a:gd name="T78" fmla="*/ 103 w 547"/>
                <a:gd name="T79" fmla="*/ 585 h 1716"/>
                <a:gd name="T80" fmla="*/ 64 w 547"/>
                <a:gd name="T81" fmla="*/ 632 h 1716"/>
                <a:gd name="T82" fmla="*/ 56 w 547"/>
                <a:gd name="T83" fmla="*/ 632 h 1716"/>
                <a:gd name="T84" fmla="*/ 32 w 547"/>
                <a:gd name="T85" fmla="*/ 624 h 1716"/>
                <a:gd name="T86" fmla="*/ 277 w 547"/>
                <a:gd name="T87" fmla="*/ 1462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7" h="1716">
                  <a:moveTo>
                    <a:pt x="372" y="1715"/>
                  </a:moveTo>
                  <a:lnTo>
                    <a:pt x="372" y="1715"/>
                  </a:lnTo>
                  <a:cubicBezTo>
                    <a:pt x="364" y="1707"/>
                    <a:pt x="364" y="1707"/>
                    <a:pt x="364" y="1707"/>
                  </a:cubicBezTo>
                  <a:cubicBezTo>
                    <a:pt x="356" y="1691"/>
                    <a:pt x="356" y="1652"/>
                    <a:pt x="356" y="1620"/>
                  </a:cubicBezTo>
                  <a:cubicBezTo>
                    <a:pt x="356" y="1589"/>
                    <a:pt x="356" y="1557"/>
                    <a:pt x="348" y="1549"/>
                  </a:cubicBezTo>
                  <a:cubicBezTo>
                    <a:pt x="317" y="1541"/>
                    <a:pt x="269" y="1462"/>
                    <a:pt x="269" y="1462"/>
                  </a:cubicBezTo>
                  <a:lnTo>
                    <a:pt x="269" y="1462"/>
                  </a:lnTo>
                  <a:cubicBezTo>
                    <a:pt x="0" y="664"/>
                    <a:pt x="0" y="664"/>
                    <a:pt x="0" y="664"/>
                  </a:cubicBezTo>
                  <a:lnTo>
                    <a:pt x="0" y="664"/>
                  </a:lnTo>
                  <a:cubicBezTo>
                    <a:pt x="16" y="656"/>
                    <a:pt x="24" y="648"/>
                    <a:pt x="24" y="624"/>
                  </a:cubicBezTo>
                  <a:cubicBezTo>
                    <a:pt x="32" y="601"/>
                    <a:pt x="32" y="593"/>
                    <a:pt x="40" y="593"/>
                  </a:cubicBezTo>
                  <a:cubicBezTo>
                    <a:pt x="48" y="593"/>
                    <a:pt x="56" y="616"/>
                    <a:pt x="64" y="624"/>
                  </a:cubicBezTo>
                  <a:cubicBezTo>
                    <a:pt x="72" y="616"/>
                    <a:pt x="87" y="608"/>
                    <a:pt x="87" y="593"/>
                  </a:cubicBezTo>
                  <a:cubicBezTo>
                    <a:pt x="87" y="585"/>
                    <a:pt x="87" y="585"/>
                    <a:pt x="95" y="577"/>
                  </a:cubicBezTo>
                  <a:cubicBezTo>
                    <a:pt x="103" y="577"/>
                    <a:pt x="119" y="569"/>
                    <a:pt x="103" y="545"/>
                  </a:cubicBezTo>
                  <a:cubicBezTo>
                    <a:pt x="87" y="498"/>
                    <a:pt x="111" y="458"/>
                    <a:pt x="127" y="427"/>
                  </a:cubicBezTo>
                  <a:lnTo>
                    <a:pt x="127" y="427"/>
                  </a:lnTo>
                  <a:cubicBezTo>
                    <a:pt x="135" y="411"/>
                    <a:pt x="151" y="395"/>
                    <a:pt x="167" y="379"/>
                  </a:cubicBezTo>
                  <a:cubicBezTo>
                    <a:pt x="182" y="363"/>
                    <a:pt x="198" y="348"/>
                    <a:pt x="190" y="340"/>
                  </a:cubicBezTo>
                  <a:cubicBezTo>
                    <a:pt x="190" y="332"/>
                    <a:pt x="190" y="324"/>
                    <a:pt x="190" y="316"/>
                  </a:cubicBezTo>
                  <a:cubicBezTo>
                    <a:pt x="190" y="308"/>
                    <a:pt x="198" y="284"/>
                    <a:pt x="167" y="261"/>
                  </a:cubicBezTo>
                  <a:cubicBezTo>
                    <a:pt x="151" y="245"/>
                    <a:pt x="143" y="229"/>
                    <a:pt x="143" y="221"/>
                  </a:cubicBezTo>
                  <a:cubicBezTo>
                    <a:pt x="143" y="213"/>
                    <a:pt x="151" y="205"/>
                    <a:pt x="158" y="197"/>
                  </a:cubicBezTo>
                  <a:cubicBezTo>
                    <a:pt x="158" y="190"/>
                    <a:pt x="167" y="182"/>
                    <a:pt x="167" y="182"/>
                  </a:cubicBezTo>
                  <a:cubicBezTo>
                    <a:pt x="167" y="174"/>
                    <a:pt x="158" y="166"/>
                    <a:pt x="151" y="166"/>
                  </a:cubicBezTo>
                  <a:cubicBezTo>
                    <a:pt x="135" y="150"/>
                    <a:pt x="119" y="142"/>
                    <a:pt x="135" y="118"/>
                  </a:cubicBezTo>
                  <a:cubicBezTo>
                    <a:pt x="143" y="110"/>
                    <a:pt x="143" y="103"/>
                    <a:pt x="151" y="87"/>
                  </a:cubicBezTo>
                  <a:cubicBezTo>
                    <a:pt x="167" y="71"/>
                    <a:pt x="182" y="47"/>
                    <a:pt x="190" y="15"/>
                  </a:cubicBezTo>
                  <a:cubicBezTo>
                    <a:pt x="190" y="0"/>
                    <a:pt x="190" y="0"/>
                    <a:pt x="190" y="0"/>
                  </a:cubicBezTo>
                  <a:cubicBezTo>
                    <a:pt x="546" y="1201"/>
                    <a:pt x="546" y="1201"/>
                    <a:pt x="546" y="1201"/>
                  </a:cubicBezTo>
                  <a:cubicBezTo>
                    <a:pt x="538" y="1209"/>
                    <a:pt x="538" y="1209"/>
                    <a:pt x="538" y="1209"/>
                  </a:cubicBezTo>
                  <a:cubicBezTo>
                    <a:pt x="530" y="1209"/>
                    <a:pt x="530" y="1225"/>
                    <a:pt x="522" y="1233"/>
                  </a:cubicBezTo>
                  <a:cubicBezTo>
                    <a:pt x="514" y="1249"/>
                    <a:pt x="506" y="1265"/>
                    <a:pt x="498" y="1272"/>
                  </a:cubicBezTo>
                  <a:cubicBezTo>
                    <a:pt x="483" y="1288"/>
                    <a:pt x="483" y="1288"/>
                    <a:pt x="491" y="1304"/>
                  </a:cubicBezTo>
                  <a:cubicBezTo>
                    <a:pt x="491" y="1312"/>
                    <a:pt x="491" y="1320"/>
                    <a:pt x="498" y="1336"/>
                  </a:cubicBezTo>
                  <a:cubicBezTo>
                    <a:pt x="506" y="1360"/>
                    <a:pt x="498" y="1367"/>
                    <a:pt x="498" y="1375"/>
                  </a:cubicBezTo>
                  <a:cubicBezTo>
                    <a:pt x="491" y="1383"/>
                    <a:pt x="491" y="1383"/>
                    <a:pt x="498" y="1391"/>
                  </a:cubicBezTo>
                  <a:cubicBezTo>
                    <a:pt x="506" y="1391"/>
                    <a:pt x="506" y="1391"/>
                    <a:pt x="506" y="1391"/>
                  </a:cubicBezTo>
                  <a:cubicBezTo>
                    <a:pt x="506" y="1407"/>
                    <a:pt x="498" y="1423"/>
                    <a:pt x="483" y="1447"/>
                  </a:cubicBezTo>
                  <a:cubicBezTo>
                    <a:pt x="459" y="1478"/>
                    <a:pt x="435" y="1510"/>
                    <a:pt x="443" y="1525"/>
                  </a:cubicBezTo>
                  <a:cubicBezTo>
                    <a:pt x="459" y="1549"/>
                    <a:pt x="451" y="1565"/>
                    <a:pt x="443" y="1589"/>
                  </a:cubicBezTo>
                  <a:cubicBezTo>
                    <a:pt x="435" y="1597"/>
                    <a:pt x="435" y="1612"/>
                    <a:pt x="435" y="1628"/>
                  </a:cubicBezTo>
                  <a:cubicBezTo>
                    <a:pt x="435" y="1660"/>
                    <a:pt x="435" y="1660"/>
                    <a:pt x="411" y="1676"/>
                  </a:cubicBezTo>
                  <a:cubicBezTo>
                    <a:pt x="411" y="1676"/>
                    <a:pt x="404" y="1684"/>
                    <a:pt x="396" y="1691"/>
                  </a:cubicBezTo>
                  <a:cubicBezTo>
                    <a:pt x="380" y="1699"/>
                    <a:pt x="372" y="1707"/>
                    <a:pt x="372" y="1707"/>
                  </a:cubicBezTo>
                  <a:lnTo>
                    <a:pt x="372" y="1715"/>
                  </a:lnTo>
                  <a:close/>
                  <a:moveTo>
                    <a:pt x="277" y="1462"/>
                  </a:moveTo>
                  <a:lnTo>
                    <a:pt x="277" y="1462"/>
                  </a:lnTo>
                  <a:cubicBezTo>
                    <a:pt x="285" y="1478"/>
                    <a:pt x="325" y="1541"/>
                    <a:pt x="348" y="1541"/>
                  </a:cubicBezTo>
                  <a:cubicBezTo>
                    <a:pt x="364" y="1549"/>
                    <a:pt x="364" y="1573"/>
                    <a:pt x="364" y="1620"/>
                  </a:cubicBezTo>
                  <a:cubicBezTo>
                    <a:pt x="364" y="1652"/>
                    <a:pt x="364" y="1684"/>
                    <a:pt x="372" y="1699"/>
                  </a:cubicBezTo>
                  <a:cubicBezTo>
                    <a:pt x="372" y="1699"/>
                    <a:pt x="380" y="1691"/>
                    <a:pt x="388" y="1684"/>
                  </a:cubicBezTo>
                  <a:cubicBezTo>
                    <a:pt x="396" y="1676"/>
                    <a:pt x="404" y="1676"/>
                    <a:pt x="411" y="1668"/>
                  </a:cubicBezTo>
                  <a:cubicBezTo>
                    <a:pt x="427" y="1660"/>
                    <a:pt x="427" y="1660"/>
                    <a:pt x="427" y="1628"/>
                  </a:cubicBezTo>
                  <a:cubicBezTo>
                    <a:pt x="427" y="1612"/>
                    <a:pt x="427" y="1597"/>
                    <a:pt x="435" y="1581"/>
                  </a:cubicBezTo>
                  <a:cubicBezTo>
                    <a:pt x="443" y="1565"/>
                    <a:pt x="451" y="1549"/>
                    <a:pt x="443" y="1533"/>
                  </a:cubicBezTo>
                  <a:cubicBezTo>
                    <a:pt x="427" y="1510"/>
                    <a:pt x="451" y="1478"/>
                    <a:pt x="475" y="1447"/>
                  </a:cubicBezTo>
                  <a:cubicBezTo>
                    <a:pt x="483" y="1423"/>
                    <a:pt x="498" y="1407"/>
                    <a:pt x="498" y="1399"/>
                  </a:cubicBezTo>
                  <a:cubicBezTo>
                    <a:pt x="498" y="1391"/>
                    <a:pt x="498" y="1391"/>
                    <a:pt x="498" y="1391"/>
                  </a:cubicBezTo>
                  <a:cubicBezTo>
                    <a:pt x="483" y="1383"/>
                    <a:pt x="483" y="1383"/>
                    <a:pt x="491" y="1375"/>
                  </a:cubicBezTo>
                  <a:cubicBezTo>
                    <a:pt x="491" y="1367"/>
                    <a:pt x="498" y="1360"/>
                    <a:pt x="491" y="1336"/>
                  </a:cubicBezTo>
                  <a:cubicBezTo>
                    <a:pt x="491" y="1320"/>
                    <a:pt x="483" y="1312"/>
                    <a:pt x="483" y="1304"/>
                  </a:cubicBezTo>
                  <a:cubicBezTo>
                    <a:pt x="475" y="1288"/>
                    <a:pt x="475" y="1280"/>
                    <a:pt x="491" y="1265"/>
                  </a:cubicBezTo>
                  <a:cubicBezTo>
                    <a:pt x="506" y="1257"/>
                    <a:pt x="514" y="1241"/>
                    <a:pt x="514" y="1233"/>
                  </a:cubicBezTo>
                  <a:cubicBezTo>
                    <a:pt x="522" y="1217"/>
                    <a:pt x="530" y="1209"/>
                    <a:pt x="538" y="1201"/>
                  </a:cubicBezTo>
                  <a:cubicBezTo>
                    <a:pt x="190" y="31"/>
                    <a:pt x="190" y="31"/>
                    <a:pt x="190" y="31"/>
                  </a:cubicBezTo>
                  <a:cubicBezTo>
                    <a:pt x="190" y="63"/>
                    <a:pt x="174" y="79"/>
                    <a:pt x="158" y="95"/>
                  </a:cubicBezTo>
                  <a:cubicBezTo>
                    <a:pt x="151" y="103"/>
                    <a:pt x="143" y="110"/>
                    <a:pt x="143" y="118"/>
                  </a:cubicBezTo>
                  <a:cubicBezTo>
                    <a:pt x="127" y="142"/>
                    <a:pt x="143" y="142"/>
                    <a:pt x="151" y="158"/>
                  </a:cubicBezTo>
                  <a:cubicBezTo>
                    <a:pt x="158" y="166"/>
                    <a:pt x="174" y="166"/>
                    <a:pt x="174" y="182"/>
                  </a:cubicBezTo>
                  <a:cubicBezTo>
                    <a:pt x="174" y="190"/>
                    <a:pt x="167" y="197"/>
                    <a:pt x="158" y="197"/>
                  </a:cubicBezTo>
                  <a:cubicBezTo>
                    <a:pt x="151" y="205"/>
                    <a:pt x="143" y="213"/>
                    <a:pt x="151" y="221"/>
                  </a:cubicBezTo>
                  <a:cubicBezTo>
                    <a:pt x="151" y="229"/>
                    <a:pt x="151" y="237"/>
                    <a:pt x="167" y="253"/>
                  </a:cubicBezTo>
                  <a:cubicBezTo>
                    <a:pt x="206" y="284"/>
                    <a:pt x="198" y="308"/>
                    <a:pt x="198" y="324"/>
                  </a:cubicBezTo>
                  <a:cubicBezTo>
                    <a:pt x="198" y="324"/>
                    <a:pt x="198" y="332"/>
                    <a:pt x="198" y="340"/>
                  </a:cubicBezTo>
                  <a:cubicBezTo>
                    <a:pt x="206" y="355"/>
                    <a:pt x="190" y="371"/>
                    <a:pt x="167" y="387"/>
                  </a:cubicBezTo>
                  <a:cubicBezTo>
                    <a:pt x="158" y="403"/>
                    <a:pt x="143" y="411"/>
                    <a:pt x="135" y="427"/>
                  </a:cubicBezTo>
                  <a:lnTo>
                    <a:pt x="135" y="427"/>
                  </a:lnTo>
                  <a:cubicBezTo>
                    <a:pt x="111" y="458"/>
                    <a:pt x="95" y="498"/>
                    <a:pt x="111" y="545"/>
                  </a:cubicBezTo>
                  <a:cubicBezTo>
                    <a:pt x="127" y="569"/>
                    <a:pt x="111" y="577"/>
                    <a:pt x="103" y="585"/>
                  </a:cubicBezTo>
                  <a:cubicBezTo>
                    <a:pt x="95" y="593"/>
                    <a:pt x="95" y="593"/>
                    <a:pt x="95" y="593"/>
                  </a:cubicBezTo>
                  <a:cubicBezTo>
                    <a:pt x="95" y="616"/>
                    <a:pt x="64" y="632"/>
                    <a:pt x="64" y="632"/>
                  </a:cubicBezTo>
                  <a:cubicBezTo>
                    <a:pt x="56" y="640"/>
                    <a:pt x="56" y="640"/>
                    <a:pt x="56" y="640"/>
                  </a:cubicBezTo>
                  <a:cubicBezTo>
                    <a:pt x="56" y="632"/>
                    <a:pt x="56" y="632"/>
                    <a:pt x="56" y="632"/>
                  </a:cubicBezTo>
                  <a:cubicBezTo>
                    <a:pt x="48" y="616"/>
                    <a:pt x="48" y="601"/>
                    <a:pt x="40" y="601"/>
                  </a:cubicBezTo>
                  <a:cubicBezTo>
                    <a:pt x="40" y="601"/>
                    <a:pt x="40" y="601"/>
                    <a:pt x="32" y="624"/>
                  </a:cubicBezTo>
                  <a:cubicBezTo>
                    <a:pt x="24" y="648"/>
                    <a:pt x="24" y="664"/>
                    <a:pt x="8" y="672"/>
                  </a:cubicBezTo>
                  <a:lnTo>
                    <a:pt x="277" y="1462"/>
                  </a:lnTo>
                  <a:close/>
                </a:path>
              </a:pathLst>
            </a:custGeom>
            <a:grpFill/>
            <a:ln>
              <a:solidFill>
                <a:schemeClr val="bg1">
                  <a:lumMod val="95000"/>
                </a:schemeClr>
              </a:solidFill>
            </a:ln>
            <a:effectLst/>
          </p:spPr>
          <p:txBody>
            <a:bodyPr wrap="none" anchor="ctr"/>
            <a:lstStyle/>
            <a:p>
              <a:endParaRPr lang="en-US" sz="900"/>
            </a:p>
          </p:txBody>
        </p:sp>
        <p:sp>
          <p:nvSpPr>
            <p:cNvPr id="91" name="Freeform 757"/>
            <p:cNvSpPr>
              <a:spLocks noChangeArrowheads="1"/>
            </p:cNvSpPr>
            <p:nvPr/>
          </p:nvSpPr>
          <p:spPr bwMode="auto">
            <a:xfrm>
              <a:off x="16529934" y="4011398"/>
              <a:ext cx="336299" cy="670280"/>
            </a:xfrm>
            <a:custGeom>
              <a:avLst/>
              <a:gdLst>
                <a:gd name="T0" fmla="*/ 182 w 641"/>
                <a:gd name="T1" fmla="*/ 174 h 1273"/>
                <a:gd name="T2" fmla="*/ 182 w 641"/>
                <a:gd name="T3" fmla="*/ 174 h 1273"/>
                <a:gd name="T4" fmla="*/ 166 w 641"/>
                <a:gd name="T5" fmla="*/ 300 h 1273"/>
                <a:gd name="T6" fmla="*/ 213 w 641"/>
                <a:gd name="T7" fmla="*/ 379 h 1273"/>
                <a:gd name="T8" fmla="*/ 102 w 641"/>
                <a:gd name="T9" fmla="*/ 569 h 1273"/>
                <a:gd name="T10" fmla="*/ 102 w 641"/>
                <a:gd name="T11" fmla="*/ 711 h 1273"/>
                <a:gd name="T12" fmla="*/ 79 w 641"/>
                <a:gd name="T13" fmla="*/ 964 h 1273"/>
                <a:gd name="T14" fmla="*/ 102 w 641"/>
                <a:gd name="T15" fmla="*/ 1099 h 1273"/>
                <a:gd name="T16" fmla="*/ 87 w 641"/>
                <a:gd name="T17" fmla="*/ 1193 h 1273"/>
                <a:gd name="T18" fmla="*/ 118 w 641"/>
                <a:gd name="T19" fmla="*/ 1265 h 1273"/>
                <a:gd name="T20" fmla="*/ 458 w 641"/>
                <a:gd name="T21" fmla="*/ 1201 h 1273"/>
                <a:gd name="T22" fmla="*/ 529 w 641"/>
                <a:gd name="T23" fmla="*/ 1162 h 1273"/>
                <a:gd name="T24" fmla="*/ 640 w 641"/>
                <a:gd name="T25" fmla="*/ 1035 h 1273"/>
                <a:gd name="T26" fmla="*/ 616 w 641"/>
                <a:gd name="T27" fmla="*/ 877 h 1273"/>
                <a:gd name="T28" fmla="*/ 537 w 641"/>
                <a:gd name="T29" fmla="*/ 790 h 1273"/>
                <a:gd name="T30" fmla="*/ 276 w 641"/>
                <a:gd name="T31" fmla="*/ 0 h 1273"/>
                <a:gd name="T32" fmla="*/ 213 w 641"/>
                <a:gd name="T33" fmla="*/ 8 h 1273"/>
                <a:gd name="T34" fmla="*/ 182 w 641"/>
                <a:gd name="T35" fmla="*/ 126 h 1273"/>
                <a:gd name="T36" fmla="*/ 182 w 641"/>
                <a:gd name="T37" fmla="*/ 174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1" h="1273">
                  <a:moveTo>
                    <a:pt x="182" y="174"/>
                  </a:moveTo>
                  <a:lnTo>
                    <a:pt x="182" y="174"/>
                  </a:lnTo>
                  <a:cubicBezTo>
                    <a:pt x="182" y="197"/>
                    <a:pt x="142" y="269"/>
                    <a:pt x="166" y="300"/>
                  </a:cubicBezTo>
                  <a:cubicBezTo>
                    <a:pt x="197" y="324"/>
                    <a:pt x="229" y="355"/>
                    <a:pt x="213" y="379"/>
                  </a:cubicBezTo>
                  <a:cubicBezTo>
                    <a:pt x="189" y="395"/>
                    <a:pt x="0" y="529"/>
                    <a:pt x="102" y="569"/>
                  </a:cubicBezTo>
                  <a:cubicBezTo>
                    <a:pt x="197" y="608"/>
                    <a:pt x="118" y="664"/>
                    <a:pt x="102" y="711"/>
                  </a:cubicBezTo>
                  <a:cubicBezTo>
                    <a:pt x="87" y="751"/>
                    <a:pt x="47" y="877"/>
                    <a:pt x="79" y="964"/>
                  </a:cubicBezTo>
                  <a:cubicBezTo>
                    <a:pt x="110" y="1043"/>
                    <a:pt x="110" y="1067"/>
                    <a:pt x="102" y="1099"/>
                  </a:cubicBezTo>
                  <a:cubicBezTo>
                    <a:pt x="102" y="1138"/>
                    <a:pt x="71" y="1162"/>
                    <a:pt x="87" y="1193"/>
                  </a:cubicBezTo>
                  <a:cubicBezTo>
                    <a:pt x="102" y="1233"/>
                    <a:pt x="102" y="1265"/>
                    <a:pt x="118" y="1265"/>
                  </a:cubicBezTo>
                  <a:cubicBezTo>
                    <a:pt x="134" y="1272"/>
                    <a:pt x="411" y="1201"/>
                    <a:pt x="458" y="1201"/>
                  </a:cubicBezTo>
                  <a:cubicBezTo>
                    <a:pt x="514" y="1193"/>
                    <a:pt x="514" y="1193"/>
                    <a:pt x="529" y="1162"/>
                  </a:cubicBezTo>
                  <a:cubicBezTo>
                    <a:pt x="545" y="1138"/>
                    <a:pt x="640" y="1035"/>
                    <a:pt x="640" y="1035"/>
                  </a:cubicBezTo>
                  <a:cubicBezTo>
                    <a:pt x="616" y="996"/>
                    <a:pt x="640" y="885"/>
                    <a:pt x="616" y="877"/>
                  </a:cubicBezTo>
                  <a:cubicBezTo>
                    <a:pt x="593" y="869"/>
                    <a:pt x="537" y="790"/>
                    <a:pt x="537" y="790"/>
                  </a:cubicBezTo>
                  <a:cubicBezTo>
                    <a:pt x="276" y="0"/>
                    <a:pt x="276" y="0"/>
                    <a:pt x="276" y="0"/>
                  </a:cubicBezTo>
                  <a:cubicBezTo>
                    <a:pt x="253" y="16"/>
                    <a:pt x="229" y="0"/>
                    <a:pt x="213" y="8"/>
                  </a:cubicBezTo>
                  <a:cubicBezTo>
                    <a:pt x="189" y="8"/>
                    <a:pt x="182" y="79"/>
                    <a:pt x="182" y="126"/>
                  </a:cubicBezTo>
                  <a:cubicBezTo>
                    <a:pt x="182" y="126"/>
                    <a:pt x="182" y="150"/>
                    <a:pt x="182" y="174"/>
                  </a:cubicBezTo>
                </a:path>
              </a:pathLst>
            </a:custGeom>
            <a:grpFill/>
            <a:ln>
              <a:solidFill>
                <a:schemeClr val="bg1">
                  <a:lumMod val="95000"/>
                </a:schemeClr>
              </a:solidFill>
            </a:ln>
            <a:effectLst/>
          </p:spPr>
          <p:txBody>
            <a:bodyPr wrap="none" anchor="ctr"/>
            <a:lstStyle/>
            <a:p>
              <a:endParaRPr lang="en-US" sz="900"/>
            </a:p>
          </p:txBody>
        </p:sp>
        <p:sp>
          <p:nvSpPr>
            <p:cNvPr id="92" name="Freeform 758"/>
            <p:cNvSpPr>
              <a:spLocks noChangeArrowheads="1"/>
            </p:cNvSpPr>
            <p:nvPr/>
          </p:nvSpPr>
          <p:spPr bwMode="auto">
            <a:xfrm>
              <a:off x="16555446" y="4006759"/>
              <a:ext cx="313107" cy="672599"/>
            </a:xfrm>
            <a:custGeom>
              <a:avLst/>
              <a:gdLst>
                <a:gd name="T0" fmla="*/ 71 w 594"/>
                <a:gd name="T1" fmla="*/ 1280 h 1281"/>
                <a:gd name="T2" fmla="*/ 71 w 594"/>
                <a:gd name="T3" fmla="*/ 1280 h 1281"/>
                <a:gd name="T4" fmla="*/ 40 w 594"/>
                <a:gd name="T5" fmla="*/ 1201 h 1281"/>
                <a:gd name="T6" fmla="*/ 55 w 594"/>
                <a:gd name="T7" fmla="*/ 1107 h 1281"/>
                <a:gd name="T8" fmla="*/ 32 w 594"/>
                <a:gd name="T9" fmla="*/ 972 h 1281"/>
                <a:gd name="T10" fmla="*/ 55 w 594"/>
                <a:gd name="T11" fmla="*/ 711 h 1281"/>
                <a:gd name="T12" fmla="*/ 95 w 594"/>
                <a:gd name="T13" fmla="*/ 616 h 1281"/>
                <a:gd name="T14" fmla="*/ 24 w 594"/>
                <a:gd name="T15" fmla="*/ 545 h 1281"/>
                <a:gd name="T16" fmla="*/ 158 w 594"/>
                <a:gd name="T17" fmla="*/ 379 h 1281"/>
                <a:gd name="T18" fmla="*/ 119 w 594"/>
                <a:gd name="T19" fmla="*/ 308 h 1281"/>
                <a:gd name="T20" fmla="*/ 135 w 594"/>
                <a:gd name="T21" fmla="*/ 182 h 1281"/>
                <a:gd name="T22" fmla="*/ 127 w 594"/>
                <a:gd name="T23" fmla="*/ 134 h 1281"/>
                <a:gd name="T24" fmla="*/ 166 w 594"/>
                <a:gd name="T25" fmla="*/ 8 h 1281"/>
                <a:gd name="T26" fmla="*/ 198 w 594"/>
                <a:gd name="T27" fmla="*/ 8 h 1281"/>
                <a:gd name="T28" fmla="*/ 229 w 594"/>
                <a:gd name="T29" fmla="*/ 0 h 1281"/>
                <a:gd name="T30" fmla="*/ 498 w 594"/>
                <a:gd name="T31" fmla="*/ 798 h 1281"/>
                <a:gd name="T32" fmla="*/ 585 w 594"/>
                <a:gd name="T33" fmla="*/ 956 h 1281"/>
                <a:gd name="T34" fmla="*/ 593 w 594"/>
                <a:gd name="T35" fmla="*/ 1043 h 1281"/>
                <a:gd name="T36" fmla="*/ 490 w 594"/>
                <a:gd name="T37" fmla="*/ 1170 h 1281"/>
                <a:gd name="T38" fmla="*/ 411 w 594"/>
                <a:gd name="T39" fmla="*/ 1209 h 1281"/>
                <a:gd name="T40" fmla="*/ 71 w 594"/>
                <a:gd name="T41" fmla="*/ 1280 h 1281"/>
                <a:gd name="T42" fmla="*/ 135 w 594"/>
                <a:gd name="T43" fmla="*/ 134 h 1281"/>
                <a:gd name="T44" fmla="*/ 135 w 594"/>
                <a:gd name="T45" fmla="*/ 213 h 1281"/>
                <a:gd name="T46" fmla="*/ 135 w 594"/>
                <a:gd name="T47" fmla="*/ 316 h 1281"/>
                <a:gd name="T48" fmla="*/ 142 w 594"/>
                <a:gd name="T49" fmla="*/ 411 h 1281"/>
                <a:gd name="T50" fmla="*/ 55 w 594"/>
                <a:gd name="T51" fmla="*/ 569 h 1281"/>
                <a:gd name="T52" fmla="*/ 79 w 594"/>
                <a:gd name="T53" fmla="*/ 680 h 1281"/>
                <a:gd name="T54" fmla="*/ 55 w 594"/>
                <a:gd name="T55" fmla="*/ 719 h 1281"/>
                <a:gd name="T56" fmla="*/ 63 w 594"/>
                <a:gd name="T57" fmla="*/ 1107 h 1281"/>
                <a:gd name="T58" fmla="*/ 48 w 594"/>
                <a:gd name="T59" fmla="*/ 1146 h 1281"/>
                <a:gd name="T60" fmla="*/ 55 w 594"/>
                <a:gd name="T61" fmla="*/ 1233 h 1281"/>
                <a:gd name="T62" fmla="*/ 221 w 594"/>
                <a:gd name="T63" fmla="*/ 1241 h 1281"/>
                <a:gd name="T64" fmla="*/ 419 w 594"/>
                <a:gd name="T65" fmla="*/ 1201 h 1281"/>
                <a:gd name="T66" fmla="*/ 585 w 594"/>
                <a:gd name="T67" fmla="*/ 1043 h 1281"/>
                <a:gd name="T68" fmla="*/ 569 w 594"/>
                <a:gd name="T69" fmla="*/ 885 h 1281"/>
                <a:gd name="T70" fmla="*/ 490 w 594"/>
                <a:gd name="T71" fmla="*/ 798 h 1281"/>
                <a:gd name="T72" fmla="*/ 198 w 594"/>
                <a:gd name="T73" fmla="*/ 16 h 1281"/>
                <a:gd name="T74" fmla="*/ 166 w 594"/>
                <a:gd name="T75" fmla="*/ 16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4" h="1281">
                  <a:moveTo>
                    <a:pt x="71" y="1280"/>
                  </a:moveTo>
                  <a:lnTo>
                    <a:pt x="71" y="1280"/>
                  </a:lnTo>
                  <a:lnTo>
                    <a:pt x="71" y="1280"/>
                  </a:lnTo>
                  <a:lnTo>
                    <a:pt x="71" y="1280"/>
                  </a:lnTo>
                  <a:cubicBezTo>
                    <a:pt x="63" y="1280"/>
                    <a:pt x="55" y="1257"/>
                    <a:pt x="48" y="1233"/>
                  </a:cubicBezTo>
                  <a:cubicBezTo>
                    <a:pt x="48" y="1225"/>
                    <a:pt x="40" y="1217"/>
                    <a:pt x="40" y="1201"/>
                  </a:cubicBezTo>
                  <a:cubicBezTo>
                    <a:pt x="24" y="1178"/>
                    <a:pt x="32" y="1162"/>
                    <a:pt x="40" y="1146"/>
                  </a:cubicBezTo>
                  <a:cubicBezTo>
                    <a:pt x="48" y="1130"/>
                    <a:pt x="55" y="1122"/>
                    <a:pt x="55" y="1107"/>
                  </a:cubicBezTo>
                  <a:lnTo>
                    <a:pt x="55" y="1107"/>
                  </a:lnTo>
                  <a:cubicBezTo>
                    <a:pt x="55" y="1075"/>
                    <a:pt x="63" y="1051"/>
                    <a:pt x="32" y="972"/>
                  </a:cubicBezTo>
                  <a:cubicBezTo>
                    <a:pt x="0" y="893"/>
                    <a:pt x="40" y="767"/>
                    <a:pt x="48" y="719"/>
                  </a:cubicBezTo>
                  <a:cubicBezTo>
                    <a:pt x="55" y="711"/>
                    <a:pt x="55" y="711"/>
                    <a:pt x="55" y="711"/>
                  </a:cubicBezTo>
                  <a:cubicBezTo>
                    <a:pt x="55" y="703"/>
                    <a:pt x="63" y="687"/>
                    <a:pt x="71" y="680"/>
                  </a:cubicBezTo>
                  <a:cubicBezTo>
                    <a:pt x="87" y="656"/>
                    <a:pt x="103" y="632"/>
                    <a:pt x="95" y="616"/>
                  </a:cubicBezTo>
                  <a:cubicBezTo>
                    <a:pt x="95" y="601"/>
                    <a:pt x="79" y="593"/>
                    <a:pt x="55" y="577"/>
                  </a:cubicBezTo>
                  <a:cubicBezTo>
                    <a:pt x="32" y="569"/>
                    <a:pt x="24" y="561"/>
                    <a:pt x="24" y="545"/>
                  </a:cubicBezTo>
                  <a:cubicBezTo>
                    <a:pt x="16" y="506"/>
                    <a:pt x="95" y="435"/>
                    <a:pt x="135" y="403"/>
                  </a:cubicBezTo>
                  <a:cubicBezTo>
                    <a:pt x="150" y="395"/>
                    <a:pt x="158" y="387"/>
                    <a:pt x="158" y="379"/>
                  </a:cubicBezTo>
                  <a:cubicBezTo>
                    <a:pt x="174" y="363"/>
                    <a:pt x="158" y="348"/>
                    <a:pt x="135" y="324"/>
                  </a:cubicBezTo>
                  <a:cubicBezTo>
                    <a:pt x="127" y="316"/>
                    <a:pt x="119" y="308"/>
                    <a:pt x="119" y="308"/>
                  </a:cubicBezTo>
                  <a:cubicBezTo>
                    <a:pt x="95" y="284"/>
                    <a:pt x="111" y="237"/>
                    <a:pt x="127" y="205"/>
                  </a:cubicBezTo>
                  <a:cubicBezTo>
                    <a:pt x="127" y="197"/>
                    <a:pt x="135" y="182"/>
                    <a:pt x="135" y="182"/>
                  </a:cubicBezTo>
                  <a:cubicBezTo>
                    <a:pt x="135" y="158"/>
                    <a:pt x="127" y="134"/>
                    <a:pt x="127" y="134"/>
                  </a:cubicBezTo>
                  <a:lnTo>
                    <a:pt x="127" y="134"/>
                  </a:lnTo>
                  <a:lnTo>
                    <a:pt x="127" y="134"/>
                  </a:lnTo>
                  <a:cubicBezTo>
                    <a:pt x="127" y="103"/>
                    <a:pt x="142" y="16"/>
                    <a:pt x="166" y="8"/>
                  </a:cubicBezTo>
                  <a:cubicBezTo>
                    <a:pt x="174" y="8"/>
                    <a:pt x="174" y="8"/>
                    <a:pt x="182" y="8"/>
                  </a:cubicBezTo>
                  <a:cubicBezTo>
                    <a:pt x="182" y="8"/>
                    <a:pt x="190" y="8"/>
                    <a:pt x="198" y="8"/>
                  </a:cubicBezTo>
                  <a:cubicBezTo>
                    <a:pt x="206" y="8"/>
                    <a:pt x="214" y="8"/>
                    <a:pt x="221" y="0"/>
                  </a:cubicBezTo>
                  <a:cubicBezTo>
                    <a:pt x="229" y="0"/>
                    <a:pt x="229" y="0"/>
                    <a:pt x="229" y="0"/>
                  </a:cubicBezTo>
                  <a:lnTo>
                    <a:pt x="229" y="0"/>
                  </a:lnTo>
                  <a:cubicBezTo>
                    <a:pt x="498" y="798"/>
                    <a:pt x="498" y="798"/>
                    <a:pt x="498" y="798"/>
                  </a:cubicBezTo>
                  <a:cubicBezTo>
                    <a:pt x="506" y="814"/>
                    <a:pt x="546" y="877"/>
                    <a:pt x="569" y="877"/>
                  </a:cubicBezTo>
                  <a:cubicBezTo>
                    <a:pt x="585" y="885"/>
                    <a:pt x="585" y="909"/>
                    <a:pt x="585" y="956"/>
                  </a:cubicBezTo>
                  <a:cubicBezTo>
                    <a:pt x="585" y="988"/>
                    <a:pt x="585" y="1020"/>
                    <a:pt x="593" y="1043"/>
                  </a:cubicBezTo>
                  <a:lnTo>
                    <a:pt x="593" y="1043"/>
                  </a:lnTo>
                  <a:lnTo>
                    <a:pt x="593" y="1043"/>
                  </a:lnTo>
                  <a:cubicBezTo>
                    <a:pt x="593" y="1043"/>
                    <a:pt x="506" y="1146"/>
                    <a:pt x="490" y="1170"/>
                  </a:cubicBezTo>
                  <a:cubicBezTo>
                    <a:pt x="474" y="1201"/>
                    <a:pt x="467" y="1201"/>
                    <a:pt x="427" y="1209"/>
                  </a:cubicBezTo>
                  <a:cubicBezTo>
                    <a:pt x="411" y="1209"/>
                    <a:pt x="411" y="1209"/>
                    <a:pt x="411" y="1209"/>
                  </a:cubicBezTo>
                  <a:cubicBezTo>
                    <a:pt x="388" y="1209"/>
                    <a:pt x="301" y="1233"/>
                    <a:pt x="221" y="1249"/>
                  </a:cubicBezTo>
                  <a:cubicBezTo>
                    <a:pt x="135" y="1265"/>
                    <a:pt x="79" y="1280"/>
                    <a:pt x="71" y="1280"/>
                  </a:cubicBezTo>
                  <a:close/>
                  <a:moveTo>
                    <a:pt x="135" y="134"/>
                  </a:moveTo>
                  <a:lnTo>
                    <a:pt x="135" y="134"/>
                  </a:lnTo>
                  <a:cubicBezTo>
                    <a:pt x="135" y="134"/>
                    <a:pt x="142" y="158"/>
                    <a:pt x="142" y="182"/>
                  </a:cubicBezTo>
                  <a:cubicBezTo>
                    <a:pt x="142" y="190"/>
                    <a:pt x="135" y="197"/>
                    <a:pt x="135" y="213"/>
                  </a:cubicBezTo>
                  <a:cubicBezTo>
                    <a:pt x="119" y="237"/>
                    <a:pt x="103" y="284"/>
                    <a:pt x="127" y="300"/>
                  </a:cubicBezTo>
                  <a:cubicBezTo>
                    <a:pt x="127" y="308"/>
                    <a:pt x="135" y="308"/>
                    <a:pt x="135" y="316"/>
                  </a:cubicBezTo>
                  <a:cubicBezTo>
                    <a:pt x="158" y="340"/>
                    <a:pt x="182" y="363"/>
                    <a:pt x="166" y="387"/>
                  </a:cubicBezTo>
                  <a:cubicBezTo>
                    <a:pt x="166" y="395"/>
                    <a:pt x="158" y="395"/>
                    <a:pt x="142" y="411"/>
                  </a:cubicBezTo>
                  <a:cubicBezTo>
                    <a:pt x="103" y="443"/>
                    <a:pt x="24" y="506"/>
                    <a:pt x="32" y="545"/>
                  </a:cubicBezTo>
                  <a:cubicBezTo>
                    <a:pt x="32" y="553"/>
                    <a:pt x="40" y="569"/>
                    <a:pt x="55" y="569"/>
                  </a:cubicBezTo>
                  <a:cubicBezTo>
                    <a:pt x="79" y="585"/>
                    <a:pt x="95" y="601"/>
                    <a:pt x="103" y="616"/>
                  </a:cubicBezTo>
                  <a:cubicBezTo>
                    <a:pt x="111" y="640"/>
                    <a:pt x="95" y="656"/>
                    <a:pt x="79" y="680"/>
                  </a:cubicBezTo>
                  <a:cubicBezTo>
                    <a:pt x="71" y="696"/>
                    <a:pt x="63" y="703"/>
                    <a:pt x="55" y="719"/>
                  </a:cubicBezTo>
                  <a:lnTo>
                    <a:pt x="55" y="719"/>
                  </a:lnTo>
                  <a:cubicBezTo>
                    <a:pt x="48" y="767"/>
                    <a:pt x="8" y="893"/>
                    <a:pt x="40" y="972"/>
                  </a:cubicBezTo>
                  <a:cubicBezTo>
                    <a:pt x="63" y="1051"/>
                    <a:pt x="63" y="1075"/>
                    <a:pt x="63" y="1107"/>
                  </a:cubicBezTo>
                  <a:lnTo>
                    <a:pt x="63" y="1107"/>
                  </a:lnTo>
                  <a:cubicBezTo>
                    <a:pt x="55" y="1122"/>
                    <a:pt x="55" y="1138"/>
                    <a:pt x="48" y="1146"/>
                  </a:cubicBezTo>
                  <a:cubicBezTo>
                    <a:pt x="40" y="1162"/>
                    <a:pt x="32" y="1178"/>
                    <a:pt x="40" y="1201"/>
                  </a:cubicBezTo>
                  <a:cubicBezTo>
                    <a:pt x="48" y="1209"/>
                    <a:pt x="48" y="1225"/>
                    <a:pt x="55" y="1233"/>
                  </a:cubicBezTo>
                  <a:cubicBezTo>
                    <a:pt x="63" y="1257"/>
                    <a:pt x="63" y="1273"/>
                    <a:pt x="71" y="1273"/>
                  </a:cubicBezTo>
                  <a:cubicBezTo>
                    <a:pt x="79" y="1273"/>
                    <a:pt x="150" y="1257"/>
                    <a:pt x="221" y="1241"/>
                  </a:cubicBezTo>
                  <a:cubicBezTo>
                    <a:pt x="293" y="1225"/>
                    <a:pt x="388" y="1209"/>
                    <a:pt x="411" y="1201"/>
                  </a:cubicBezTo>
                  <a:cubicBezTo>
                    <a:pt x="419" y="1201"/>
                    <a:pt x="419" y="1201"/>
                    <a:pt x="419" y="1201"/>
                  </a:cubicBezTo>
                  <a:cubicBezTo>
                    <a:pt x="467" y="1194"/>
                    <a:pt x="467" y="1194"/>
                    <a:pt x="482" y="1170"/>
                  </a:cubicBezTo>
                  <a:cubicBezTo>
                    <a:pt x="498" y="1146"/>
                    <a:pt x="577" y="1059"/>
                    <a:pt x="585" y="1043"/>
                  </a:cubicBezTo>
                  <a:cubicBezTo>
                    <a:pt x="577" y="1020"/>
                    <a:pt x="577" y="988"/>
                    <a:pt x="577" y="956"/>
                  </a:cubicBezTo>
                  <a:cubicBezTo>
                    <a:pt x="577" y="925"/>
                    <a:pt x="577" y="893"/>
                    <a:pt x="569" y="885"/>
                  </a:cubicBezTo>
                  <a:cubicBezTo>
                    <a:pt x="538" y="877"/>
                    <a:pt x="490" y="798"/>
                    <a:pt x="490" y="798"/>
                  </a:cubicBezTo>
                  <a:lnTo>
                    <a:pt x="490" y="798"/>
                  </a:lnTo>
                  <a:cubicBezTo>
                    <a:pt x="229" y="8"/>
                    <a:pt x="229" y="8"/>
                    <a:pt x="229" y="8"/>
                  </a:cubicBezTo>
                  <a:cubicBezTo>
                    <a:pt x="214" y="16"/>
                    <a:pt x="206" y="16"/>
                    <a:pt x="198" y="16"/>
                  </a:cubicBezTo>
                  <a:cubicBezTo>
                    <a:pt x="190" y="16"/>
                    <a:pt x="182" y="16"/>
                    <a:pt x="182" y="16"/>
                  </a:cubicBezTo>
                  <a:cubicBezTo>
                    <a:pt x="174" y="16"/>
                    <a:pt x="174" y="16"/>
                    <a:pt x="166" y="16"/>
                  </a:cubicBezTo>
                  <a:cubicBezTo>
                    <a:pt x="150" y="16"/>
                    <a:pt x="135" y="79"/>
                    <a:pt x="135" y="134"/>
                  </a:cubicBezTo>
                  <a:close/>
                </a:path>
              </a:pathLst>
            </a:custGeom>
            <a:grpFill/>
            <a:ln>
              <a:solidFill>
                <a:schemeClr val="bg1">
                  <a:lumMod val="95000"/>
                </a:schemeClr>
              </a:solidFill>
            </a:ln>
            <a:effectLst/>
          </p:spPr>
          <p:txBody>
            <a:bodyPr wrap="none" anchor="ctr"/>
            <a:lstStyle/>
            <a:p>
              <a:endParaRPr lang="en-US" sz="900"/>
            </a:p>
          </p:txBody>
        </p:sp>
        <p:sp>
          <p:nvSpPr>
            <p:cNvPr id="93" name="Freeform 759"/>
            <p:cNvSpPr>
              <a:spLocks noChangeArrowheads="1"/>
            </p:cNvSpPr>
            <p:nvPr/>
          </p:nvSpPr>
          <p:spPr bwMode="auto">
            <a:xfrm>
              <a:off x="16309600" y="4076339"/>
              <a:ext cx="340939" cy="640128"/>
            </a:xfrm>
            <a:custGeom>
              <a:avLst/>
              <a:gdLst>
                <a:gd name="T0" fmla="*/ 15 w 649"/>
                <a:gd name="T1" fmla="*/ 269 h 1219"/>
                <a:gd name="T2" fmla="*/ 15 w 649"/>
                <a:gd name="T3" fmla="*/ 269 h 1219"/>
                <a:gd name="T4" fmla="*/ 23 w 649"/>
                <a:gd name="T5" fmla="*/ 364 h 1219"/>
                <a:gd name="T6" fmla="*/ 63 w 649"/>
                <a:gd name="T7" fmla="*/ 419 h 1219"/>
                <a:gd name="T8" fmla="*/ 102 w 649"/>
                <a:gd name="T9" fmla="*/ 522 h 1219"/>
                <a:gd name="T10" fmla="*/ 95 w 649"/>
                <a:gd name="T11" fmla="*/ 617 h 1219"/>
                <a:gd name="T12" fmla="*/ 118 w 649"/>
                <a:gd name="T13" fmla="*/ 743 h 1219"/>
                <a:gd name="T14" fmla="*/ 150 w 649"/>
                <a:gd name="T15" fmla="*/ 838 h 1219"/>
                <a:gd name="T16" fmla="*/ 190 w 649"/>
                <a:gd name="T17" fmla="*/ 838 h 1219"/>
                <a:gd name="T18" fmla="*/ 237 w 649"/>
                <a:gd name="T19" fmla="*/ 988 h 1219"/>
                <a:gd name="T20" fmla="*/ 284 w 649"/>
                <a:gd name="T21" fmla="*/ 1210 h 1219"/>
                <a:gd name="T22" fmla="*/ 537 w 649"/>
                <a:gd name="T23" fmla="*/ 1139 h 1219"/>
                <a:gd name="T24" fmla="*/ 506 w 649"/>
                <a:gd name="T25" fmla="*/ 1067 h 1219"/>
                <a:gd name="T26" fmla="*/ 521 w 649"/>
                <a:gd name="T27" fmla="*/ 973 h 1219"/>
                <a:gd name="T28" fmla="*/ 498 w 649"/>
                <a:gd name="T29" fmla="*/ 838 h 1219"/>
                <a:gd name="T30" fmla="*/ 521 w 649"/>
                <a:gd name="T31" fmla="*/ 585 h 1219"/>
                <a:gd name="T32" fmla="*/ 521 w 649"/>
                <a:gd name="T33" fmla="*/ 443 h 1219"/>
                <a:gd name="T34" fmla="*/ 632 w 649"/>
                <a:gd name="T35" fmla="*/ 253 h 1219"/>
                <a:gd name="T36" fmla="*/ 585 w 649"/>
                <a:gd name="T37" fmla="*/ 174 h 1219"/>
                <a:gd name="T38" fmla="*/ 601 w 649"/>
                <a:gd name="T39" fmla="*/ 48 h 1219"/>
                <a:gd name="T40" fmla="*/ 601 w 649"/>
                <a:gd name="T41" fmla="*/ 0 h 1219"/>
                <a:gd name="T42" fmla="*/ 0 w 649"/>
                <a:gd name="T43" fmla="*/ 174 h 1219"/>
                <a:gd name="T44" fmla="*/ 15 w 649"/>
                <a:gd name="T45" fmla="*/ 26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9" h="1219">
                  <a:moveTo>
                    <a:pt x="15" y="269"/>
                  </a:moveTo>
                  <a:lnTo>
                    <a:pt x="15" y="269"/>
                  </a:lnTo>
                  <a:cubicBezTo>
                    <a:pt x="23" y="285"/>
                    <a:pt x="15" y="324"/>
                    <a:pt x="23" y="364"/>
                  </a:cubicBezTo>
                  <a:cubicBezTo>
                    <a:pt x="31" y="396"/>
                    <a:pt x="55" y="396"/>
                    <a:pt x="63" y="419"/>
                  </a:cubicBezTo>
                  <a:cubicBezTo>
                    <a:pt x="79" y="443"/>
                    <a:pt x="95" y="498"/>
                    <a:pt x="102" y="522"/>
                  </a:cubicBezTo>
                  <a:cubicBezTo>
                    <a:pt x="102" y="553"/>
                    <a:pt x="79" y="577"/>
                    <a:pt x="95" y="617"/>
                  </a:cubicBezTo>
                  <a:cubicBezTo>
                    <a:pt x="110" y="656"/>
                    <a:pt x="118" y="720"/>
                    <a:pt x="118" y="743"/>
                  </a:cubicBezTo>
                  <a:cubicBezTo>
                    <a:pt x="118" y="767"/>
                    <a:pt x="126" y="830"/>
                    <a:pt x="150" y="838"/>
                  </a:cubicBezTo>
                  <a:cubicBezTo>
                    <a:pt x="174" y="838"/>
                    <a:pt x="174" y="807"/>
                    <a:pt x="190" y="838"/>
                  </a:cubicBezTo>
                  <a:cubicBezTo>
                    <a:pt x="205" y="862"/>
                    <a:pt x="221" y="933"/>
                    <a:pt x="237" y="988"/>
                  </a:cubicBezTo>
                  <a:cubicBezTo>
                    <a:pt x="253" y="1044"/>
                    <a:pt x="284" y="1202"/>
                    <a:pt x="284" y="1210"/>
                  </a:cubicBezTo>
                  <a:cubicBezTo>
                    <a:pt x="292" y="1218"/>
                    <a:pt x="537" y="1139"/>
                    <a:pt x="537" y="1139"/>
                  </a:cubicBezTo>
                  <a:cubicBezTo>
                    <a:pt x="521" y="1139"/>
                    <a:pt x="521" y="1107"/>
                    <a:pt x="506" y="1067"/>
                  </a:cubicBezTo>
                  <a:cubicBezTo>
                    <a:pt x="490" y="1036"/>
                    <a:pt x="521" y="1012"/>
                    <a:pt x="521" y="973"/>
                  </a:cubicBezTo>
                  <a:cubicBezTo>
                    <a:pt x="529" y="941"/>
                    <a:pt x="529" y="917"/>
                    <a:pt x="498" y="838"/>
                  </a:cubicBezTo>
                  <a:cubicBezTo>
                    <a:pt x="466" y="751"/>
                    <a:pt x="506" y="625"/>
                    <a:pt x="521" y="585"/>
                  </a:cubicBezTo>
                  <a:cubicBezTo>
                    <a:pt x="537" y="538"/>
                    <a:pt x="616" y="482"/>
                    <a:pt x="521" y="443"/>
                  </a:cubicBezTo>
                  <a:cubicBezTo>
                    <a:pt x="419" y="403"/>
                    <a:pt x="608" y="269"/>
                    <a:pt x="632" y="253"/>
                  </a:cubicBezTo>
                  <a:cubicBezTo>
                    <a:pt x="648" y="229"/>
                    <a:pt x="616" y="198"/>
                    <a:pt x="585" y="174"/>
                  </a:cubicBezTo>
                  <a:cubicBezTo>
                    <a:pt x="561" y="143"/>
                    <a:pt x="601" y="71"/>
                    <a:pt x="601" y="48"/>
                  </a:cubicBezTo>
                  <a:cubicBezTo>
                    <a:pt x="601" y="24"/>
                    <a:pt x="601" y="0"/>
                    <a:pt x="601" y="0"/>
                  </a:cubicBezTo>
                  <a:cubicBezTo>
                    <a:pt x="593" y="24"/>
                    <a:pt x="292" y="103"/>
                    <a:pt x="0" y="174"/>
                  </a:cubicBezTo>
                  <a:cubicBezTo>
                    <a:pt x="0" y="198"/>
                    <a:pt x="8" y="253"/>
                    <a:pt x="15" y="269"/>
                  </a:cubicBezTo>
                </a:path>
              </a:pathLst>
            </a:custGeom>
            <a:grpFill/>
            <a:ln>
              <a:solidFill>
                <a:schemeClr val="bg1">
                  <a:lumMod val="95000"/>
                </a:schemeClr>
              </a:solidFill>
            </a:ln>
            <a:effectLst/>
          </p:spPr>
          <p:txBody>
            <a:bodyPr wrap="none" anchor="ctr"/>
            <a:lstStyle/>
            <a:p>
              <a:endParaRPr lang="en-US" sz="900"/>
            </a:p>
          </p:txBody>
        </p:sp>
        <p:sp>
          <p:nvSpPr>
            <p:cNvPr id="94" name="Freeform 760"/>
            <p:cNvSpPr>
              <a:spLocks noChangeArrowheads="1"/>
            </p:cNvSpPr>
            <p:nvPr/>
          </p:nvSpPr>
          <p:spPr bwMode="auto">
            <a:xfrm>
              <a:off x="16309600" y="4064743"/>
              <a:ext cx="340939" cy="654044"/>
            </a:xfrm>
            <a:custGeom>
              <a:avLst/>
              <a:gdLst>
                <a:gd name="T0" fmla="*/ 292 w 649"/>
                <a:gd name="T1" fmla="*/ 1242 h 1243"/>
                <a:gd name="T2" fmla="*/ 253 w 649"/>
                <a:gd name="T3" fmla="*/ 1091 h 1243"/>
                <a:gd name="T4" fmla="*/ 190 w 649"/>
                <a:gd name="T5" fmla="*/ 862 h 1243"/>
                <a:gd name="T6" fmla="*/ 174 w 649"/>
                <a:gd name="T7" fmla="*/ 854 h 1243"/>
                <a:gd name="T8" fmla="*/ 150 w 649"/>
                <a:gd name="T9" fmla="*/ 862 h 1243"/>
                <a:gd name="T10" fmla="*/ 95 w 649"/>
                <a:gd name="T11" fmla="*/ 641 h 1243"/>
                <a:gd name="T12" fmla="*/ 95 w 649"/>
                <a:gd name="T13" fmla="*/ 554 h 1243"/>
                <a:gd name="T14" fmla="*/ 47 w 649"/>
                <a:gd name="T15" fmla="*/ 427 h 1243"/>
                <a:gd name="T16" fmla="*/ 15 w 649"/>
                <a:gd name="T17" fmla="*/ 340 h 1243"/>
                <a:gd name="T18" fmla="*/ 0 w 649"/>
                <a:gd name="T19" fmla="*/ 198 h 1243"/>
                <a:gd name="T20" fmla="*/ 0 w 649"/>
                <a:gd name="T21" fmla="*/ 190 h 1243"/>
                <a:gd name="T22" fmla="*/ 593 w 649"/>
                <a:gd name="T23" fmla="*/ 0 h 1243"/>
                <a:gd name="T24" fmla="*/ 608 w 649"/>
                <a:gd name="T25" fmla="*/ 72 h 1243"/>
                <a:gd name="T26" fmla="*/ 593 w 649"/>
                <a:gd name="T27" fmla="*/ 190 h 1243"/>
                <a:gd name="T28" fmla="*/ 632 w 649"/>
                <a:gd name="T29" fmla="*/ 277 h 1243"/>
                <a:gd name="T30" fmla="*/ 498 w 649"/>
                <a:gd name="T31" fmla="*/ 435 h 1243"/>
                <a:gd name="T32" fmla="*/ 569 w 649"/>
                <a:gd name="T33" fmla="*/ 506 h 1243"/>
                <a:gd name="T34" fmla="*/ 521 w 649"/>
                <a:gd name="T35" fmla="*/ 609 h 1243"/>
                <a:gd name="T36" fmla="*/ 506 w 649"/>
                <a:gd name="T37" fmla="*/ 862 h 1243"/>
                <a:gd name="T38" fmla="*/ 529 w 649"/>
                <a:gd name="T39" fmla="*/ 997 h 1243"/>
                <a:gd name="T40" fmla="*/ 506 w 649"/>
                <a:gd name="T41" fmla="*/ 1091 h 1243"/>
                <a:gd name="T42" fmla="*/ 537 w 649"/>
                <a:gd name="T43" fmla="*/ 1163 h 1243"/>
                <a:gd name="T44" fmla="*/ 537 w 649"/>
                <a:gd name="T45" fmla="*/ 1170 h 1243"/>
                <a:gd name="T46" fmla="*/ 181 w 649"/>
                <a:gd name="T47" fmla="*/ 846 h 1243"/>
                <a:gd name="T48" fmla="*/ 197 w 649"/>
                <a:gd name="T49" fmla="*/ 854 h 1243"/>
                <a:gd name="T50" fmla="*/ 261 w 649"/>
                <a:gd name="T51" fmla="*/ 1091 h 1243"/>
                <a:gd name="T52" fmla="*/ 529 w 649"/>
                <a:gd name="T53" fmla="*/ 1163 h 1243"/>
                <a:gd name="T54" fmla="*/ 506 w 649"/>
                <a:gd name="T55" fmla="*/ 1091 h 1243"/>
                <a:gd name="T56" fmla="*/ 521 w 649"/>
                <a:gd name="T57" fmla="*/ 997 h 1243"/>
                <a:gd name="T58" fmla="*/ 498 w 649"/>
                <a:gd name="T59" fmla="*/ 862 h 1243"/>
                <a:gd name="T60" fmla="*/ 521 w 649"/>
                <a:gd name="T61" fmla="*/ 601 h 1243"/>
                <a:gd name="T62" fmla="*/ 561 w 649"/>
                <a:gd name="T63" fmla="*/ 506 h 1243"/>
                <a:gd name="T64" fmla="*/ 490 w 649"/>
                <a:gd name="T65" fmla="*/ 435 h 1243"/>
                <a:gd name="T66" fmla="*/ 624 w 649"/>
                <a:gd name="T67" fmla="*/ 269 h 1243"/>
                <a:gd name="T68" fmla="*/ 585 w 649"/>
                <a:gd name="T69" fmla="*/ 198 h 1243"/>
                <a:gd name="T70" fmla="*/ 601 w 649"/>
                <a:gd name="T71" fmla="*/ 72 h 1243"/>
                <a:gd name="T72" fmla="*/ 8 w 649"/>
                <a:gd name="T73" fmla="*/ 198 h 1243"/>
                <a:gd name="T74" fmla="*/ 23 w 649"/>
                <a:gd name="T75" fmla="*/ 340 h 1243"/>
                <a:gd name="T76" fmla="*/ 55 w 649"/>
                <a:gd name="T77" fmla="*/ 420 h 1243"/>
                <a:gd name="T78" fmla="*/ 102 w 649"/>
                <a:gd name="T79" fmla="*/ 546 h 1243"/>
                <a:gd name="T80" fmla="*/ 95 w 649"/>
                <a:gd name="T81" fmla="*/ 641 h 1243"/>
                <a:gd name="T82" fmla="*/ 150 w 649"/>
                <a:gd name="T83" fmla="*/ 854 h 1243"/>
                <a:gd name="T84" fmla="*/ 174 w 649"/>
                <a:gd name="T85" fmla="*/ 846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9" h="1243">
                  <a:moveTo>
                    <a:pt x="292" y="1242"/>
                  </a:moveTo>
                  <a:lnTo>
                    <a:pt x="292" y="1242"/>
                  </a:lnTo>
                  <a:cubicBezTo>
                    <a:pt x="292" y="1242"/>
                    <a:pt x="284" y="1242"/>
                    <a:pt x="284" y="1234"/>
                  </a:cubicBezTo>
                  <a:cubicBezTo>
                    <a:pt x="284" y="1234"/>
                    <a:pt x="276" y="1186"/>
                    <a:pt x="253" y="1091"/>
                  </a:cubicBezTo>
                  <a:cubicBezTo>
                    <a:pt x="245" y="1060"/>
                    <a:pt x="237" y="1028"/>
                    <a:pt x="237" y="1012"/>
                  </a:cubicBezTo>
                  <a:cubicBezTo>
                    <a:pt x="213" y="933"/>
                    <a:pt x="197" y="886"/>
                    <a:pt x="190" y="862"/>
                  </a:cubicBezTo>
                  <a:cubicBezTo>
                    <a:pt x="181" y="854"/>
                    <a:pt x="181" y="854"/>
                    <a:pt x="181" y="854"/>
                  </a:cubicBezTo>
                  <a:cubicBezTo>
                    <a:pt x="181" y="854"/>
                    <a:pt x="181" y="854"/>
                    <a:pt x="174" y="854"/>
                  </a:cubicBezTo>
                  <a:cubicBezTo>
                    <a:pt x="174" y="862"/>
                    <a:pt x="166" y="862"/>
                    <a:pt x="158" y="862"/>
                  </a:cubicBezTo>
                  <a:cubicBezTo>
                    <a:pt x="150" y="862"/>
                    <a:pt x="150" y="862"/>
                    <a:pt x="150" y="862"/>
                  </a:cubicBezTo>
                  <a:cubicBezTo>
                    <a:pt x="126" y="854"/>
                    <a:pt x="118" y="799"/>
                    <a:pt x="118" y="767"/>
                  </a:cubicBezTo>
                  <a:cubicBezTo>
                    <a:pt x="118" y="744"/>
                    <a:pt x="102" y="673"/>
                    <a:pt x="95" y="641"/>
                  </a:cubicBezTo>
                  <a:cubicBezTo>
                    <a:pt x="87" y="617"/>
                    <a:pt x="87" y="601"/>
                    <a:pt x="95" y="577"/>
                  </a:cubicBezTo>
                  <a:cubicBezTo>
                    <a:pt x="95" y="570"/>
                    <a:pt x="95" y="562"/>
                    <a:pt x="95" y="554"/>
                  </a:cubicBezTo>
                  <a:cubicBezTo>
                    <a:pt x="95" y="522"/>
                    <a:pt x="79" y="467"/>
                    <a:pt x="63" y="443"/>
                  </a:cubicBezTo>
                  <a:cubicBezTo>
                    <a:pt x="63" y="435"/>
                    <a:pt x="55" y="427"/>
                    <a:pt x="47" y="427"/>
                  </a:cubicBezTo>
                  <a:cubicBezTo>
                    <a:pt x="39" y="420"/>
                    <a:pt x="31" y="411"/>
                    <a:pt x="23" y="388"/>
                  </a:cubicBezTo>
                  <a:cubicBezTo>
                    <a:pt x="15" y="372"/>
                    <a:pt x="15" y="356"/>
                    <a:pt x="15" y="340"/>
                  </a:cubicBezTo>
                  <a:cubicBezTo>
                    <a:pt x="15" y="317"/>
                    <a:pt x="15" y="301"/>
                    <a:pt x="8" y="293"/>
                  </a:cubicBezTo>
                  <a:cubicBezTo>
                    <a:pt x="0" y="277"/>
                    <a:pt x="0" y="238"/>
                    <a:pt x="0" y="198"/>
                  </a:cubicBezTo>
                  <a:cubicBezTo>
                    <a:pt x="0" y="190"/>
                    <a:pt x="0" y="190"/>
                    <a:pt x="0" y="190"/>
                  </a:cubicBezTo>
                  <a:lnTo>
                    <a:pt x="0" y="190"/>
                  </a:lnTo>
                  <a:cubicBezTo>
                    <a:pt x="545" y="64"/>
                    <a:pt x="593" y="24"/>
                    <a:pt x="593" y="24"/>
                  </a:cubicBezTo>
                  <a:cubicBezTo>
                    <a:pt x="593" y="0"/>
                    <a:pt x="593" y="0"/>
                    <a:pt x="593" y="0"/>
                  </a:cubicBezTo>
                  <a:cubicBezTo>
                    <a:pt x="601" y="24"/>
                    <a:pt x="601" y="24"/>
                    <a:pt x="601" y="24"/>
                  </a:cubicBezTo>
                  <a:cubicBezTo>
                    <a:pt x="601" y="24"/>
                    <a:pt x="608" y="48"/>
                    <a:pt x="608" y="72"/>
                  </a:cubicBezTo>
                  <a:cubicBezTo>
                    <a:pt x="608" y="80"/>
                    <a:pt x="601" y="87"/>
                    <a:pt x="601" y="103"/>
                  </a:cubicBezTo>
                  <a:cubicBezTo>
                    <a:pt x="585" y="127"/>
                    <a:pt x="569" y="174"/>
                    <a:pt x="593" y="190"/>
                  </a:cubicBezTo>
                  <a:cubicBezTo>
                    <a:pt x="593" y="198"/>
                    <a:pt x="601" y="198"/>
                    <a:pt x="601" y="206"/>
                  </a:cubicBezTo>
                  <a:cubicBezTo>
                    <a:pt x="624" y="230"/>
                    <a:pt x="648" y="253"/>
                    <a:pt x="632" y="277"/>
                  </a:cubicBezTo>
                  <a:cubicBezTo>
                    <a:pt x="632" y="285"/>
                    <a:pt x="624" y="285"/>
                    <a:pt x="608" y="301"/>
                  </a:cubicBezTo>
                  <a:cubicBezTo>
                    <a:pt x="569" y="333"/>
                    <a:pt x="490" y="396"/>
                    <a:pt x="498" y="435"/>
                  </a:cubicBezTo>
                  <a:cubicBezTo>
                    <a:pt x="498" y="443"/>
                    <a:pt x="506" y="459"/>
                    <a:pt x="521" y="459"/>
                  </a:cubicBezTo>
                  <a:cubicBezTo>
                    <a:pt x="545" y="475"/>
                    <a:pt x="561" y="491"/>
                    <a:pt x="569" y="506"/>
                  </a:cubicBezTo>
                  <a:cubicBezTo>
                    <a:pt x="577" y="530"/>
                    <a:pt x="561" y="546"/>
                    <a:pt x="545" y="570"/>
                  </a:cubicBezTo>
                  <a:cubicBezTo>
                    <a:pt x="537" y="586"/>
                    <a:pt x="529" y="593"/>
                    <a:pt x="521" y="609"/>
                  </a:cubicBezTo>
                  <a:lnTo>
                    <a:pt x="521" y="609"/>
                  </a:lnTo>
                  <a:cubicBezTo>
                    <a:pt x="514" y="657"/>
                    <a:pt x="474" y="783"/>
                    <a:pt x="506" y="862"/>
                  </a:cubicBezTo>
                  <a:cubicBezTo>
                    <a:pt x="529" y="941"/>
                    <a:pt x="529" y="965"/>
                    <a:pt x="529" y="997"/>
                  </a:cubicBezTo>
                  <a:lnTo>
                    <a:pt x="529" y="997"/>
                  </a:lnTo>
                  <a:cubicBezTo>
                    <a:pt x="521" y="1012"/>
                    <a:pt x="521" y="1028"/>
                    <a:pt x="514" y="1036"/>
                  </a:cubicBezTo>
                  <a:cubicBezTo>
                    <a:pt x="506" y="1052"/>
                    <a:pt x="498" y="1068"/>
                    <a:pt x="506" y="1091"/>
                  </a:cubicBezTo>
                  <a:cubicBezTo>
                    <a:pt x="514" y="1099"/>
                    <a:pt x="514" y="1115"/>
                    <a:pt x="521" y="1123"/>
                  </a:cubicBezTo>
                  <a:cubicBezTo>
                    <a:pt x="529" y="1147"/>
                    <a:pt x="529" y="1163"/>
                    <a:pt x="537" y="1163"/>
                  </a:cubicBezTo>
                  <a:cubicBezTo>
                    <a:pt x="553" y="1163"/>
                    <a:pt x="553" y="1163"/>
                    <a:pt x="553" y="1163"/>
                  </a:cubicBezTo>
                  <a:cubicBezTo>
                    <a:pt x="537" y="1170"/>
                    <a:pt x="537" y="1170"/>
                    <a:pt x="537" y="1170"/>
                  </a:cubicBezTo>
                  <a:cubicBezTo>
                    <a:pt x="529" y="1170"/>
                    <a:pt x="316" y="1242"/>
                    <a:pt x="292" y="1242"/>
                  </a:cubicBezTo>
                  <a:close/>
                  <a:moveTo>
                    <a:pt x="181" y="846"/>
                  </a:moveTo>
                  <a:lnTo>
                    <a:pt x="181" y="846"/>
                  </a:lnTo>
                  <a:cubicBezTo>
                    <a:pt x="190" y="846"/>
                    <a:pt x="190" y="846"/>
                    <a:pt x="197" y="854"/>
                  </a:cubicBezTo>
                  <a:cubicBezTo>
                    <a:pt x="213" y="886"/>
                    <a:pt x="229" y="957"/>
                    <a:pt x="237" y="1012"/>
                  </a:cubicBezTo>
                  <a:cubicBezTo>
                    <a:pt x="245" y="1028"/>
                    <a:pt x="253" y="1060"/>
                    <a:pt x="261" y="1091"/>
                  </a:cubicBezTo>
                  <a:cubicBezTo>
                    <a:pt x="268" y="1147"/>
                    <a:pt x="284" y="1218"/>
                    <a:pt x="292" y="1234"/>
                  </a:cubicBezTo>
                  <a:cubicBezTo>
                    <a:pt x="308" y="1234"/>
                    <a:pt x="450" y="1186"/>
                    <a:pt x="529" y="1163"/>
                  </a:cubicBezTo>
                  <a:cubicBezTo>
                    <a:pt x="521" y="1155"/>
                    <a:pt x="521" y="1147"/>
                    <a:pt x="514" y="1123"/>
                  </a:cubicBezTo>
                  <a:cubicBezTo>
                    <a:pt x="514" y="1115"/>
                    <a:pt x="506" y="1107"/>
                    <a:pt x="506" y="1091"/>
                  </a:cubicBezTo>
                  <a:cubicBezTo>
                    <a:pt x="490" y="1068"/>
                    <a:pt x="498" y="1052"/>
                    <a:pt x="506" y="1036"/>
                  </a:cubicBezTo>
                  <a:cubicBezTo>
                    <a:pt x="514" y="1020"/>
                    <a:pt x="521" y="1012"/>
                    <a:pt x="521" y="997"/>
                  </a:cubicBezTo>
                  <a:lnTo>
                    <a:pt x="521" y="997"/>
                  </a:lnTo>
                  <a:cubicBezTo>
                    <a:pt x="521" y="965"/>
                    <a:pt x="529" y="941"/>
                    <a:pt x="498" y="862"/>
                  </a:cubicBezTo>
                  <a:cubicBezTo>
                    <a:pt x="466" y="783"/>
                    <a:pt x="506" y="657"/>
                    <a:pt x="514" y="609"/>
                  </a:cubicBezTo>
                  <a:cubicBezTo>
                    <a:pt x="521" y="601"/>
                    <a:pt x="521" y="601"/>
                    <a:pt x="521" y="601"/>
                  </a:cubicBezTo>
                  <a:cubicBezTo>
                    <a:pt x="521" y="593"/>
                    <a:pt x="529" y="577"/>
                    <a:pt x="537" y="570"/>
                  </a:cubicBezTo>
                  <a:cubicBezTo>
                    <a:pt x="553" y="546"/>
                    <a:pt x="569" y="522"/>
                    <a:pt x="561" y="506"/>
                  </a:cubicBezTo>
                  <a:cubicBezTo>
                    <a:pt x="561" y="491"/>
                    <a:pt x="545" y="483"/>
                    <a:pt x="521" y="467"/>
                  </a:cubicBezTo>
                  <a:cubicBezTo>
                    <a:pt x="498" y="459"/>
                    <a:pt x="490" y="451"/>
                    <a:pt x="490" y="435"/>
                  </a:cubicBezTo>
                  <a:cubicBezTo>
                    <a:pt x="482" y="396"/>
                    <a:pt x="561" y="325"/>
                    <a:pt x="601" y="293"/>
                  </a:cubicBezTo>
                  <a:cubicBezTo>
                    <a:pt x="616" y="285"/>
                    <a:pt x="624" y="277"/>
                    <a:pt x="624" y="269"/>
                  </a:cubicBezTo>
                  <a:cubicBezTo>
                    <a:pt x="640" y="253"/>
                    <a:pt x="624" y="238"/>
                    <a:pt x="601" y="214"/>
                  </a:cubicBezTo>
                  <a:cubicBezTo>
                    <a:pt x="593" y="206"/>
                    <a:pt x="585" y="198"/>
                    <a:pt x="585" y="198"/>
                  </a:cubicBezTo>
                  <a:cubicBezTo>
                    <a:pt x="561" y="174"/>
                    <a:pt x="577" y="127"/>
                    <a:pt x="593" y="95"/>
                  </a:cubicBezTo>
                  <a:cubicBezTo>
                    <a:pt x="593" y="87"/>
                    <a:pt x="601" y="72"/>
                    <a:pt x="601" y="72"/>
                  </a:cubicBezTo>
                  <a:cubicBezTo>
                    <a:pt x="601" y="56"/>
                    <a:pt x="601" y="40"/>
                    <a:pt x="593" y="32"/>
                  </a:cubicBezTo>
                  <a:cubicBezTo>
                    <a:pt x="577" y="48"/>
                    <a:pt x="474" y="87"/>
                    <a:pt x="8" y="198"/>
                  </a:cubicBezTo>
                  <a:cubicBezTo>
                    <a:pt x="8" y="246"/>
                    <a:pt x="8" y="277"/>
                    <a:pt x="15" y="293"/>
                  </a:cubicBezTo>
                  <a:cubicBezTo>
                    <a:pt x="23" y="301"/>
                    <a:pt x="23" y="317"/>
                    <a:pt x="23" y="340"/>
                  </a:cubicBezTo>
                  <a:cubicBezTo>
                    <a:pt x="23" y="356"/>
                    <a:pt x="23" y="372"/>
                    <a:pt x="31" y="380"/>
                  </a:cubicBezTo>
                  <a:cubicBezTo>
                    <a:pt x="31" y="404"/>
                    <a:pt x="47" y="411"/>
                    <a:pt x="55" y="420"/>
                  </a:cubicBezTo>
                  <a:cubicBezTo>
                    <a:pt x="55" y="427"/>
                    <a:pt x="63" y="435"/>
                    <a:pt x="71" y="443"/>
                  </a:cubicBezTo>
                  <a:cubicBezTo>
                    <a:pt x="87" y="459"/>
                    <a:pt x="102" y="522"/>
                    <a:pt x="102" y="546"/>
                  </a:cubicBezTo>
                  <a:cubicBezTo>
                    <a:pt x="102" y="562"/>
                    <a:pt x="102" y="570"/>
                    <a:pt x="95" y="586"/>
                  </a:cubicBezTo>
                  <a:cubicBezTo>
                    <a:pt x="95" y="601"/>
                    <a:pt x="87" y="617"/>
                    <a:pt x="95" y="641"/>
                  </a:cubicBezTo>
                  <a:cubicBezTo>
                    <a:pt x="110" y="673"/>
                    <a:pt x="126" y="736"/>
                    <a:pt x="126" y="767"/>
                  </a:cubicBezTo>
                  <a:cubicBezTo>
                    <a:pt x="126" y="807"/>
                    <a:pt x="134" y="854"/>
                    <a:pt x="150" y="854"/>
                  </a:cubicBezTo>
                  <a:lnTo>
                    <a:pt x="158" y="854"/>
                  </a:lnTo>
                  <a:cubicBezTo>
                    <a:pt x="166" y="854"/>
                    <a:pt x="166" y="854"/>
                    <a:pt x="174" y="846"/>
                  </a:cubicBezTo>
                  <a:cubicBezTo>
                    <a:pt x="174" y="846"/>
                    <a:pt x="174" y="846"/>
                    <a:pt x="181" y="846"/>
                  </a:cubicBezTo>
                  <a:close/>
                </a:path>
              </a:pathLst>
            </a:custGeom>
            <a:grpFill/>
            <a:ln>
              <a:solidFill>
                <a:schemeClr val="bg1">
                  <a:lumMod val="95000"/>
                </a:schemeClr>
              </a:solidFill>
            </a:ln>
            <a:effectLst/>
          </p:spPr>
          <p:txBody>
            <a:bodyPr wrap="none" anchor="ctr"/>
            <a:lstStyle/>
            <a:p>
              <a:endParaRPr lang="en-US" sz="900"/>
            </a:p>
          </p:txBody>
        </p:sp>
        <p:sp>
          <p:nvSpPr>
            <p:cNvPr id="95" name="Freeform 761"/>
            <p:cNvSpPr>
              <a:spLocks noChangeArrowheads="1"/>
            </p:cNvSpPr>
            <p:nvPr/>
          </p:nvSpPr>
          <p:spPr bwMode="auto">
            <a:xfrm>
              <a:off x="16458035" y="4554116"/>
              <a:ext cx="674919" cy="361812"/>
            </a:xfrm>
            <a:custGeom>
              <a:avLst/>
              <a:gdLst>
                <a:gd name="T0" fmla="*/ 1241 w 1282"/>
                <a:gd name="T1" fmla="*/ 404 h 689"/>
                <a:gd name="T2" fmla="*/ 1241 w 1282"/>
                <a:gd name="T3" fmla="*/ 404 h 689"/>
                <a:gd name="T4" fmla="*/ 1186 w 1282"/>
                <a:gd name="T5" fmla="*/ 324 h 689"/>
                <a:gd name="T6" fmla="*/ 1107 w 1282"/>
                <a:gd name="T7" fmla="*/ 309 h 689"/>
                <a:gd name="T8" fmla="*/ 1139 w 1282"/>
                <a:gd name="T9" fmla="*/ 340 h 689"/>
                <a:gd name="T10" fmla="*/ 1170 w 1282"/>
                <a:gd name="T11" fmla="*/ 364 h 689"/>
                <a:gd name="T12" fmla="*/ 1194 w 1282"/>
                <a:gd name="T13" fmla="*/ 388 h 689"/>
                <a:gd name="T14" fmla="*/ 1218 w 1282"/>
                <a:gd name="T15" fmla="*/ 427 h 689"/>
                <a:gd name="T16" fmla="*/ 1170 w 1282"/>
                <a:gd name="T17" fmla="*/ 451 h 689"/>
                <a:gd name="T18" fmla="*/ 1131 w 1282"/>
                <a:gd name="T19" fmla="*/ 482 h 689"/>
                <a:gd name="T20" fmla="*/ 1076 w 1282"/>
                <a:gd name="T21" fmla="*/ 475 h 689"/>
                <a:gd name="T22" fmla="*/ 1044 w 1282"/>
                <a:gd name="T23" fmla="*/ 467 h 689"/>
                <a:gd name="T24" fmla="*/ 1004 w 1282"/>
                <a:gd name="T25" fmla="*/ 419 h 689"/>
                <a:gd name="T26" fmla="*/ 965 w 1282"/>
                <a:gd name="T27" fmla="*/ 404 h 689"/>
                <a:gd name="T28" fmla="*/ 981 w 1282"/>
                <a:gd name="T29" fmla="*/ 356 h 689"/>
                <a:gd name="T30" fmla="*/ 854 w 1282"/>
                <a:gd name="T31" fmla="*/ 293 h 689"/>
                <a:gd name="T32" fmla="*/ 830 w 1282"/>
                <a:gd name="T33" fmla="*/ 253 h 689"/>
                <a:gd name="T34" fmla="*/ 862 w 1282"/>
                <a:gd name="T35" fmla="*/ 158 h 689"/>
                <a:gd name="T36" fmla="*/ 909 w 1282"/>
                <a:gd name="T37" fmla="*/ 119 h 689"/>
                <a:gd name="T38" fmla="*/ 886 w 1282"/>
                <a:gd name="T39" fmla="*/ 87 h 689"/>
                <a:gd name="T40" fmla="*/ 823 w 1282"/>
                <a:gd name="T41" fmla="*/ 79 h 689"/>
                <a:gd name="T42" fmla="*/ 783 w 1282"/>
                <a:gd name="T43" fmla="*/ 16 h 689"/>
                <a:gd name="T44" fmla="*/ 775 w 1282"/>
                <a:gd name="T45" fmla="*/ 8 h 689"/>
                <a:gd name="T46" fmla="*/ 775 w 1282"/>
                <a:gd name="T47" fmla="*/ 0 h 689"/>
                <a:gd name="T48" fmla="*/ 664 w 1282"/>
                <a:gd name="T49" fmla="*/ 127 h 689"/>
                <a:gd name="T50" fmla="*/ 593 w 1282"/>
                <a:gd name="T51" fmla="*/ 166 h 689"/>
                <a:gd name="T52" fmla="*/ 253 w 1282"/>
                <a:gd name="T53" fmla="*/ 230 h 689"/>
                <a:gd name="T54" fmla="*/ 0 w 1282"/>
                <a:gd name="T55" fmla="*/ 301 h 689"/>
                <a:gd name="T56" fmla="*/ 0 w 1282"/>
                <a:gd name="T57" fmla="*/ 625 h 689"/>
                <a:gd name="T58" fmla="*/ 16 w 1282"/>
                <a:gd name="T59" fmla="*/ 633 h 689"/>
                <a:gd name="T60" fmla="*/ 506 w 1282"/>
                <a:gd name="T61" fmla="*/ 506 h 689"/>
                <a:gd name="T62" fmla="*/ 585 w 1282"/>
                <a:gd name="T63" fmla="*/ 506 h 689"/>
                <a:gd name="T64" fmla="*/ 704 w 1282"/>
                <a:gd name="T65" fmla="*/ 475 h 689"/>
                <a:gd name="T66" fmla="*/ 759 w 1282"/>
                <a:gd name="T67" fmla="*/ 546 h 689"/>
                <a:gd name="T68" fmla="*/ 775 w 1282"/>
                <a:gd name="T69" fmla="*/ 554 h 689"/>
                <a:gd name="T70" fmla="*/ 838 w 1282"/>
                <a:gd name="T71" fmla="*/ 609 h 689"/>
                <a:gd name="T72" fmla="*/ 846 w 1282"/>
                <a:gd name="T73" fmla="*/ 672 h 689"/>
                <a:gd name="T74" fmla="*/ 925 w 1282"/>
                <a:gd name="T75" fmla="*/ 641 h 689"/>
                <a:gd name="T76" fmla="*/ 981 w 1282"/>
                <a:gd name="T77" fmla="*/ 546 h 689"/>
                <a:gd name="T78" fmla="*/ 1028 w 1282"/>
                <a:gd name="T79" fmla="*/ 585 h 689"/>
                <a:gd name="T80" fmla="*/ 1083 w 1282"/>
                <a:gd name="T81" fmla="*/ 593 h 689"/>
                <a:gd name="T82" fmla="*/ 1131 w 1282"/>
                <a:gd name="T83" fmla="*/ 530 h 689"/>
                <a:gd name="T84" fmla="*/ 1154 w 1282"/>
                <a:gd name="T85" fmla="*/ 530 h 689"/>
                <a:gd name="T86" fmla="*/ 1194 w 1282"/>
                <a:gd name="T87" fmla="*/ 498 h 689"/>
                <a:gd name="T88" fmla="*/ 1234 w 1282"/>
                <a:gd name="T89" fmla="*/ 498 h 689"/>
                <a:gd name="T90" fmla="*/ 1257 w 1282"/>
                <a:gd name="T91" fmla="*/ 475 h 689"/>
                <a:gd name="T92" fmla="*/ 1265 w 1282"/>
                <a:gd name="T93" fmla="*/ 554 h 689"/>
                <a:gd name="T94" fmla="*/ 1273 w 1282"/>
                <a:gd name="T95" fmla="*/ 530 h 689"/>
                <a:gd name="T96" fmla="*/ 1241 w 1282"/>
                <a:gd name="T97" fmla="*/ 40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2" h="689">
                  <a:moveTo>
                    <a:pt x="1241" y="404"/>
                  </a:moveTo>
                  <a:lnTo>
                    <a:pt x="1241" y="404"/>
                  </a:lnTo>
                  <a:cubicBezTo>
                    <a:pt x="1210" y="348"/>
                    <a:pt x="1218" y="332"/>
                    <a:pt x="1186" y="324"/>
                  </a:cubicBezTo>
                  <a:cubicBezTo>
                    <a:pt x="1154" y="317"/>
                    <a:pt x="1107" y="285"/>
                    <a:pt x="1107" y="309"/>
                  </a:cubicBezTo>
                  <a:cubicBezTo>
                    <a:pt x="1107" y="332"/>
                    <a:pt x="1115" y="332"/>
                    <a:pt x="1139" y="340"/>
                  </a:cubicBezTo>
                  <a:cubicBezTo>
                    <a:pt x="1154" y="340"/>
                    <a:pt x="1170" y="340"/>
                    <a:pt x="1170" y="364"/>
                  </a:cubicBezTo>
                  <a:cubicBezTo>
                    <a:pt x="1162" y="388"/>
                    <a:pt x="1178" y="388"/>
                    <a:pt x="1194" y="388"/>
                  </a:cubicBezTo>
                  <a:cubicBezTo>
                    <a:pt x="1210" y="388"/>
                    <a:pt x="1234" y="404"/>
                    <a:pt x="1218" y="427"/>
                  </a:cubicBezTo>
                  <a:cubicBezTo>
                    <a:pt x="1210" y="443"/>
                    <a:pt x="1178" y="435"/>
                    <a:pt x="1170" y="451"/>
                  </a:cubicBezTo>
                  <a:cubicBezTo>
                    <a:pt x="1162" y="475"/>
                    <a:pt x="1154" y="490"/>
                    <a:pt x="1131" y="482"/>
                  </a:cubicBezTo>
                  <a:cubicBezTo>
                    <a:pt x="1115" y="482"/>
                    <a:pt x="1083" y="467"/>
                    <a:pt x="1076" y="475"/>
                  </a:cubicBezTo>
                  <a:cubicBezTo>
                    <a:pt x="1060" y="490"/>
                    <a:pt x="1067" y="498"/>
                    <a:pt x="1044" y="467"/>
                  </a:cubicBezTo>
                  <a:cubicBezTo>
                    <a:pt x="1020" y="427"/>
                    <a:pt x="1028" y="419"/>
                    <a:pt x="1004" y="419"/>
                  </a:cubicBezTo>
                  <a:cubicBezTo>
                    <a:pt x="973" y="411"/>
                    <a:pt x="941" y="419"/>
                    <a:pt x="965" y="404"/>
                  </a:cubicBezTo>
                  <a:cubicBezTo>
                    <a:pt x="981" y="380"/>
                    <a:pt x="996" y="380"/>
                    <a:pt x="981" y="356"/>
                  </a:cubicBezTo>
                  <a:cubicBezTo>
                    <a:pt x="957" y="340"/>
                    <a:pt x="894" y="301"/>
                    <a:pt x="854" y="293"/>
                  </a:cubicBezTo>
                  <a:cubicBezTo>
                    <a:pt x="814" y="285"/>
                    <a:pt x="814" y="285"/>
                    <a:pt x="830" y="253"/>
                  </a:cubicBezTo>
                  <a:cubicBezTo>
                    <a:pt x="846" y="222"/>
                    <a:pt x="830" y="166"/>
                    <a:pt x="862" y="158"/>
                  </a:cubicBezTo>
                  <a:cubicBezTo>
                    <a:pt x="894" y="143"/>
                    <a:pt x="909" y="135"/>
                    <a:pt x="909" y="119"/>
                  </a:cubicBezTo>
                  <a:cubicBezTo>
                    <a:pt x="917" y="103"/>
                    <a:pt x="909" y="87"/>
                    <a:pt x="886" y="87"/>
                  </a:cubicBezTo>
                  <a:cubicBezTo>
                    <a:pt x="870" y="95"/>
                    <a:pt x="838" y="119"/>
                    <a:pt x="823" y="79"/>
                  </a:cubicBezTo>
                  <a:cubicBezTo>
                    <a:pt x="814" y="40"/>
                    <a:pt x="799" y="24"/>
                    <a:pt x="783" y="16"/>
                  </a:cubicBezTo>
                  <a:cubicBezTo>
                    <a:pt x="783" y="8"/>
                    <a:pt x="783" y="8"/>
                    <a:pt x="775" y="8"/>
                  </a:cubicBezTo>
                  <a:cubicBezTo>
                    <a:pt x="775" y="8"/>
                    <a:pt x="767" y="8"/>
                    <a:pt x="775" y="0"/>
                  </a:cubicBezTo>
                  <a:cubicBezTo>
                    <a:pt x="775" y="0"/>
                    <a:pt x="680" y="103"/>
                    <a:pt x="664" y="127"/>
                  </a:cubicBezTo>
                  <a:cubicBezTo>
                    <a:pt x="649" y="158"/>
                    <a:pt x="649" y="158"/>
                    <a:pt x="593" y="166"/>
                  </a:cubicBezTo>
                  <a:cubicBezTo>
                    <a:pt x="546" y="166"/>
                    <a:pt x="269" y="237"/>
                    <a:pt x="253" y="230"/>
                  </a:cubicBezTo>
                  <a:cubicBezTo>
                    <a:pt x="253" y="230"/>
                    <a:pt x="8" y="309"/>
                    <a:pt x="0" y="301"/>
                  </a:cubicBezTo>
                  <a:cubicBezTo>
                    <a:pt x="0" y="625"/>
                    <a:pt x="0" y="625"/>
                    <a:pt x="0" y="625"/>
                  </a:cubicBezTo>
                  <a:cubicBezTo>
                    <a:pt x="0" y="625"/>
                    <a:pt x="0" y="641"/>
                    <a:pt x="16" y="633"/>
                  </a:cubicBezTo>
                  <a:cubicBezTo>
                    <a:pt x="32" y="625"/>
                    <a:pt x="475" y="522"/>
                    <a:pt x="506" y="506"/>
                  </a:cubicBezTo>
                  <a:cubicBezTo>
                    <a:pt x="538" y="490"/>
                    <a:pt x="577" y="506"/>
                    <a:pt x="585" y="506"/>
                  </a:cubicBezTo>
                  <a:cubicBezTo>
                    <a:pt x="593" y="514"/>
                    <a:pt x="672" y="467"/>
                    <a:pt x="704" y="475"/>
                  </a:cubicBezTo>
                  <a:cubicBezTo>
                    <a:pt x="720" y="482"/>
                    <a:pt x="743" y="522"/>
                    <a:pt x="759" y="546"/>
                  </a:cubicBezTo>
                  <a:cubicBezTo>
                    <a:pt x="759" y="546"/>
                    <a:pt x="767" y="546"/>
                    <a:pt x="775" y="554"/>
                  </a:cubicBezTo>
                  <a:cubicBezTo>
                    <a:pt x="807" y="593"/>
                    <a:pt x="830" y="562"/>
                    <a:pt x="838" y="609"/>
                  </a:cubicBezTo>
                  <a:cubicBezTo>
                    <a:pt x="846" y="657"/>
                    <a:pt x="814" y="664"/>
                    <a:pt x="846" y="672"/>
                  </a:cubicBezTo>
                  <a:cubicBezTo>
                    <a:pt x="886" y="688"/>
                    <a:pt x="886" y="680"/>
                    <a:pt x="925" y="641"/>
                  </a:cubicBezTo>
                  <a:cubicBezTo>
                    <a:pt x="965" y="593"/>
                    <a:pt x="933" y="554"/>
                    <a:pt x="981" y="546"/>
                  </a:cubicBezTo>
                  <a:cubicBezTo>
                    <a:pt x="1028" y="538"/>
                    <a:pt x="1028" y="562"/>
                    <a:pt x="1028" y="585"/>
                  </a:cubicBezTo>
                  <a:cubicBezTo>
                    <a:pt x="1028" y="609"/>
                    <a:pt x="1067" y="617"/>
                    <a:pt x="1083" y="593"/>
                  </a:cubicBezTo>
                  <a:cubicBezTo>
                    <a:pt x="1091" y="562"/>
                    <a:pt x="1123" y="530"/>
                    <a:pt x="1131" y="530"/>
                  </a:cubicBezTo>
                  <a:cubicBezTo>
                    <a:pt x="1131" y="530"/>
                    <a:pt x="1139" y="562"/>
                    <a:pt x="1154" y="530"/>
                  </a:cubicBezTo>
                  <a:cubicBezTo>
                    <a:pt x="1178" y="498"/>
                    <a:pt x="1162" y="490"/>
                    <a:pt x="1194" y="498"/>
                  </a:cubicBezTo>
                  <a:cubicBezTo>
                    <a:pt x="1226" y="514"/>
                    <a:pt x="1234" y="522"/>
                    <a:pt x="1234" y="498"/>
                  </a:cubicBezTo>
                  <a:cubicBezTo>
                    <a:pt x="1234" y="482"/>
                    <a:pt x="1257" y="451"/>
                    <a:pt x="1257" y="475"/>
                  </a:cubicBezTo>
                  <a:cubicBezTo>
                    <a:pt x="1265" y="506"/>
                    <a:pt x="1249" y="530"/>
                    <a:pt x="1265" y="554"/>
                  </a:cubicBezTo>
                  <a:cubicBezTo>
                    <a:pt x="1273" y="570"/>
                    <a:pt x="1265" y="562"/>
                    <a:pt x="1273" y="530"/>
                  </a:cubicBezTo>
                  <a:cubicBezTo>
                    <a:pt x="1281" y="506"/>
                    <a:pt x="1273" y="451"/>
                    <a:pt x="1241" y="404"/>
                  </a:cubicBezTo>
                </a:path>
              </a:pathLst>
            </a:custGeom>
            <a:grpFill/>
            <a:ln>
              <a:solidFill>
                <a:schemeClr val="bg1">
                  <a:lumMod val="95000"/>
                </a:schemeClr>
              </a:solidFill>
            </a:ln>
            <a:effectLst/>
          </p:spPr>
          <p:txBody>
            <a:bodyPr wrap="none" anchor="ctr"/>
            <a:lstStyle/>
            <a:p>
              <a:endParaRPr lang="en-US" sz="900"/>
            </a:p>
          </p:txBody>
        </p:sp>
        <p:sp>
          <p:nvSpPr>
            <p:cNvPr id="96" name="Freeform 762"/>
            <p:cNvSpPr>
              <a:spLocks noChangeArrowheads="1"/>
            </p:cNvSpPr>
            <p:nvPr/>
          </p:nvSpPr>
          <p:spPr bwMode="auto">
            <a:xfrm>
              <a:off x="16453397" y="4554116"/>
              <a:ext cx="679557" cy="361812"/>
            </a:xfrm>
            <a:custGeom>
              <a:avLst/>
              <a:gdLst>
                <a:gd name="T0" fmla="*/ 838 w 1290"/>
                <a:gd name="T1" fmla="*/ 664 h 689"/>
                <a:gd name="T2" fmla="*/ 783 w 1290"/>
                <a:gd name="T3" fmla="*/ 562 h 689"/>
                <a:gd name="T4" fmla="*/ 712 w 1290"/>
                <a:gd name="T5" fmla="*/ 482 h 689"/>
                <a:gd name="T6" fmla="*/ 514 w 1290"/>
                <a:gd name="T7" fmla="*/ 514 h 689"/>
                <a:gd name="T8" fmla="*/ 0 w 1290"/>
                <a:gd name="T9" fmla="*/ 625 h 689"/>
                <a:gd name="T10" fmla="*/ 261 w 1290"/>
                <a:gd name="T11" fmla="*/ 230 h 689"/>
                <a:gd name="T12" fmla="*/ 609 w 1290"/>
                <a:gd name="T13" fmla="*/ 158 h 689"/>
                <a:gd name="T14" fmla="*/ 783 w 1290"/>
                <a:gd name="T15" fmla="*/ 0 h 689"/>
                <a:gd name="T16" fmla="*/ 799 w 1290"/>
                <a:gd name="T17" fmla="*/ 8 h 689"/>
                <a:gd name="T18" fmla="*/ 878 w 1290"/>
                <a:gd name="T19" fmla="*/ 95 h 689"/>
                <a:gd name="T20" fmla="*/ 870 w 1290"/>
                <a:gd name="T21" fmla="*/ 158 h 689"/>
                <a:gd name="T22" fmla="*/ 854 w 1290"/>
                <a:gd name="T23" fmla="*/ 293 h 689"/>
                <a:gd name="T24" fmla="*/ 989 w 1290"/>
                <a:gd name="T25" fmla="*/ 388 h 689"/>
                <a:gd name="T26" fmla="*/ 1012 w 1290"/>
                <a:gd name="T27" fmla="*/ 411 h 689"/>
                <a:gd name="T28" fmla="*/ 1075 w 1290"/>
                <a:gd name="T29" fmla="*/ 482 h 689"/>
                <a:gd name="T30" fmla="*/ 1147 w 1290"/>
                <a:gd name="T31" fmla="*/ 482 h 689"/>
                <a:gd name="T32" fmla="*/ 1226 w 1290"/>
                <a:gd name="T33" fmla="*/ 404 h 689"/>
                <a:gd name="T34" fmla="*/ 1170 w 1290"/>
                <a:gd name="T35" fmla="*/ 348 h 689"/>
                <a:gd name="T36" fmla="*/ 1123 w 1290"/>
                <a:gd name="T37" fmla="*/ 301 h 689"/>
                <a:gd name="T38" fmla="*/ 1257 w 1290"/>
                <a:gd name="T39" fmla="*/ 395 h 689"/>
                <a:gd name="T40" fmla="*/ 1265 w 1290"/>
                <a:gd name="T41" fmla="*/ 554 h 689"/>
                <a:gd name="T42" fmla="*/ 1242 w 1290"/>
                <a:gd name="T43" fmla="*/ 498 h 689"/>
                <a:gd name="T44" fmla="*/ 1186 w 1290"/>
                <a:gd name="T45" fmla="*/ 498 h 689"/>
                <a:gd name="T46" fmla="*/ 1139 w 1290"/>
                <a:gd name="T47" fmla="*/ 538 h 689"/>
                <a:gd name="T48" fmla="*/ 1028 w 1290"/>
                <a:gd name="T49" fmla="*/ 585 h 689"/>
                <a:gd name="T50" fmla="*/ 965 w 1290"/>
                <a:gd name="T51" fmla="*/ 585 h 689"/>
                <a:gd name="T52" fmla="*/ 767 w 1290"/>
                <a:gd name="T53" fmla="*/ 538 h 689"/>
                <a:gd name="T54" fmla="*/ 846 w 1290"/>
                <a:gd name="T55" fmla="*/ 609 h 689"/>
                <a:gd name="T56" fmla="*/ 886 w 1290"/>
                <a:gd name="T57" fmla="*/ 680 h 689"/>
                <a:gd name="T58" fmla="*/ 989 w 1290"/>
                <a:gd name="T59" fmla="*/ 546 h 689"/>
                <a:gd name="T60" fmla="*/ 1068 w 1290"/>
                <a:gd name="T61" fmla="*/ 601 h 689"/>
                <a:gd name="T62" fmla="*/ 1147 w 1290"/>
                <a:gd name="T63" fmla="*/ 546 h 689"/>
                <a:gd name="T64" fmla="*/ 1202 w 1290"/>
                <a:gd name="T65" fmla="*/ 498 h 689"/>
                <a:gd name="T66" fmla="*/ 1265 w 1290"/>
                <a:gd name="T67" fmla="*/ 467 h 689"/>
                <a:gd name="T68" fmla="*/ 1273 w 1290"/>
                <a:gd name="T69" fmla="*/ 554 h 689"/>
                <a:gd name="T70" fmla="*/ 1226 w 1290"/>
                <a:gd name="T71" fmla="*/ 364 h 689"/>
                <a:gd name="T72" fmla="*/ 1115 w 1290"/>
                <a:gd name="T73" fmla="*/ 309 h 689"/>
                <a:gd name="T74" fmla="*/ 1178 w 1290"/>
                <a:gd name="T75" fmla="*/ 364 h 689"/>
                <a:gd name="T76" fmla="*/ 1234 w 1290"/>
                <a:gd name="T77" fmla="*/ 427 h 689"/>
                <a:gd name="T78" fmla="*/ 1139 w 1290"/>
                <a:gd name="T79" fmla="*/ 490 h 689"/>
                <a:gd name="T80" fmla="*/ 1075 w 1290"/>
                <a:gd name="T81" fmla="*/ 490 h 689"/>
                <a:gd name="T82" fmla="*/ 1012 w 1290"/>
                <a:gd name="T83" fmla="*/ 419 h 689"/>
                <a:gd name="T84" fmla="*/ 981 w 1290"/>
                <a:gd name="T85" fmla="*/ 380 h 689"/>
                <a:gd name="T86" fmla="*/ 854 w 1290"/>
                <a:gd name="T87" fmla="*/ 293 h 689"/>
                <a:gd name="T88" fmla="*/ 870 w 1290"/>
                <a:gd name="T89" fmla="*/ 151 h 689"/>
                <a:gd name="T90" fmla="*/ 886 w 1290"/>
                <a:gd name="T91" fmla="*/ 103 h 689"/>
                <a:gd name="T92" fmla="*/ 783 w 1290"/>
                <a:gd name="T93" fmla="*/ 8 h 689"/>
                <a:gd name="T94" fmla="*/ 617 w 1290"/>
                <a:gd name="T95" fmla="*/ 166 h 689"/>
                <a:gd name="T96" fmla="*/ 16 w 1290"/>
                <a:gd name="T97" fmla="*/ 309 h 689"/>
                <a:gd name="T98" fmla="*/ 135 w 1290"/>
                <a:gd name="T99" fmla="*/ 601 h 689"/>
                <a:gd name="T100" fmla="*/ 704 w 1290"/>
                <a:gd name="T101" fmla="*/ 47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90" h="689">
                  <a:moveTo>
                    <a:pt x="886" y="688"/>
                  </a:moveTo>
                  <a:lnTo>
                    <a:pt x="886" y="688"/>
                  </a:lnTo>
                  <a:cubicBezTo>
                    <a:pt x="878" y="688"/>
                    <a:pt x="870" y="680"/>
                    <a:pt x="854" y="680"/>
                  </a:cubicBezTo>
                  <a:cubicBezTo>
                    <a:pt x="846" y="672"/>
                    <a:pt x="838" y="672"/>
                    <a:pt x="838" y="664"/>
                  </a:cubicBezTo>
                  <a:cubicBezTo>
                    <a:pt x="831" y="664"/>
                    <a:pt x="838" y="657"/>
                    <a:pt x="838" y="648"/>
                  </a:cubicBezTo>
                  <a:cubicBezTo>
                    <a:pt x="838" y="641"/>
                    <a:pt x="846" y="633"/>
                    <a:pt x="846" y="609"/>
                  </a:cubicBezTo>
                  <a:cubicBezTo>
                    <a:pt x="838" y="585"/>
                    <a:pt x="831" y="585"/>
                    <a:pt x="822" y="585"/>
                  </a:cubicBezTo>
                  <a:cubicBezTo>
                    <a:pt x="807" y="577"/>
                    <a:pt x="799" y="577"/>
                    <a:pt x="783" y="562"/>
                  </a:cubicBezTo>
                  <a:cubicBezTo>
                    <a:pt x="767" y="546"/>
                    <a:pt x="767" y="546"/>
                    <a:pt x="767" y="546"/>
                  </a:cubicBezTo>
                  <a:cubicBezTo>
                    <a:pt x="759" y="546"/>
                    <a:pt x="759" y="546"/>
                    <a:pt x="759" y="546"/>
                  </a:cubicBezTo>
                  <a:lnTo>
                    <a:pt x="759" y="546"/>
                  </a:lnTo>
                  <a:cubicBezTo>
                    <a:pt x="744" y="506"/>
                    <a:pt x="720" y="482"/>
                    <a:pt x="712" y="482"/>
                  </a:cubicBezTo>
                  <a:cubicBezTo>
                    <a:pt x="704" y="482"/>
                    <a:pt x="704" y="482"/>
                    <a:pt x="704" y="482"/>
                  </a:cubicBezTo>
                  <a:cubicBezTo>
                    <a:pt x="680" y="482"/>
                    <a:pt x="649" y="490"/>
                    <a:pt x="625" y="498"/>
                  </a:cubicBezTo>
                  <a:cubicBezTo>
                    <a:pt x="609" y="514"/>
                    <a:pt x="593" y="514"/>
                    <a:pt x="593" y="514"/>
                  </a:cubicBezTo>
                  <a:cubicBezTo>
                    <a:pt x="562" y="498"/>
                    <a:pt x="530" y="498"/>
                    <a:pt x="514" y="514"/>
                  </a:cubicBezTo>
                  <a:cubicBezTo>
                    <a:pt x="491" y="522"/>
                    <a:pt x="277" y="577"/>
                    <a:pt x="135" y="609"/>
                  </a:cubicBezTo>
                  <a:cubicBezTo>
                    <a:pt x="79" y="625"/>
                    <a:pt x="24" y="633"/>
                    <a:pt x="24" y="641"/>
                  </a:cubicBezTo>
                  <a:lnTo>
                    <a:pt x="16" y="641"/>
                  </a:lnTo>
                  <a:cubicBezTo>
                    <a:pt x="8" y="641"/>
                    <a:pt x="0" y="633"/>
                    <a:pt x="0" y="625"/>
                  </a:cubicBezTo>
                  <a:cubicBezTo>
                    <a:pt x="8" y="293"/>
                    <a:pt x="8" y="293"/>
                    <a:pt x="8" y="293"/>
                  </a:cubicBezTo>
                  <a:cubicBezTo>
                    <a:pt x="16" y="301"/>
                    <a:pt x="16" y="301"/>
                    <a:pt x="16" y="301"/>
                  </a:cubicBezTo>
                  <a:cubicBezTo>
                    <a:pt x="32" y="293"/>
                    <a:pt x="182" y="253"/>
                    <a:pt x="261" y="230"/>
                  </a:cubicBezTo>
                  <a:lnTo>
                    <a:pt x="261" y="230"/>
                  </a:lnTo>
                  <a:lnTo>
                    <a:pt x="261" y="230"/>
                  </a:lnTo>
                  <a:cubicBezTo>
                    <a:pt x="269" y="230"/>
                    <a:pt x="340" y="214"/>
                    <a:pt x="411" y="198"/>
                  </a:cubicBezTo>
                  <a:cubicBezTo>
                    <a:pt x="483" y="182"/>
                    <a:pt x="578" y="166"/>
                    <a:pt x="601" y="158"/>
                  </a:cubicBezTo>
                  <a:cubicBezTo>
                    <a:pt x="609" y="158"/>
                    <a:pt x="609" y="158"/>
                    <a:pt x="609" y="158"/>
                  </a:cubicBezTo>
                  <a:cubicBezTo>
                    <a:pt x="657" y="151"/>
                    <a:pt x="657" y="151"/>
                    <a:pt x="672" y="127"/>
                  </a:cubicBezTo>
                  <a:cubicBezTo>
                    <a:pt x="688" y="95"/>
                    <a:pt x="775" y="0"/>
                    <a:pt x="775" y="0"/>
                  </a:cubicBezTo>
                  <a:cubicBezTo>
                    <a:pt x="783" y="0"/>
                    <a:pt x="783" y="0"/>
                    <a:pt x="783" y="0"/>
                  </a:cubicBezTo>
                  <a:lnTo>
                    <a:pt x="783" y="0"/>
                  </a:lnTo>
                  <a:lnTo>
                    <a:pt x="783" y="0"/>
                  </a:lnTo>
                  <a:cubicBezTo>
                    <a:pt x="791" y="8"/>
                    <a:pt x="791" y="8"/>
                    <a:pt x="791" y="8"/>
                  </a:cubicBezTo>
                  <a:lnTo>
                    <a:pt x="791" y="8"/>
                  </a:lnTo>
                  <a:cubicBezTo>
                    <a:pt x="799" y="8"/>
                    <a:pt x="799" y="8"/>
                    <a:pt x="799" y="8"/>
                  </a:cubicBezTo>
                  <a:lnTo>
                    <a:pt x="799" y="8"/>
                  </a:lnTo>
                  <a:cubicBezTo>
                    <a:pt x="815" y="24"/>
                    <a:pt x="822" y="48"/>
                    <a:pt x="838" y="79"/>
                  </a:cubicBezTo>
                  <a:cubicBezTo>
                    <a:pt x="838" y="95"/>
                    <a:pt x="846" y="103"/>
                    <a:pt x="854" y="103"/>
                  </a:cubicBezTo>
                  <a:cubicBezTo>
                    <a:pt x="862" y="103"/>
                    <a:pt x="870" y="95"/>
                    <a:pt x="878" y="95"/>
                  </a:cubicBezTo>
                  <a:cubicBezTo>
                    <a:pt x="886" y="87"/>
                    <a:pt x="886" y="87"/>
                    <a:pt x="894" y="87"/>
                  </a:cubicBezTo>
                  <a:cubicBezTo>
                    <a:pt x="902" y="87"/>
                    <a:pt x="909" y="87"/>
                    <a:pt x="917" y="95"/>
                  </a:cubicBezTo>
                  <a:cubicBezTo>
                    <a:pt x="925" y="103"/>
                    <a:pt x="925" y="111"/>
                    <a:pt x="925" y="119"/>
                  </a:cubicBezTo>
                  <a:cubicBezTo>
                    <a:pt x="925" y="135"/>
                    <a:pt x="902" y="151"/>
                    <a:pt x="870" y="158"/>
                  </a:cubicBezTo>
                  <a:cubicBezTo>
                    <a:pt x="854" y="166"/>
                    <a:pt x="854" y="182"/>
                    <a:pt x="854" y="206"/>
                  </a:cubicBezTo>
                  <a:cubicBezTo>
                    <a:pt x="846" y="222"/>
                    <a:pt x="846" y="237"/>
                    <a:pt x="838" y="253"/>
                  </a:cubicBezTo>
                  <a:cubicBezTo>
                    <a:pt x="838" y="269"/>
                    <a:pt x="831" y="277"/>
                    <a:pt x="831" y="285"/>
                  </a:cubicBezTo>
                  <a:cubicBezTo>
                    <a:pt x="831" y="285"/>
                    <a:pt x="838" y="285"/>
                    <a:pt x="854" y="293"/>
                  </a:cubicBezTo>
                  <a:cubicBezTo>
                    <a:pt x="862" y="293"/>
                    <a:pt x="862" y="293"/>
                    <a:pt x="862" y="293"/>
                  </a:cubicBezTo>
                  <a:cubicBezTo>
                    <a:pt x="902" y="301"/>
                    <a:pt x="965" y="340"/>
                    <a:pt x="989" y="356"/>
                  </a:cubicBezTo>
                  <a:cubicBezTo>
                    <a:pt x="997" y="364"/>
                    <a:pt x="997" y="372"/>
                    <a:pt x="997" y="372"/>
                  </a:cubicBezTo>
                  <a:cubicBezTo>
                    <a:pt x="997" y="380"/>
                    <a:pt x="997" y="388"/>
                    <a:pt x="989" y="388"/>
                  </a:cubicBezTo>
                  <a:cubicBezTo>
                    <a:pt x="989" y="395"/>
                    <a:pt x="981" y="395"/>
                    <a:pt x="973" y="404"/>
                  </a:cubicBezTo>
                  <a:cubicBezTo>
                    <a:pt x="973" y="411"/>
                    <a:pt x="973" y="411"/>
                    <a:pt x="973" y="411"/>
                  </a:cubicBezTo>
                  <a:cubicBezTo>
                    <a:pt x="973" y="411"/>
                    <a:pt x="981" y="411"/>
                    <a:pt x="989" y="411"/>
                  </a:cubicBezTo>
                  <a:cubicBezTo>
                    <a:pt x="997" y="411"/>
                    <a:pt x="1004" y="411"/>
                    <a:pt x="1012" y="411"/>
                  </a:cubicBezTo>
                  <a:cubicBezTo>
                    <a:pt x="1028" y="411"/>
                    <a:pt x="1036" y="419"/>
                    <a:pt x="1044" y="435"/>
                  </a:cubicBezTo>
                  <a:cubicBezTo>
                    <a:pt x="1044" y="443"/>
                    <a:pt x="1044" y="451"/>
                    <a:pt x="1052" y="467"/>
                  </a:cubicBezTo>
                  <a:cubicBezTo>
                    <a:pt x="1060" y="467"/>
                    <a:pt x="1068" y="482"/>
                    <a:pt x="1068" y="490"/>
                  </a:cubicBezTo>
                  <a:lnTo>
                    <a:pt x="1075" y="482"/>
                  </a:lnTo>
                  <a:lnTo>
                    <a:pt x="1075" y="475"/>
                  </a:lnTo>
                  <a:cubicBezTo>
                    <a:pt x="1084" y="475"/>
                    <a:pt x="1084" y="467"/>
                    <a:pt x="1091" y="467"/>
                  </a:cubicBezTo>
                  <a:cubicBezTo>
                    <a:pt x="1099" y="467"/>
                    <a:pt x="1115" y="475"/>
                    <a:pt x="1123" y="475"/>
                  </a:cubicBezTo>
                  <a:cubicBezTo>
                    <a:pt x="1131" y="475"/>
                    <a:pt x="1139" y="482"/>
                    <a:pt x="1147" y="482"/>
                  </a:cubicBezTo>
                  <a:cubicBezTo>
                    <a:pt x="1162" y="482"/>
                    <a:pt x="1170" y="475"/>
                    <a:pt x="1178" y="451"/>
                  </a:cubicBezTo>
                  <a:cubicBezTo>
                    <a:pt x="1178" y="443"/>
                    <a:pt x="1194" y="435"/>
                    <a:pt x="1202" y="435"/>
                  </a:cubicBezTo>
                  <a:cubicBezTo>
                    <a:pt x="1210" y="435"/>
                    <a:pt x="1218" y="435"/>
                    <a:pt x="1226" y="427"/>
                  </a:cubicBezTo>
                  <a:cubicBezTo>
                    <a:pt x="1234" y="419"/>
                    <a:pt x="1234" y="411"/>
                    <a:pt x="1226" y="404"/>
                  </a:cubicBezTo>
                  <a:cubicBezTo>
                    <a:pt x="1226" y="395"/>
                    <a:pt x="1210" y="388"/>
                    <a:pt x="1202" y="388"/>
                  </a:cubicBezTo>
                  <a:cubicBezTo>
                    <a:pt x="1194" y="388"/>
                    <a:pt x="1186" y="388"/>
                    <a:pt x="1178" y="380"/>
                  </a:cubicBezTo>
                  <a:cubicBezTo>
                    <a:pt x="1170" y="380"/>
                    <a:pt x="1170" y="372"/>
                    <a:pt x="1170" y="364"/>
                  </a:cubicBezTo>
                  <a:cubicBezTo>
                    <a:pt x="1170" y="356"/>
                    <a:pt x="1170" y="348"/>
                    <a:pt x="1170" y="348"/>
                  </a:cubicBezTo>
                  <a:cubicBezTo>
                    <a:pt x="1162" y="340"/>
                    <a:pt x="1155" y="340"/>
                    <a:pt x="1147" y="340"/>
                  </a:cubicBezTo>
                  <a:cubicBezTo>
                    <a:pt x="1139" y="340"/>
                    <a:pt x="1139" y="340"/>
                    <a:pt x="1139" y="340"/>
                  </a:cubicBezTo>
                  <a:cubicBezTo>
                    <a:pt x="1123" y="340"/>
                    <a:pt x="1107" y="340"/>
                    <a:pt x="1107" y="309"/>
                  </a:cubicBezTo>
                  <a:cubicBezTo>
                    <a:pt x="1107" y="301"/>
                    <a:pt x="1115" y="301"/>
                    <a:pt x="1123" y="301"/>
                  </a:cubicBezTo>
                  <a:cubicBezTo>
                    <a:pt x="1131" y="301"/>
                    <a:pt x="1147" y="309"/>
                    <a:pt x="1162" y="309"/>
                  </a:cubicBezTo>
                  <a:cubicBezTo>
                    <a:pt x="1178" y="317"/>
                    <a:pt x="1186" y="317"/>
                    <a:pt x="1194" y="324"/>
                  </a:cubicBezTo>
                  <a:cubicBezTo>
                    <a:pt x="1218" y="332"/>
                    <a:pt x="1226" y="340"/>
                    <a:pt x="1234" y="364"/>
                  </a:cubicBezTo>
                  <a:cubicBezTo>
                    <a:pt x="1242" y="372"/>
                    <a:pt x="1242" y="388"/>
                    <a:pt x="1257" y="395"/>
                  </a:cubicBezTo>
                  <a:cubicBezTo>
                    <a:pt x="1281" y="451"/>
                    <a:pt x="1289" y="506"/>
                    <a:pt x="1289" y="538"/>
                  </a:cubicBezTo>
                  <a:cubicBezTo>
                    <a:pt x="1281" y="538"/>
                    <a:pt x="1281" y="546"/>
                    <a:pt x="1281" y="554"/>
                  </a:cubicBezTo>
                  <a:cubicBezTo>
                    <a:pt x="1281" y="562"/>
                    <a:pt x="1281" y="570"/>
                    <a:pt x="1273" y="570"/>
                  </a:cubicBezTo>
                  <a:cubicBezTo>
                    <a:pt x="1273" y="570"/>
                    <a:pt x="1273" y="562"/>
                    <a:pt x="1265" y="554"/>
                  </a:cubicBezTo>
                  <a:cubicBezTo>
                    <a:pt x="1257" y="538"/>
                    <a:pt x="1265" y="522"/>
                    <a:pt x="1265" y="506"/>
                  </a:cubicBezTo>
                  <a:cubicBezTo>
                    <a:pt x="1265" y="498"/>
                    <a:pt x="1265" y="490"/>
                    <a:pt x="1265" y="482"/>
                  </a:cubicBezTo>
                  <a:cubicBezTo>
                    <a:pt x="1265" y="475"/>
                    <a:pt x="1265" y="475"/>
                    <a:pt x="1265" y="475"/>
                  </a:cubicBezTo>
                  <a:cubicBezTo>
                    <a:pt x="1257" y="475"/>
                    <a:pt x="1242" y="490"/>
                    <a:pt x="1242" y="498"/>
                  </a:cubicBezTo>
                  <a:cubicBezTo>
                    <a:pt x="1242" y="506"/>
                    <a:pt x="1242" y="514"/>
                    <a:pt x="1234" y="514"/>
                  </a:cubicBezTo>
                  <a:lnTo>
                    <a:pt x="1226" y="514"/>
                  </a:lnTo>
                  <a:cubicBezTo>
                    <a:pt x="1218" y="514"/>
                    <a:pt x="1210" y="506"/>
                    <a:pt x="1202" y="506"/>
                  </a:cubicBezTo>
                  <a:cubicBezTo>
                    <a:pt x="1194" y="506"/>
                    <a:pt x="1186" y="498"/>
                    <a:pt x="1186" y="498"/>
                  </a:cubicBezTo>
                  <a:cubicBezTo>
                    <a:pt x="1178" y="498"/>
                    <a:pt x="1178" y="498"/>
                    <a:pt x="1178" y="506"/>
                  </a:cubicBezTo>
                  <a:cubicBezTo>
                    <a:pt x="1178" y="514"/>
                    <a:pt x="1170" y="522"/>
                    <a:pt x="1162" y="530"/>
                  </a:cubicBezTo>
                  <a:cubicBezTo>
                    <a:pt x="1162" y="546"/>
                    <a:pt x="1155" y="546"/>
                    <a:pt x="1147" y="546"/>
                  </a:cubicBezTo>
                  <a:cubicBezTo>
                    <a:pt x="1147" y="546"/>
                    <a:pt x="1139" y="546"/>
                    <a:pt x="1139" y="538"/>
                  </a:cubicBezTo>
                  <a:lnTo>
                    <a:pt x="1139" y="538"/>
                  </a:lnTo>
                  <a:cubicBezTo>
                    <a:pt x="1131" y="538"/>
                    <a:pt x="1107" y="570"/>
                    <a:pt x="1091" y="593"/>
                  </a:cubicBezTo>
                  <a:cubicBezTo>
                    <a:pt x="1084" y="601"/>
                    <a:pt x="1075" y="609"/>
                    <a:pt x="1068" y="609"/>
                  </a:cubicBezTo>
                  <a:cubicBezTo>
                    <a:pt x="1052" y="609"/>
                    <a:pt x="1036" y="601"/>
                    <a:pt x="1028" y="585"/>
                  </a:cubicBezTo>
                  <a:cubicBezTo>
                    <a:pt x="1028" y="577"/>
                    <a:pt x="1028" y="577"/>
                    <a:pt x="1028" y="577"/>
                  </a:cubicBezTo>
                  <a:cubicBezTo>
                    <a:pt x="1028" y="562"/>
                    <a:pt x="1028" y="554"/>
                    <a:pt x="1012" y="554"/>
                  </a:cubicBezTo>
                  <a:cubicBezTo>
                    <a:pt x="1004" y="554"/>
                    <a:pt x="997" y="554"/>
                    <a:pt x="989" y="554"/>
                  </a:cubicBezTo>
                  <a:cubicBezTo>
                    <a:pt x="965" y="554"/>
                    <a:pt x="965" y="570"/>
                    <a:pt x="965" y="585"/>
                  </a:cubicBezTo>
                  <a:cubicBezTo>
                    <a:pt x="957" y="601"/>
                    <a:pt x="957" y="617"/>
                    <a:pt x="941" y="641"/>
                  </a:cubicBezTo>
                  <a:cubicBezTo>
                    <a:pt x="933" y="648"/>
                    <a:pt x="933" y="648"/>
                    <a:pt x="933" y="648"/>
                  </a:cubicBezTo>
                  <a:cubicBezTo>
                    <a:pt x="909" y="672"/>
                    <a:pt x="902" y="688"/>
                    <a:pt x="886" y="688"/>
                  </a:cubicBezTo>
                  <a:close/>
                  <a:moveTo>
                    <a:pt x="767" y="538"/>
                  </a:moveTo>
                  <a:lnTo>
                    <a:pt x="767" y="538"/>
                  </a:lnTo>
                  <a:cubicBezTo>
                    <a:pt x="775" y="546"/>
                    <a:pt x="775" y="546"/>
                    <a:pt x="783" y="554"/>
                  </a:cubicBezTo>
                  <a:cubicBezTo>
                    <a:pt x="799" y="570"/>
                    <a:pt x="815" y="570"/>
                    <a:pt x="822" y="577"/>
                  </a:cubicBezTo>
                  <a:cubicBezTo>
                    <a:pt x="838" y="577"/>
                    <a:pt x="846" y="585"/>
                    <a:pt x="846" y="609"/>
                  </a:cubicBezTo>
                  <a:cubicBezTo>
                    <a:pt x="854" y="633"/>
                    <a:pt x="846" y="648"/>
                    <a:pt x="846" y="657"/>
                  </a:cubicBezTo>
                  <a:cubicBezTo>
                    <a:pt x="838" y="657"/>
                    <a:pt x="838" y="664"/>
                    <a:pt x="838" y="664"/>
                  </a:cubicBezTo>
                  <a:cubicBezTo>
                    <a:pt x="846" y="664"/>
                    <a:pt x="854" y="672"/>
                    <a:pt x="854" y="672"/>
                  </a:cubicBezTo>
                  <a:cubicBezTo>
                    <a:pt x="870" y="672"/>
                    <a:pt x="878" y="680"/>
                    <a:pt x="886" y="680"/>
                  </a:cubicBezTo>
                  <a:cubicBezTo>
                    <a:pt x="894" y="680"/>
                    <a:pt x="902" y="672"/>
                    <a:pt x="925" y="641"/>
                  </a:cubicBezTo>
                  <a:cubicBezTo>
                    <a:pt x="933" y="641"/>
                    <a:pt x="933" y="641"/>
                    <a:pt x="933" y="641"/>
                  </a:cubicBezTo>
                  <a:cubicBezTo>
                    <a:pt x="949" y="617"/>
                    <a:pt x="949" y="601"/>
                    <a:pt x="957" y="585"/>
                  </a:cubicBezTo>
                  <a:cubicBezTo>
                    <a:pt x="957" y="570"/>
                    <a:pt x="957" y="554"/>
                    <a:pt x="989" y="546"/>
                  </a:cubicBezTo>
                  <a:cubicBezTo>
                    <a:pt x="997" y="546"/>
                    <a:pt x="1004" y="546"/>
                    <a:pt x="1012" y="546"/>
                  </a:cubicBezTo>
                  <a:cubicBezTo>
                    <a:pt x="1036" y="546"/>
                    <a:pt x="1036" y="562"/>
                    <a:pt x="1036" y="577"/>
                  </a:cubicBezTo>
                  <a:cubicBezTo>
                    <a:pt x="1036" y="577"/>
                    <a:pt x="1036" y="577"/>
                    <a:pt x="1036" y="585"/>
                  </a:cubicBezTo>
                  <a:cubicBezTo>
                    <a:pt x="1044" y="593"/>
                    <a:pt x="1052" y="601"/>
                    <a:pt x="1068" y="601"/>
                  </a:cubicBezTo>
                  <a:cubicBezTo>
                    <a:pt x="1068" y="601"/>
                    <a:pt x="1084" y="601"/>
                    <a:pt x="1084" y="593"/>
                  </a:cubicBezTo>
                  <a:cubicBezTo>
                    <a:pt x="1099" y="562"/>
                    <a:pt x="1123" y="530"/>
                    <a:pt x="1139" y="530"/>
                  </a:cubicBezTo>
                  <a:cubicBezTo>
                    <a:pt x="1139" y="530"/>
                    <a:pt x="1139" y="530"/>
                    <a:pt x="1147" y="538"/>
                  </a:cubicBezTo>
                  <a:lnTo>
                    <a:pt x="1147" y="546"/>
                  </a:lnTo>
                  <a:cubicBezTo>
                    <a:pt x="1147" y="546"/>
                    <a:pt x="1155" y="538"/>
                    <a:pt x="1162" y="530"/>
                  </a:cubicBezTo>
                  <a:cubicBezTo>
                    <a:pt x="1162" y="522"/>
                    <a:pt x="1170" y="514"/>
                    <a:pt x="1170" y="506"/>
                  </a:cubicBezTo>
                  <a:cubicBezTo>
                    <a:pt x="1170" y="498"/>
                    <a:pt x="1178" y="498"/>
                    <a:pt x="1186" y="498"/>
                  </a:cubicBezTo>
                  <a:cubicBezTo>
                    <a:pt x="1186" y="498"/>
                    <a:pt x="1194" y="498"/>
                    <a:pt x="1202" y="498"/>
                  </a:cubicBezTo>
                  <a:cubicBezTo>
                    <a:pt x="1218" y="498"/>
                    <a:pt x="1226" y="506"/>
                    <a:pt x="1226" y="506"/>
                  </a:cubicBezTo>
                  <a:cubicBezTo>
                    <a:pt x="1234" y="506"/>
                    <a:pt x="1234" y="506"/>
                    <a:pt x="1234" y="506"/>
                  </a:cubicBezTo>
                  <a:cubicBezTo>
                    <a:pt x="1234" y="506"/>
                    <a:pt x="1234" y="506"/>
                    <a:pt x="1234" y="498"/>
                  </a:cubicBezTo>
                  <a:cubicBezTo>
                    <a:pt x="1242" y="490"/>
                    <a:pt x="1249" y="467"/>
                    <a:pt x="1265" y="467"/>
                  </a:cubicBezTo>
                  <a:cubicBezTo>
                    <a:pt x="1265" y="467"/>
                    <a:pt x="1273" y="467"/>
                    <a:pt x="1273" y="475"/>
                  </a:cubicBezTo>
                  <a:cubicBezTo>
                    <a:pt x="1273" y="490"/>
                    <a:pt x="1273" y="498"/>
                    <a:pt x="1273" y="506"/>
                  </a:cubicBezTo>
                  <a:cubicBezTo>
                    <a:pt x="1273" y="522"/>
                    <a:pt x="1265" y="538"/>
                    <a:pt x="1273" y="554"/>
                  </a:cubicBezTo>
                  <a:lnTo>
                    <a:pt x="1273" y="554"/>
                  </a:lnTo>
                  <a:lnTo>
                    <a:pt x="1273" y="554"/>
                  </a:lnTo>
                  <a:cubicBezTo>
                    <a:pt x="1273" y="546"/>
                    <a:pt x="1281" y="538"/>
                    <a:pt x="1281" y="530"/>
                  </a:cubicBezTo>
                  <a:cubicBezTo>
                    <a:pt x="1289" y="506"/>
                    <a:pt x="1273" y="451"/>
                    <a:pt x="1249" y="404"/>
                  </a:cubicBezTo>
                  <a:cubicBezTo>
                    <a:pt x="1242" y="388"/>
                    <a:pt x="1234" y="372"/>
                    <a:pt x="1226" y="364"/>
                  </a:cubicBezTo>
                  <a:cubicBezTo>
                    <a:pt x="1218" y="340"/>
                    <a:pt x="1210" y="332"/>
                    <a:pt x="1194" y="332"/>
                  </a:cubicBezTo>
                  <a:cubicBezTo>
                    <a:pt x="1186" y="324"/>
                    <a:pt x="1170" y="324"/>
                    <a:pt x="1162" y="317"/>
                  </a:cubicBezTo>
                  <a:cubicBezTo>
                    <a:pt x="1147" y="309"/>
                    <a:pt x="1131" y="309"/>
                    <a:pt x="1123" y="309"/>
                  </a:cubicBezTo>
                  <a:lnTo>
                    <a:pt x="1115" y="309"/>
                  </a:lnTo>
                  <a:cubicBezTo>
                    <a:pt x="1115" y="332"/>
                    <a:pt x="1123" y="332"/>
                    <a:pt x="1139" y="332"/>
                  </a:cubicBezTo>
                  <a:cubicBezTo>
                    <a:pt x="1147" y="332"/>
                    <a:pt x="1147" y="332"/>
                    <a:pt x="1147" y="332"/>
                  </a:cubicBezTo>
                  <a:cubicBezTo>
                    <a:pt x="1155" y="332"/>
                    <a:pt x="1162" y="332"/>
                    <a:pt x="1170" y="340"/>
                  </a:cubicBezTo>
                  <a:cubicBezTo>
                    <a:pt x="1178" y="348"/>
                    <a:pt x="1178" y="356"/>
                    <a:pt x="1178" y="364"/>
                  </a:cubicBezTo>
                  <a:cubicBezTo>
                    <a:pt x="1178" y="372"/>
                    <a:pt x="1178" y="372"/>
                    <a:pt x="1186" y="380"/>
                  </a:cubicBezTo>
                  <a:cubicBezTo>
                    <a:pt x="1186" y="380"/>
                    <a:pt x="1194" y="388"/>
                    <a:pt x="1202" y="388"/>
                  </a:cubicBezTo>
                  <a:cubicBezTo>
                    <a:pt x="1210" y="388"/>
                    <a:pt x="1226" y="388"/>
                    <a:pt x="1234" y="404"/>
                  </a:cubicBezTo>
                  <a:cubicBezTo>
                    <a:pt x="1242" y="411"/>
                    <a:pt x="1242" y="419"/>
                    <a:pt x="1234" y="427"/>
                  </a:cubicBezTo>
                  <a:cubicBezTo>
                    <a:pt x="1226" y="443"/>
                    <a:pt x="1210" y="443"/>
                    <a:pt x="1202" y="443"/>
                  </a:cubicBezTo>
                  <a:cubicBezTo>
                    <a:pt x="1194" y="443"/>
                    <a:pt x="1186" y="451"/>
                    <a:pt x="1186" y="451"/>
                  </a:cubicBezTo>
                  <a:cubicBezTo>
                    <a:pt x="1178" y="467"/>
                    <a:pt x="1170" y="490"/>
                    <a:pt x="1147" y="490"/>
                  </a:cubicBezTo>
                  <a:cubicBezTo>
                    <a:pt x="1147" y="490"/>
                    <a:pt x="1147" y="490"/>
                    <a:pt x="1139" y="490"/>
                  </a:cubicBezTo>
                  <a:cubicBezTo>
                    <a:pt x="1139" y="490"/>
                    <a:pt x="1131" y="482"/>
                    <a:pt x="1123" y="482"/>
                  </a:cubicBezTo>
                  <a:cubicBezTo>
                    <a:pt x="1115" y="482"/>
                    <a:pt x="1099" y="475"/>
                    <a:pt x="1091" y="475"/>
                  </a:cubicBezTo>
                  <a:cubicBezTo>
                    <a:pt x="1091" y="475"/>
                    <a:pt x="1084" y="475"/>
                    <a:pt x="1084" y="482"/>
                  </a:cubicBezTo>
                  <a:cubicBezTo>
                    <a:pt x="1084" y="482"/>
                    <a:pt x="1084" y="482"/>
                    <a:pt x="1075" y="490"/>
                  </a:cubicBezTo>
                  <a:cubicBezTo>
                    <a:pt x="1075" y="490"/>
                    <a:pt x="1075" y="490"/>
                    <a:pt x="1068" y="490"/>
                  </a:cubicBezTo>
                  <a:cubicBezTo>
                    <a:pt x="1068" y="490"/>
                    <a:pt x="1060" y="490"/>
                    <a:pt x="1044" y="467"/>
                  </a:cubicBezTo>
                  <a:cubicBezTo>
                    <a:pt x="1044" y="459"/>
                    <a:pt x="1036" y="443"/>
                    <a:pt x="1036" y="435"/>
                  </a:cubicBezTo>
                  <a:cubicBezTo>
                    <a:pt x="1028" y="427"/>
                    <a:pt x="1028" y="419"/>
                    <a:pt x="1012" y="419"/>
                  </a:cubicBezTo>
                  <a:cubicBezTo>
                    <a:pt x="1004" y="419"/>
                    <a:pt x="997" y="419"/>
                    <a:pt x="989" y="419"/>
                  </a:cubicBezTo>
                  <a:cubicBezTo>
                    <a:pt x="973" y="419"/>
                    <a:pt x="965" y="419"/>
                    <a:pt x="965" y="411"/>
                  </a:cubicBezTo>
                  <a:cubicBezTo>
                    <a:pt x="957" y="411"/>
                    <a:pt x="965" y="404"/>
                    <a:pt x="973" y="395"/>
                  </a:cubicBezTo>
                  <a:cubicBezTo>
                    <a:pt x="973" y="395"/>
                    <a:pt x="981" y="388"/>
                    <a:pt x="981" y="380"/>
                  </a:cubicBezTo>
                  <a:cubicBezTo>
                    <a:pt x="989" y="380"/>
                    <a:pt x="997" y="380"/>
                    <a:pt x="997" y="372"/>
                  </a:cubicBezTo>
                  <a:cubicBezTo>
                    <a:pt x="997" y="372"/>
                    <a:pt x="989" y="364"/>
                    <a:pt x="981" y="364"/>
                  </a:cubicBezTo>
                  <a:cubicBezTo>
                    <a:pt x="965" y="340"/>
                    <a:pt x="894" y="309"/>
                    <a:pt x="862" y="301"/>
                  </a:cubicBezTo>
                  <a:cubicBezTo>
                    <a:pt x="854" y="293"/>
                    <a:pt x="854" y="293"/>
                    <a:pt x="854" y="293"/>
                  </a:cubicBezTo>
                  <a:cubicBezTo>
                    <a:pt x="838" y="293"/>
                    <a:pt x="831" y="293"/>
                    <a:pt x="822" y="285"/>
                  </a:cubicBezTo>
                  <a:cubicBezTo>
                    <a:pt x="822" y="277"/>
                    <a:pt x="822" y="269"/>
                    <a:pt x="838" y="253"/>
                  </a:cubicBezTo>
                  <a:cubicBezTo>
                    <a:pt x="838" y="237"/>
                    <a:pt x="838" y="222"/>
                    <a:pt x="846" y="206"/>
                  </a:cubicBezTo>
                  <a:cubicBezTo>
                    <a:pt x="846" y="182"/>
                    <a:pt x="846" y="158"/>
                    <a:pt x="870" y="151"/>
                  </a:cubicBezTo>
                  <a:cubicBezTo>
                    <a:pt x="902" y="143"/>
                    <a:pt x="917" y="135"/>
                    <a:pt x="917" y="119"/>
                  </a:cubicBezTo>
                  <a:cubicBezTo>
                    <a:pt x="917" y="111"/>
                    <a:pt x="917" y="103"/>
                    <a:pt x="909" y="95"/>
                  </a:cubicBezTo>
                  <a:cubicBezTo>
                    <a:pt x="909" y="95"/>
                    <a:pt x="902" y="95"/>
                    <a:pt x="894" y="95"/>
                  </a:cubicBezTo>
                  <a:cubicBezTo>
                    <a:pt x="894" y="95"/>
                    <a:pt x="886" y="95"/>
                    <a:pt x="886" y="103"/>
                  </a:cubicBezTo>
                  <a:cubicBezTo>
                    <a:pt x="870" y="103"/>
                    <a:pt x="862" y="111"/>
                    <a:pt x="854" y="111"/>
                  </a:cubicBezTo>
                  <a:cubicBezTo>
                    <a:pt x="838" y="111"/>
                    <a:pt x="831" y="103"/>
                    <a:pt x="831" y="87"/>
                  </a:cubicBezTo>
                  <a:cubicBezTo>
                    <a:pt x="815" y="55"/>
                    <a:pt x="807" y="32"/>
                    <a:pt x="791" y="16"/>
                  </a:cubicBezTo>
                  <a:cubicBezTo>
                    <a:pt x="791" y="16"/>
                    <a:pt x="783" y="16"/>
                    <a:pt x="783" y="8"/>
                  </a:cubicBezTo>
                  <a:lnTo>
                    <a:pt x="783" y="8"/>
                  </a:lnTo>
                  <a:lnTo>
                    <a:pt x="775" y="8"/>
                  </a:lnTo>
                  <a:cubicBezTo>
                    <a:pt x="759" y="32"/>
                    <a:pt x="688" y="111"/>
                    <a:pt x="680" y="127"/>
                  </a:cubicBezTo>
                  <a:cubicBezTo>
                    <a:pt x="664" y="158"/>
                    <a:pt x="657" y="158"/>
                    <a:pt x="617" y="166"/>
                  </a:cubicBezTo>
                  <a:cubicBezTo>
                    <a:pt x="601" y="166"/>
                    <a:pt x="601" y="166"/>
                    <a:pt x="601" y="166"/>
                  </a:cubicBezTo>
                  <a:cubicBezTo>
                    <a:pt x="578" y="166"/>
                    <a:pt x="491" y="190"/>
                    <a:pt x="411" y="206"/>
                  </a:cubicBezTo>
                  <a:cubicBezTo>
                    <a:pt x="325" y="222"/>
                    <a:pt x="269" y="237"/>
                    <a:pt x="261" y="237"/>
                  </a:cubicBezTo>
                  <a:cubicBezTo>
                    <a:pt x="245" y="245"/>
                    <a:pt x="48" y="301"/>
                    <a:pt x="16" y="309"/>
                  </a:cubicBezTo>
                  <a:cubicBezTo>
                    <a:pt x="8" y="625"/>
                    <a:pt x="8" y="625"/>
                    <a:pt x="8" y="625"/>
                  </a:cubicBezTo>
                  <a:cubicBezTo>
                    <a:pt x="8" y="625"/>
                    <a:pt x="8" y="633"/>
                    <a:pt x="16" y="633"/>
                  </a:cubicBezTo>
                  <a:cubicBezTo>
                    <a:pt x="16" y="633"/>
                    <a:pt x="16" y="633"/>
                    <a:pt x="24" y="633"/>
                  </a:cubicBezTo>
                  <a:cubicBezTo>
                    <a:pt x="24" y="625"/>
                    <a:pt x="64" y="617"/>
                    <a:pt x="135" y="601"/>
                  </a:cubicBezTo>
                  <a:cubicBezTo>
                    <a:pt x="269" y="570"/>
                    <a:pt x="491" y="514"/>
                    <a:pt x="514" y="506"/>
                  </a:cubicBezTo>
                  <a:cubicBezTo>
                    <a:pt x="530" y="490"/>
                    <a:pt x="562" y="490"/>
                    <a:pt x="593" y="506"/>
                  </a:cubicBezTo>
                  <a:cubicBezTo>
                    <a:pt x="601" y="506"/>
                    <a:pt x="609" y="498"/>
                    <a:pt x="625" y="498"/>
                  </a:cubicBezTo>
                  <a:cubicBezTo>
                    <a:pt x="649" y="482"/>
                    <a:pt x="680" y="475"/>
                    <a:pt x="704" y="475"/>
                  </a:cubicBezTo>
                  <a:lnTo>
                    <a:pt x="712" y="475"/>
                  </a:lnTo>
                  <a:cubicBezTo>
                    <a:pt x="728" y="482"/>
                    <a:pt x="751" y="514"/>
                    <a:pt x="767" y="538"/>
                  </a:cubicBezTo>
                  <a:close/>
                </a:path>
              </a:pathLst>
            </a:custGeom>
            <a:grpFill/>
            <a:ln>
              <a:solidFill>
                <a:schemeClr val="bg1">
                  <a:lumMod val="95000"/>
                </a:schemeClr>
              </a:solidFill>
            </a:ln>
            <a:effectLst/>
          </p:spPr>
          <p:txBody>
            <a:bodyPr wrap="none" anchor="ctr"/>
            <a:lstStyle/>
            <a:p>
              <a:endParaRPr lang="en-US" sz="900"/>
            </a:p>
          </p:txBody>
        </p:sp>
        <p:sp>
          <p:nvSpPr>
            <p:cNvPr id="97" name="Freeform 765"/>
            <p:cNvSpPr>
              <a:spLocks noChangeArrowheads="1"/>
            </p:cNvSpPr>
            <p:nvPr/>
          </p:nvSpPr>
          <p:spPr bwMode="auto">
            <a:xfrm>
              <a:off x="16462674" y="4813878"/>
              <a:ext cx="340939" cy="345577"/>
            </a:xfrm>
            <a:custGeom>
              <a:avLst/>
              <a:gdLst>
                <a:gd name="T0" fmla="*/ 8 w 649"/>
                <a:gd name="T1" fmla="*/ 222 h 658"/>
                <a:gd name="T2" fmla="*/ 8 w 649"/>
                <a:gd name="T3" fmla="*/ 222 h 658"/>
                <a:gd name="T4" fmla="*/ 32 w 649"/>
                <a:gd name="T5" fmla="*/ 325 h 658"/>
                <a:gd name="T6" fmla="*/ 63 w 649"/>
                <a:gd name="T7" fmla="*/ 459 h 658"/>
                <a:gd name="T8" fmla="*/ 79 w 649"/>
                <a:gd name="T9" fmla="*/ 506 h 658"/>
                <a:gd name="T10" fmla="*/ 71 w 649"/>
                <a:gd name="T11" fmla="*/ 554 h 658"/>
                <a:gd name="T12" fmla="*/ 32 w 649"/>
                <a:gd name="T13" fmla="*/ 617 h 658"/>
                <a:gd name="T14" fmla="*/ 63 w 649"/>
                <a:gd name="T15" fmla="*/ 657 h 658"/>
                <a:gd name="T16" fmla="*/ 127 w 649"/>
                <a:gd name="T17" fmla="*/ 601 h 658"/>
                <a:gd name="T18" fmla="*/ 269 w 649"/>
                <a:gd name="T19" fmla="*/ 475 h 658"/>
                <a:gd name="T20" fmla="*/ 514 w 649"/>
                <a:gd name="T21" fmla="*/ 388 h 658"/>
                <a:gd name="T22" fmla="*/ 648 w 649"/>
                <a:gd name="T23" fmla="*/ 325 h 658"/>
                <a:gd name="T24" fmla="*/ 593 w 649"/>
                <a:gd name="T25" fmla="*/ 80 h 658"/>
                <a:gd name="T26" fmla="*/ 585 w 649"/>
                <a:gd name="T27" fmla="*/ 16 h 658"/>
                <a:gd name="T28" fmla="*/ 577 w 649"/>
                <a:gd name="T29" fmla="*/ 16 h 658"/>
                <a:gd name="T30" fmla="*/ 498 w 649"/>
                <a:gd name="T31" fmla="*/ 16 h 658"/>
                <a:gd name="T32" fmla="*/ 8 w 649"/>
                <a:gd name="T33" fmla="*/ 143 h 658"/>
                <a:gd name="T34" fmla="*/ 0 w 649"/>
                <a:gd name="T35" fmla="*/ 143 h 658"/>
                <a:gd name="T36" fmla="*/ 0 w 649"/>
                <a:gd name="T37" fmla="*/ 143 h 658"/>
                <a:gd name="T38" fmla="*/ 8 w 649"/>
                <a:gd name="T39" fmla="*/ 22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658">
                  <a:moveTo>
                    <a:pt x="8" y="222"/>
                  </a:moveTo>
                  <a:lnTo>
                    <a:pt x="8" y="222"/>
                  </a:lnTo>
                  <a:cubicBezTo>
                    <a:pt x="8" y="230"/>
                    <a:pt x="16" y="293"/>
                    <a:pt x="32" y="325"/>
                  </a:cubicBezTo>
                  <a:cubicBezTo>
                    <a:pt x="48" y="364"/>
                    <a:pt x="63" y="435"/>
                    <a:pt x="63" y="459"/>
                  </a:cubicBezTo>
                  <a:cubicBezTo>
                    <a:pt x="63" y="483"/>
                    <a:pt x="71" y="491"/>
                    <a:pt x="79" y="506"/>
                  </a:cubicBezTo>
                  <a:cubicBezTo>
                    <a:pt x="87" y="522"/>
                    <a:pt x="87" y="546"/>
                    <a:pt x="71" y="554"/>
                  </a:cubicBezTo>
                  <a:cubicBezTo>
                    <a:pt x="56" y="570"/>
                    <a:pt x="32" y="601"/>
                    <a:pt x="32" y="617"/>
                  </a:cubicBezTo>
                  <a:cubicBezTo>
                    <a:pt x="40" y="625"/>
                    <a:pt x="56" y="641"/>
                    <a:pt x="63" y="657"/>
                  </a:cubicBezTo>
                  <a:cubicBezTo>
                    <a:pt x="87" y="641"/>
                    <a:pt x="111" y="625"/>
                    <a:pt x="127" y="601"/>
                  </a:cubicBezTo>
                  <a:cubicBezTo>
                    <a:pt x="158" y="562"/>
                    <a:pt x="222" y="514"/>
                    <a:pt x="269" y="475"/>
                  </a:cubicBezTo>
                  <a:cubicBezTo>
                    <a:pt x="324" y="435"/>
                    <a:pt x="475" y="396"/>
                    <a:pt x="514" y="388"/>
                  </a:cubicBezTo>
                  <a:cubicBezTo>
                    <a:pt x="530" y="380"/>
                    <a:pt x="593" y="348"/>
                    <a:pt x="648" y="325"/>
                  </a:cubicBezTo>
                  <a:cubicBezTo>
                    <a:pt x="633" y="230"/>
                    <a:pt x="593" y="95"/>
                    <a:pt x="593" y="80"/>
                  </a:cubicBezTo>
                  <a:cubicBezTo>
                    <a:pt x="585" y="72"/>
                    <a:pt x="585" y="40"/>
                    <a:pt x="585" y="16"/>
                  </a:cubicBezTo>
                  <a:cubicBezTo>
                    <a:pt x="577" y="16"/>
                    <a:pt x="577" y="16"/>
                    <a:pt x="577" y="16"/>
                  </a:cubicBezTo>
                  <a:cubicBezTo>
                    <a:pt x="569" y="16"/>
                    <a:pt x="530" y="0"/>
                    <a:pt x="498" y="16"/>
                  </a:cubicBezTo>
                  <a:cubicBezTo>
                    <a:pt x="467" y="32"/>
                    <a:pt x="24" y="135"/>
                    <a:pt x="8" y="143"/>
                  </a:cubicBezTo>
                  <a:cubicBezTo>
                    <a:pt x="0" y="143"/>
                    <a:pt x="0" y="143"/>
                    <a:pt x="0" y="143"/>
                  </a:cubicBezTo>
                  <a:lnTo>
                    <a:pt x="0" y="143"/>
                  </a:lnTo>
                  <a:cubicBezTo>
                    <a:pt x="0" y="151"/>
                    <a:pt x="0" y="214"/>
                    <a:pt x="8" y="222"/>
                  </a:cubicBezTo>
                </a:path>
              </a:pathLst>
            </a:custGeom>
            <a:grpFill/>
            <a:ln>
              <a:solidFill>
                <a:schemeClr val="bg1">
                  <a:lumMod val="95000"/>
                </a:schemeClr>
              </a:solidFill>
            </a:ln>
            <a:effectLst/>
          </p:spPr>
          <p:txBody>
            <a:bodyPr wrap="none" anchor="ctr"/>
            <a:lstStyle/>
            <a:p>
              <a:endParaRPr lang="en-US" sz="900"/>
            </a:p>
          </p:txBody>
        </p:sp>
        <p:sp>
          <p:nvSpPr>
            <p:cNvPr id="98" name="Freeform 766"/>
            <p:cNvSpPr>
              <a:spLocks noChangeArrowheads="1"/>
            </p:cNvSpPr>
            <p:nvPr/>
          </p:nvSpPr>
          <p:spPr bwMode="auto">
            <a:xfrm>
              <a:off x="16458035" y="4813878"/>
              <a:ext cx="345577" cy="350216"/>
            </a:xfrm>
            <a:custGeom>
              <a:avLst/>
              <a:gdLst>
                <a:gd name="T0" fmla="*/ 71 w 657"/>
                <a:gd name="T1" fmla="*/ 664 h 665"/>
                <a:gd name="T2" fmla="*/ 71 w 657"/>
                <a:gd name="T3" fmla="*/ 664 h 665"/>
                <a:gd name="T4" fmla="*/ 71 w 657"/>
                <a:gd name="T5" fmla="*/ 657 h 665"/>
                <a:gd name="T6" fmla="*/ 40 w 657"/>
                <a:gd name="T7" fmla="*/ 617 h 665"/>
                <a:gd name="T8" fmla="*/ 79 w 657"/>
                <a:gd name="T9" fmla="*/ 554 h 665"/>
                <a:gd name="T10" fmla="*/ 79 w 657"/>
                <a:gd name="T11" fmla="*/ 506 h 665"/>
                <a:gd name="T12" fmla="*/ 71 w 657"/>
                <a:gd name="T13" fmla="*/ 491 h 665"/>
                <a:gd name="T14" fmla="*/ 64 w 657"/>
                <a:gd name="T15" fmla="*/ 459 h 665"/>
                <a:gd name="T16" fmla="*/ 40 w 657"/>
                <a:gd name="T17" fmla="*/ 332 h 665"/>
                <a:gd name="T18" fmla="*/ 16 w 657"/>
                <a:gd name="T19" fmla="*/ 245 h 665"/>
                <a:gd name="T20" fmla="*/ 8 w 657"/>
                <a:gd name="T21" fmla="*/ 222 h 665"/>
                <a:gd name="T22" fmla="*/ 8 w 657"/>
                <a:gd name="T23" fmla="*/ 174 h 665"/>
                <a:gd name="T24" fmla="*/ 0 w 657"/>
                <a:gd name="T25" fmla="*/ 151 h 665"/>
                <a:gd name="T26" fmla="*/ 0 w 657"/>
                <a:gd name="T27" fmla="*/ 143 h 665"/>
                <a:gd name="T28" fmla="*/ 0 w 657"/>
                <a:gd name="T29" fmla="*/ 143 h 665"/>
                <a:gd name="T30" fmla="*/ 8 w 657"/>
                <a:gd name="T31" fmla="*/ 143 h 665"/>
                <a:gd name="T32" fmla="*/ 16 w 657"/>
                <a:gd name="T33" fmla="*/ 143 h 665"/>
                <a:gd name="T34" fmla="*/ 127 w 657"/>
                <a:gd name="T35" fmla="*/ 111 h 665"/>
                <a:gd name="T36" fmla="*/ 506 w 657"/>
                <a:gd name="T37" fmla="*/ 16 h 665"/>
                <a:gd name="T38" fmla="*/ 585 w 657"/>
                <a:gd name="T39" fmla="*/ 16 h 665"/>
                <a:gd name="T40" fmla="*/ 585 w 657"/>
                <a:gd name="T41" fmla="*/ 16 h 665"/>
                <a:gd name="T42" fmla="*/ 593 w 657"/>
                <a:gd name="T43" fmla="*/ 16 h 665"/>
                <a:gd name="T44" fmla="*/ 593 w 657"/>
                <a:gd name="T45" fmla="*/ 16 h 665"/>
                <a:gd name="T46" fmla="*/ 601 w 657"/>
                <a:gd name="T47" fmla="*/ 80 h 665"/>
                <a:gd name="T48" fmla="*/ 656 w 657"/>
                <a:gd name="T49" fmla="*/ 325 h 665"/>
                <a:gd name="T50" fmla="*/ 656 w 657"/>
                <a:gd name="T51" fmla="*/ 325 h 665"/>
                <a:gd name="T52" fmla="*/ 656 w 657"/>
                <a:gd name="T53" fmla="*/ 325 h 665"/>
                <a:gd name="T54" fmla="*/ 617 w 657"/>
                <a:gd name="T55" fmla="*/ 340 h 665"/>
                <a:gd name="T56" fmla="*/ 522 w 657"/>
                <a:gd name="T57" fmla="*/ 388 h 665"/>
                <a:gd name="T58" fmla="*/ 490 w 657"/>
                <a:gd name="T59" fmla="*/ 404 h 665"/>
                <a:gd name="T60" fmla="*/ 285 w 657"/>
                <a:gd name="T61" fmla="*/ 483 h 665"/>
                <a:gd name="T62" fmla="*/ 143 w 657"/>
                <a:gd name="T63" fmla="*/ 601 h 665"/>
                <a:gd name="T64" fmla="*/ 87 w 657"/>
                <a:gd name="T65" fmla="*/ 649 h 665"/>
                <a:gd name="T66" fmla="*/ 79 w 657"/>
                <a:gd name="T67" fmla="*/ 657 h 665"/>
                <a:gd name="T68" fmla="*/ 71 w 657"/>
                <a:gd name="T69" fmla="*/ 664 h 665"/>
                <a:gd name="T70" fmla="*/ 8 w 657"/>
                <a:gd name="T71" fmla="*/ 151 h 665"/>
                <a:gd name="T72" fmla="*/ 8 w 657"/>
                <a:gd name="T73" fmla="*/ 151 h 665"/>
                <a:gd name="T74" fmla="*/ 16 w 657"/>
                <a:gd name="T75" fmla="*/ 174 h 665"/>
                <a:gd name="T76" fmla="*/ 16 w 657"/>
                <a:gd name="T77" fmla="*/ 214 h 665"/>
                <a:gd name="T78" fmla="*/ 24 w 657"/>
                <a:gd name="T79" fmla="*/ 245 h 665"/>
                <a:gd name="T80" fmla="*/ 40 w 657"/>
                <a:gd name="T81" fmla="*/ 325 h 665"/>
                <a:gd name="T82" fmla="*/ 71 w 657"/>
                <a:gd name="T83" fmla="*/ 459 h 665"/>
                <a:gd name="T84" fmla="*/ 79 w 657"/>
                <a:gd name="T85" fmla="*/ 491 h 665"/>
                <a:gd name="T86" fmla="*/ 87 w 657"/>
                <a:gd name="T87" fmla="*/ 506 h 665"/>
                <a:gd name="T88" fmla="*/ 79 w 657"/>
                <a:gd name="T89" fmla="*/ 562 h 665"/>
                <a:gd name="T90" fmla="*/ 48 w 657"/>
                <a:gd name="T91" fmla="*/ 617 h 665"/>
                <a:gd name="T92" fmla="*/ 71 w 657"/>
                <a:gd name="T93" fmla="*/ 649 h 665"/>
                <a:gd name="T94" fmla="*/ 87 w 657"/>
                <a:gd name="T95" fmla="*/ 641 h 665"/>
                <a:gd name="T96" fmla="*/ 135 w 657"/>
                <a:gd name="T97" fmla="*/ 601 h 665"/>
                <a:gd name="T98" fmla="*/ 277 w 657"/>
                <a:gd name="T99" fmla="*/ 475 h 665"/>
                <a:gd name="T100" fmla="*/ 483 w 657"/>
                <a:gd name="T101" fmla="*/ 396 h 665"/>
                <a:gd name="T102" fmla="*/ 514 w 657"/>
                <a:gd name="T103" fmla="*/ 380 h 665"/>
                <a:gd name="T104" fmla="*/ 617 w 657"/>
                <a:gd name="T105" fmla="*/ 340 h 665"/>
                <a:gd name="T106" fmla="*/ 649 w 657"/>
                <a:gd name="T107" fmla="*/ 317 h 665"/>
                <a:gd name="T108" fmla="*/ 593 w 657"/>
                <a:gd name="T109" fmla="*/ 80 h 665"/>
                <a:gd name="T110" fmla="*/ 585 w 657"/>
                <a:gd name="T111" fmla="*/ 24 h 665"/>
                <a:gd name="T112" fmla="*/ 585 w 657"/>
                <a:gd name="T113" fmla="*/ 24 h 665"/>
                <a:gd name="T114" fmla="*/ 506 w 657"/>
                <a:gd name="T115" fmla="*/ 24 h 665"/>
                <a:gd name="T116" fmla="*/ 127 w 657"/>
                <a:gd name="T117" fmla="*/ 119 h 665"/>
                <a:gd name="T118" fmla="*/ 16 w 657"/>
                <a:gd name="T119" fmla="*/ 151 h 665"/>
                <a:gd name="T120" fmla="*/ 8 w 657"/>
                <a:gd name="T121" fmla="*/ 151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7" h="665">
                  <a:moveTo>
                    <a:pt x="71" y="664"/>
                  </a:moveTo>
                  <a:lnTo>
                    <a:pt x="71" y="664"/>
                  </a:lnTo>
                  <a:cubicBezTo>
                    <a:pt x="71" y="657"/>
                    <a:pt x="71" y="657"/>
                    <a:pt x="71" y="657"/>
                  </a:cubicBezTo>
                  <a:cubicBezTo>
                    <a:pt x="48" y="641"/>
                    <a:pt x="40" y="625"/>
                    <a:pt x="40" y="617"/>
                  </a:cubicBezTo>
                  <a:cubicBezTo>
                    <a:pt x="40" y="601"/>
                    <a:pt x="64" y="570"/>
                    <a:pt x="79" y="554"/>
                  </a:cubicBezTo>
                  <a:cubicBezTo>
                    <a:pt x="95" y="546"/>
                    <a:pt x="87" y="514"/>
                    <a:pt x="79" y="506"/>
                  </a:cubicBezTo>
                  <a:cubicBezTo>
                    <a:pt x="79" y="498"/>
                    <a:pt x="79" y="498"/>
                    <a:pt x="71" y="491"/>
                  </a:cubicBezTo>
                  <a:cubicBezTo>
                    <a:pt x="71" y="483"/>
                    <a:pt x="64" y="475"/>
                    <a:pt x="64" y="459"/>
                  </a:cubicBezTo>
                  <a:cubicBezTo>
                    <a:pt x="64" y="443"/>
                    <a:pt x="56" y="372"/>
                    <a:pt x="40" y="332"/>
                  </a:cubicBezTo>
                  <a:cubicBezTo>
                    <a:pt x="24" y="301"/>
                    <a:pt x="16" y="269"/>
                    <a:pt x="16" y="245"/>
                  </a:cubicBezTo>
                  <a:cubicBezTo>
                    <a:pt x="16" y="230"/>
                    <a:pt x="8" y="222"/>
                    <a:pt x="8" y="222"/>
                  </a:cubicBezTo>
                  <a:cubicBezTo>
                    <a:pt x="8" y="222"/>
                    <a:pt x="8" y="206"/>
                    <a:pt x="8" y="174"/>
                  </a:cubicBezTo>
                  <a:cubicBezTo>
                    <a:pt x="8" y="158"/>
                    <a:pt x="0" y="151"/>
                    <a:pt x="0" y="151"/>
                  </a:cubicBezTo>
                  <a:cubicBezTo>
                    <a:pt x="0" y="143"/>
                    <a:pt x="0" y="143"/>
                    <a:pt x="0" y="143"/>
                  </a:cubicBezTo>
                  <a:lnTo>
                    <a:pt x="0" y="143"/>
                  </a:lnTo>
                  <a:cubicBezTo>
                    <a:pt x="8" y="143"/>
                    <a:pt x="8" y="143"/>
                    <a:pt x="8" y="143"/>
                  </a:cubicBezTo>
                  <a:cubicBezTo>
                    <a:pt x="8" y="143"/>
                    <a:pt x="8" y="143"/>
                    <a:pt x="16" y="143"/>
                  </a:cubicBezTo>
                  <a:cubicBezTo>
                    <a:pt x="16" y="135"/>
                    <a:pt x="56" y="127"/>
                    <a:pt x="127" y="111"/>
                  </a:cubicBezTo>
                  <a:cubicBezTo>
                    <a:pt x="261" y="80"/>
                    <a:pt x="483" y="24"/>
                    <a:pt x="506" y="16"/>
                  </a:cubicBezTo>
                  <a:cubicBezTo>
                    <a:pt x="522" y="0"/>
                    <a:pt x="554" y="0"/>
                    <a:pt x="585" y="16"/>
                  </a:cubicBezTo>
                  <a:lnTo>
                    <a:pt x="585" y="16"/>
                  </a:lnTo>
                  <a:cubicBezTo>
                    <a:pt x="593" y="16"/>
                    <a:pt x="593" y="16"/>
                    <a:pt x="593" y="16"/>
                  </a:cubicBezTo>
                  <a:lnTo>
                    <a:pt x="593" y="16"/>
                  </a:lnTo>
                  <a:cubicBezTo>
                    <a:pt x="601" y="64"/>
                    <a:pt x="601" y="72"/>
                    <a:pt x="601" y="80"/>
                  </a:cubicBezTo>
                  <a:cubicBezTo>
                    <a:pt x="609" y="95"/>
                    <a:pt x="649" y="230"/>
                    <a:pt x="656" y="325"/>
                  </a:cubicBezTo>
                  <a:lnTo>
                    <a:pt x="656" y="325"/>
                  </a:lnTo>
                  <a:lnTo>
                    <a:pt x="656" y="325"/>
                  </a:lnTo>
                  <a:cubicBezTo>
                    <a:pt x="641" y="332"/>
                    <a:pt x="633" y="340"/>
                    <a:pt x="617" y="340"/>
                  </a:cubicBezTo>
                  <a:cubicBezTo>
                    <a:pt x="577" y="364"/>
                    <a:pt x="538" y="388"/>
                    <a:pt x="522" y="388"/>
                  </a:cubicBezTo>
                  <a:cubicBezTo>
                    <a:pt x="514" y="396"/>
                    <a:pt x="498" y="396"/>
                    <a:pt x="490" y="404"/>
                  </a:cubicBezTo>
                  <a:cubicBezTo>
                    <a:pt x="427" y="420"/>
                    <a:pt x="324" y="451"/>
                    <a:pt x="285" y="483"/>
                  </a:cubicBezTo>
                  <a:cubicBezTo>
                    <a:pt x="230" y="514"/>
                    <a:pt x="174" y="570"/>
                    <a:pt x="143" y="601"/>
                  </a:cubicBezTo>
                  <a:cubicBezTo>
                    <a:pt x="127" y="625"/>
                    <a:pt x="103" y="633"/>
                    <a:pt x="87" y="649"/>
                  </a:cubicBezTo>
                  <a:cubicBezTo>
                    <a:pt x="87" y="657"/>
                    <a:pt x="79" y="657"/>
                    <a:pt x="79" y="657"/>
                  </a:cubicBezTo>
                  <a:lnTo>
                    <a:pt x="71" y="664"/>
                  </a:lnTo>
                  <a:close/>
                  <a:moveTo>
                    <a:pt x="8" y="151"/>
                  </a:moveTo>
                  <a:lnTo>
                    <a:pt x="8" y="151"/>
                  </a:lnTo>
                  <a:cubicBezTo>
                    <a:pt x="8" y="151"/>
                    <a:pt x="8" y="158"/>
                    <a:pt x="16" y="174"/>
                  </a:cubicBezTo>
                  <a:cubicBezTo>
                    <a:pt x="16" y="190"/>
                    <a:pt x="16" y="214"/>
                    <a:pt x="16" y="214"/>
                  </a:cubicBezTo>
                  <a:cubicBezTo>
                    <a:pt x="16" y="222"/>
                    <a:pt x="16" y="230"/>
                    <a:pt x="24" y="245"/>
                  </a:cubicBezTo>
                  <a:cubicBezTo>
                    <a:pt x="24" y="269"/>
                    <a:pt x="32" y="301"/>
                    <a:pt x="40" y="325"/>
                  </a:cubicBezTo>
                  <a:cubicBezTo>
                    <a:pt x="64" y="364"/>
                    <a:pt x="71" y="435"/>
                    <a:pt x="71" y="459"/>
                  </a:cubicBezTo>
                  <a:cubicBezTo>
                    <a:pt x="71" y="475"/>
                    <a:pt x="79" y="483"/>
                    <a:pt x="79" y="491"/>
                  </a:cubicBezTo>
                  <a:cubicBezTo>
                    <a:pt x="87" y="491"/>
                    <a:pt x="87" y="498"/>
                    <a:pt x="87" y="506"/>
                  </a:cubicBezTo>
                  <a:cubicBezTo>
                    <a:pt x="95" y="514"/>
                    <a:pt x="103" y="546"/>
                    <a:pt x="79" y="562"/>
                  </a:cubicBezTo>
                  <a:cubicBezTo>
                    <a:pt x="64" y="570"/>
                    <a:pt x="48" y="601"/>
                    <a:pt x="48" y="617"/>
                  </a:cubicBezTo>
                  <a:cubicBezTo>
                    <a:pt x="48" y="617"/>
                    <a:pt x="48" y="625"/>
                    <a:pt x="71" y="649"/>
                  </a:cubicBezTo>
                  <a:cubicBezTo>
                    <a:pt x="79" y="649"/>
                    <a:pt x="79" y="649"/>
                    <a:pt x="87" y="641"/>
                  </a:cubicBezTo>
                  <a:cubicBezTo>
                    <a:pt x="103" y="633"/>
                    <a:pt x="119" y="617"/>
                    <a:pt x="135" y="601"/>
                  </a:cubicBezTo>
                  <a:cubicBezTo>
                    <a:pt x="166" y="562"/>
                    <a:pt x="230" y="514"/>
                    <a:pt x="277" y="475"/>
                  </a:cubicBezTo>
                  <a:cubicBezTo>
                    <a:pt x="324" y="443"/>
                    <a:pt x="427" y="411"/>
                    <a:pt x="483" y="396"/>
                  </a:cubicBezTo>
                  <a:cubicBezTo>
                    <a:pt x="498" y="388"/>
                    <a:pt x="514" y="388"/>
                    <a:pt x="514" y="380"/>
                  </a:cubicBezTo>
                  <a:cubicBezTo>
                    <a:pt x="538" y="380"/>
                    <a:pt x="577" y="356"/>
                    <a:pt x="617" y="340"/>
                  </a:cubicBezTo>
                  <a:cubicBezTo>
                    <a:pt x="625" y="332"/>
                    <a:pt x="641" y="325"/>
                    <a:pt x="649" y="317"/>
                  </a:cubicBezTo>
                  <a:cubicBezTo>
                    <a:pt x="641" y="230"/>
                    <a:pt x="601" y="95"/>
                    <a:pt x="593" y="80"/>
                  </a:cubicBezTo>
                  <a:cubicBezTo>
                    <a:pt x="593" y="72"/>
                    <a:pt x="593" y="56"/>
                    <a:pt x="585" y="24"/>
                  </a:cubicBezTo>
                  <a:lnTo>
                    <a:pt x="585" y="24"/>
                  </a:lnTo>
                  <a:cubicBezTo>
                    <a:pt x="554" y="8"/>
                    <a:pt x="522" y="8"/>
                    <a:pt x="506" y="24"/>
                  </a:cubicBezTo>
                  <a:cubicBezTo>
                    <a:pt x="483" y="32"/>
                    <a:pt x="269" y="87"/>
                    <a:pt x="127" y="119"/>
                  </a:cubicBezTo>
                  <a:cubicBezTo>
                    <a:pt x="71" y="135"/>
                    <a:pt x="16" y="143"/>
                    <a:pt x="16" y="151"/>
                  </a:cubicBezTo>
                  <a:lnTo>
                    <a:pt x="8" y="151"/>
                  </a:lnTo>
                  <a:close/>
                </a:path>
              </a:pathLst>
            </a:custGeom>
            <a:grpFill/>
            <a:ln>
              <a:solidFill>
                <a:schemeClr val="bg1">
                  <a:lumMod val="95000"/>
                </a:schemeClr>
              </a:solidFill>
            </a:ln>
            <a:effectLst/>
          </p:spPr>
          <p:txBody>
            <a:bodyPr wrap="none" anchor="ctr"/>
            <a:lstStyle/>
            <a:p>
              <a:endParaRPr lang="en-US" sz="900"/>
            </a:p>
          </p:txBody>
        </p:sp>
        <p:sp>
          <p:nvSpPr>
            <p:cNvPr id="99" name="Freeform 767"/>
            <p:cNvSpPr>
              <a:spLocks noChangeArrowheads="1"/>
            </p:cNvSpPr>
            <p:nvPr/>
          </p:nvSpPr>
          <p:spPr bwMode="auto">
            <a:xfrm>
              <a:off x="15323896" y="4169111"/>
              <a:ext cx="1484356" cy="1097032"/>
            </a:xfrm>
            <a:custGeom>
              <a:avLst/>
              <a:gdLst>
                <a:gd name="T0" fmla="*/ 2807 w 2823"/>
                <a:gd name="T1" fmla="*/ 1692 h 2088"/>
                <a:gd name="T2" fmla="*/ 2688 w 2823"/>
                <a:gd name="T3" fmla="*/ 1731 h 2088"/>
                <a:gd name="T4" fmla="*/ 2656 w 2823"/>
                <a:gd name="T5" fmla="*/ 1723 h 2088"/>
                <a:gd name="T6" fmla="*/ 2577 w 2823"/>
                <a:gd name="T7" fmla="*/ 1779 h 2088"/>
                <a:gd name="T8" fmla="*/ 2388 w 2823"/>
                <a:gd name="T9" fmla="*/ 1842 h 2088"/>
                <a:gd name="T10" fmla="*/ 2229 w 2823"/>
                <a:gd name="T11" fmla="*/ 1921 h 2088"/>
                <a:gd name="T12" fmla="*/ 2229 w 2823"/>
                <a:gd name="T13" fmla="*/ 1882 h 2088"/>
                <a:gd name="T14" fmla="*/ 2237 w 2823"/>
                <a:gd name="T15" fmla="*/ 1779 h 2088"/>
                <a:gd name="T16" fmla="*/ 2229 w 2823"/>
                <a:gd name="T17" fmla="*/ 1684 h 2088"/>
                <a:gd name="T18" fmla="*/ 2174 w 2823"/>
                <a:gd name="T19" fmla="*/ 1447 h 2088"/>
                <a:gd name="T20" fmla="*/ 2166 w 2823"/>
                <a:gd name="T21" fmla="*/ 1368 h 2088"/>
                <a:gd name="T22" fmla="*/ 2158 w 2823"/>
                <a:gd name="T23" fmla="*/ 1036 h 2088"/>
                <a:gd name="T24" fmla="*/ 2064 w 2823"/>
                <a:gd name="T25" fmla="*/ 664 h 2088"/>
                <a:gd name="T26" fmla="*/ 1992 w 2823"/>
                <a:gd name="T27" fmla="*/ 569 h 2088"/>
                <a:gd name="T28" fmla="*/ 1976 w 2823"/>
                <a:gd name="T29" fmla="*/ 348 h 2088"/>
                <a:gd name="T30" fmla="*/ 1897 w 2823"/>
                <a:gd name="T31" fmla="*/ 190 h 2088"/>
                <a:gd name="T32" fmla="*/ 1874 w 2823"/>
                <a:gd name="T33" fmla="*/ 0 h 2088"/>
                <a:gd name="T34" fmla="*/ 1123 w 2823"/>
                <a:gd name="T35" fmla="*/ 451 h 2088"/>
                <a:gd name="T36" fmla="*/ 1044 w 2823"/>
                <a:gd name="T37" fmla="*/ 561 h 2088"/>
                <a:gd name="T38" fmla="*/ 1020 w 2823"/>
                <a:gd name="T39" fmla="*/ 656 h 2088"/>
                <a:gd name="T40" fmla="*/ 1067 w 2823"/>
                <a:gd name="T41" fmla="*/ 672 h 2088"/>
                <a:gd name="T42" fmla="*/ 1059 w 2823"/>
                <a:gd name="T43" fmla="*/ 727 h 2088"/>
                <a:gd name="T44" fmla="*/ 1067 w 2823"/>
                <a:gd name="T45" fmla="*/ 806 h 2088"/>
                <a:gd name="T46" fmla="*/ 1059 w 2823"/>
                <a:gd name="T47" fmla="*/ 917 h 2088"/>
                <a:gd name="T48" fmla="*/ 988 w 2823"/>
                <a:gd name="T49" fmla="*/ 957 h 2088"/>
                <a:gd name="T50" fmla="*/ 933 w 2823"/>
                <a:gd name="T51" fmla="*/ 1028 h 2088"/>
                <a:gd name="T52" fmla="*/ 870 w 2823"/>
                <a:gd name="T53" fmla="*/ 1083 h 2088"/>
                <a:gd name="T54" fmla="*/ 743 w 2823"/>
                <a:gd name="T55" fmla="*/ 1083 h 2088"/>
                <a:gd name="T56" fmla="*/ 641 w 2823"/>
                <a:gd name="T57" fmla="*/ 1123 h 2088"/>
                <a:gd name="T58" fmla="*/ 206 w 2823"/>
                <a:gd name="T59" fmla="*/ 1186 h 2088"/>
                <a:gd name="T60" fmla="*/ 182 w 2823"/>
                <a:gd name="T61" fmla="*/ 1305 h 2088"/>
                <a:gd name="T62" fmla="*/ 237 w 2823"/>
                <a:gd name="T63" fmla="*/ 1383 h 2088"/>
                <a:gd name="T64" fmla="*/ 229 w 2823"/>
                <a:gd name="T65" fmla="*/ 1478 h 2088"/>
                <a:gd name="T66" fmla="*/ 0 w 2823"/>
                <a:gd name="T67" fmla="*/ 1731 h 2088"/>
                <a:gd name="T68" fmla="*/ 1439 w 2823"/>
                <a:gd name="T69" fmla="*/ 1565 h 2088"/>
                <a:gd name="T70" fmla="*/ 1644 w 2823"/>
                <a:gd name="T71" fmla="*/ 1605 h 2088"/>
                <a:gd name="T72" fmla="*/ 1787 w 2823"/>
                <a:gd name="T73" fmla="*/ 1763 h 2088"/>
                <a:gd name="T74" fmla="*/ 2103 w 2823"/>
                <a:gd name="T75" fmla="*/ 1882 h 2088"/>
                <a:gd name="T76" fmla="*/ 2135 w 2823"/>
                <a:gd name="T77" fmla="*/ 2008 h 2088"/>
                <a:gd name="T78" fmla="*/ 2166 w 2823"/>
                <a:gd name="T79" fmla="*/ 2079 h 2088"/>
                <a:gd name="T80" fmla="*/ 2609 w 2823"/>
                <a:gd name="T81" fmla="*/ 1850 h 2088"/>
                <a:gd name="T82" fmla="*/ 2807 w 2823"/>
                <a:gd name="T83" fmla="*/ 1692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23" h="2088">
                  <a:moveTo>
                    <a:pt x="2807" y="1692"/>
                  </a:moveTo>
                  <a:lnTo>
                    <a:pt x="2807" y="1692"/>
                  </a:lnTo>
                  <a:cubicBezTo>
                    <a:pt x="2791" y="1684"/>
                    <a:pt x="2767" y="1716"/>
                    <a:pt x="2728" y="1700"/>
                  </a:cubicBezTo>
                  <a:cubicBezTo>
                    <a:pt x="2696" y="1676"/>
                    <a:pt x="2696" y="1716"/>
                    <a:pt x="2688" y="1731"/>
                  </a:cubicBezTo>
                  <a:cubicBezTo>
                    <a:pt x="2688" y="1739"/>
                    <a:pt x="2641" y="1795"/>
                    <a:pt x="2625" y="1795"/>
                  </a:cubicBezTo>
                  <a:cubicBezTo>
                    <a:pt x="2617" y="1787"/>
                    <a:pt x="2648" y="1747"/>
                    <a:pt x="2656" y="1723"/>
                  </a:cubicBezTo>
                  <a:cubicBezTo>
                    <a:pt x="2672" y="1700"/>
                    <a:pt x="2664" y="1652"/>
                    <a:pt x="2656" y="1676"/>
                  </a:cubicBezTo>
                  <a:cubicBezTo>
                    <a:pt x="2648" y="1708"/>
                    <a:pt x="2609" y="1755"/>
                    <a:pt x="2577" y="1779"/>
                  </a:cubicBezTo>
                  <a:cubicBezTo>
                    <a:pt x="2538" y="1795"/>
                    <a:pt x="2490" y="1803"/>
                    <a:pt x="2467" y="1803"/>
                  </a:cubicBezTo>
                  <a:cubicBezTo>
                    <a:pt x="2435" y="1810"/>
                    <a:pt x="2403" y="1810"/>
                    <a:pt x="2388" y="1842"/>
                  </a:cubicBezTo>
                  <a:cubicBezTo>
                    <a:pt x="2372" y="1874"/>
                    <a:pt x="2340" y="1866"/>
                    <a:pt x="2308" y="1874"/>
                  </a:cubicBezTo>
                  <a:cubicBezTo>
                    <a:pt x="2277" y="1882"/>
                    <a:pt x="2253" y="1913"/>
                    <a:pt x="2229" y="1921"/>
                  </a:cubicBezTo>
                  <a:cubicBezTo>
                    <a:pt x="2206" y="1937"/>
                    <a:pt x="2182" y="1937"/>
                    <a:pt x="2206" y="1905"/>
                  </a:cubicBezTo>
                  <a:cubicBezTo>
                    <a:pt x="2214" y="1897"/>
                    <a:pt x="2222" y="1889"/>
                    <a:pt x="2229" y="1882"/>
                  </a:cubicBezTo>
                  <a:cubicBezTo>
                    <a:pt x="2222" y="1866"/>
                    <a:pt x="2206" y="1850"/>
                    <a:pt x="2198" y="1842"/>
                  </a:cubicBezTo>
                  <a:cubicBezTo>
                    <a:pt x="2198" y="1826"/>
                    <a:pt x="2222" y="1795"/>
                    <a:pt x="2237" y="1779"/>
                  </a:cubicBezTo>
                  <a:cubicBezTo>
                    <a:pt x="2253" y="1771"/>
                    <a:pt x="2253" y="1747"/>
                    <a:pt x="2245" y="1731"/>
                  </a:cubicBezTo>
                  <a:cubicBezTo>
                    <a:pt x="2237" y="1716"/>
                    <a:pt x="2229" y="1708"/>
                    <a:pt x="2229" y="1684"/>
                  </a:cubicBezTo>
                  <a:cubicBezTo>
                    <a:pt x="2229" y="1660"/>
                    <a:pt x="2214" y="1589"/>
                    <a:pt x="2198" y="1550"/>
                  </a:cubicBezTo>
                  <a:cubicBezTo>
                    <a:pt x="2182" y="1518"/>
                    <a:pt x="2174" y="1455"/>
                    <a:pt x="2174" y="1447"/>
                  </a:cubicBezTo>
                  <a:cubicBezTo>
                    <a:pt x="2166" y="1439"/>
                    <a:pt x="2166" y="1376"/>
                    <a:pt x="2166" y="1368"/>
                  </a:cubicBezTo>
                  <a:lnTo>
                    <a:pt x="2166" y="1368"/>
                  </a:lnTo>
                  <a:cubicBezTo>
                    <a:pt x="2158" y="1368"/>
                    <a:pt x="2158" y="1360"/>
                    <a:pt x="2158" y="1360"/>
                  </a:cubicBezTo>
                  <a:cubicBezTo>
                    <a:pt x="2158" y="1036"/>
                    <a:pt x="2158" y="1036"/>
                    <a:pt x="2158" y="1036"/>
                  </a:cubicBezTo>
                  <a:cubicBezTo>
                    <a:pt x="2158" y="1028"/>
                    <a:pt x="2127" y="870"/>
                    <a:pt x="2111" y="814"/>
                  </a:cubicBezTo>
                  <a:cubicBezTo>
                    <a:pt x="2095" y="759"/>
                    <a:pt x="2079" y="688"/>
                    <a:pt x="2064" y="664"/>
                  </a:cubicBezTo>
                  <a:cubicBezTo>
                    <a:pt x="2048" y="633"/>
                    <a:pt x="2048" y="664"/>
                    <a:pt x="2024" y="664"/>
                  </a:cubicBezTo>
                  <a:cubicBezTo>
                    <a:pt x="2000" y="656"/>
                    <a:pt x="1992" y="593"/>
                    <a:pt x="1992" y="569"/>
                  </a:cubicBezTo>
                  <a:cubicBezTo>
                    <a:pt x="1992" y="546"/>
                    <a:pt x="1984" y="482"/>
                    <a:pt x="1969" y="443"/>
                  </a:cubicBezTo>
                  <a:cubicBezTo>
                    <a:pt x="1953" y="403"/>
                    <a:pt x="1976" y="379"/>
                    <a:pt x="1976" y="348"/>
                  </a:cubicBezTo>
                  <a:cubicBezTo>
                    <a:pt x="1969" y="324"/>
                    <a:pt x="1953" y="269"/>
                    <a:pt x="1937" y="245"/>
                  </a:cubicBezTo>
                  <a:cubicBezTo>
                    <a:pt x="1929" y="222"/>
                    <a:pt x="1905" y="222"/>
                    <a:pt x="1897" y="190"/>
                  </a:cubicBezTo>
                  <a:cubicBezTo>
                    <a:pt x="1889" y="150"/>
                    <a:pt x="1897" y="111"/>
                    <a:pt x="1889" y="95"/>
                  </a:cubicBezTo>
                  <a:cubicBezTo>
                    <a:pt x="1882" y="79"/>
                    <a:pt x="1874" y="24"/>
                    <a:pt x="1874" y="0"/>
                  </a:cubicBezTo>
                  <a:cubicBezTo>
                    <a:pt x="1629" y="55"/>
                    <a:pt x="1399" y="111"/>
                    <a:pt x="1384" y="111"/>
                  </a:cubicBezTo>
                  <a:cubicBezTo>
                    <a:pt x="1344" y="119"/>
                    <a:pt x="1123" y="411"/>
                    <a:pt x="1123" y="451"/>
                  </a:cubicBezTo>
                  <a:cubicBezTo>
                    <a:pt x="1123" y="482"/>
                    <a:pt x="1067" y="530"/>
                    <a:pt x="1028" y="561"/>
                  </a:cubicBezTo>
                  <a:cubicBezTo>
                    <a:pt x="1044" y="561"/>
                    <a:pt x="1044" y="561"/>
                    <a:pt x="1044" y="561"/>
                  </a:cubicBezTo>
                  <a:cubicBezTo>
                    <a:pt x="1028" y="577"/>
                    <a:pt x="980" y="633"/>
                    <a:pt x="980" y="640"/>
                  </a:cubicBezTo>
                  <a:cubicBezTo>
                    <a:pt x="980" y="648"/>
                    <a:pt x="1012" y="664"/>
                    <a:pt x="1020" y="656"/>
                  </a:cubicBezTo>
                  <a:cubicBezTo>
                    <a:pt x="1028" y="648"/>
                    <a:pt x="1059" y="640"/>
                    <a:pt x="1052" y="664"/>
                  </a:cubicBezTo>
                  <a:cubicBezTo>
                    <a:pt x="1052" y="680"/>
                    <a:pt x="1052" y="688"/>
                    <a:pt x="1067" y="672"/>
                  </a:cubicBezTo>
                  <a:cubicBezTo>
                    <a:pt x="1083" y="664"/>
                    <a:pt x="1107" y="680"/>
                    <a:pt x="1083" y="688"/>
                  </a:cubicBezTo>
                  <a:cubicBezTo>
                    <a:pt x="1067" y="696"/>
                    <a:pt x="1052" y="719"/>
                    <a:pt x="1059" y="727"/>
                  </a:cubicBezTo>
                  <a:cubicBezTo>
                    <a:pt x="1059" y="727"/>
                    <a:pt x="1052" y="735"/>
                    <a:pt x="1052" y="759"/>
                  </a:cubicBezTo>
                  <a:cubicBezTo>
                    <a:pt x="1052" y="775"/>
                    <a:pt x="1059" y="790"/>
                    <a:pt x="1067" y="806"/>
                  </a:cubicBezTo>
                  <a:cubicBezTo>
                    <a:pt x="1075" y="830"/>
                    <a:pt x="1091" y="846"/>
                    <a:pt x="1083" y="862"/>
                  </a:cubicBezTo>
                  <a:cubicBezTo>
                    <a:pt x="1083" y="886"/>
                    <a:pt x="1083" y="917"/>
                    <a:pt x="1059" y="917"/>
                  </a:cubicBezTo>
                  <a:cubicBezTo>
                    <a:pt x="1044" y="917"/>
                    <a:pt x="1028" y="901"/>
                    <a:pt x="1020" y="925"/>
                  </a:cubicBezTo>
                  <a:cubicBezTo>
                    <a:pt x="1012" y="941"/>
                    <a:pt x="1004" y="957"/>
                    <a:pt x="988" y="957"/>
                  </a:cubicBezTo>
                  <a:cubicBezTo>
                    <a:pt x="980" y="965"/>
                    <a:pt x="965" y="965"/>
                    <a:pt x="965" y="980"/>
                  </a:cubicBezTo>
                  <a:cubicBezTo>
                    <a:pt x="957" y="996"/>
                    <a:pt x="949" y="1012"/>
                    <a:pt x="933" y="1028"/>
                  </a:cubicBezTo>
                  <a:cubicBezTo>
                    <a:pt x="909" y="1036"/>
                    <a:pt x="894" y="1052"/>
                    <a:pt x="885" y="1059"/>
                  </a:cubicBezTo>
                  <a:cubicBezTo>
                    <a:pt x="878" y="1075"/>
                    <a:pt x="885" y="1083"/>
                    <a:pt x="870" y="1083"/>
                  </a:cubicBezTo>
                  <a:cubicBezTo>
                    <a:pt x="854" y="1075"/>
                    <a:pt x="846" y="1075"/>
                    <a:pt x="822" y="1075"/>
                  </a:cubicBezTo>
                  <a:cubicBezTo>
                    <a:pt x="799" y="1075"/>
                    <a:pt x="759" y="1075"/>
                    <a:pt x="743" y="1083"/>
                  </a:cubicBezTo>
                  <a:cubicBezTo>
                    <a:pt x="727" y="1099"/>
                    <a:pt x="696" y="1107"/>
                    <a:pt x="680" y="1115"/>
                  </a:cubicBezTo>
                  <a:cubicBezTo>
                    <a:pt x="672" y="1130"/>
                    <a:pt x="656" y="1139"/>
                    <a:pt x="641" y="1123"/>
                  </a:cubicBezTo>
                  <a:cubicBezTo>
                    <a:pt x="617" y="1107"/>
                    <a:pt x="593" y="1091"/>
                    <a:pt x="577" y="1099"/>
                  </a:cubicBezTo>
                  <a:cubicBezTo>
                    <a:pt x="554" y="1099"/>
                    <a:pt x="340" y="1083"/>
                    <a:pt x="206" y="1186"/>
                  </a:cubicBezTo>
                  <a:cubicBezTo>
                    <a:pt x="190" y="1202"/>
                    <a:pt x="174" y="1210"/>
                    <a:pt x="158" y="1217"/>
                  </a:cubicBezTo>
                  <a:cubicBezTo>
                    <a:pt x="174" y="1249"/>
                    <a:pt x="182" y="1281"/>
                    <a:pt x="182" y="1305"/>
                  </a:cubicBezTo>
                  <a:cubicBezTo>
                    <a:pt x="190" y="1328"/>
                    <a:pt x="221" y="1376"/>
                    <a:pt x="229" y="1392"/>
                  </a:cubicBezTo>
                  <a:cubicBezTo>
                    <a:pt x="237" y="1392"/>
                    <a:pt x="237" y="1392"/>
                    <a:pt x="237" y="1383"/>
                  </a:cubicBezTo>
                  <a:cubicBezTo>
                    <a:pt x="237" y="1383"/>
                    <a:pt x="277" y="1392"/>
                    <a:pt x="269" y="1407"/>
                  </a:cubicBezTo>
                  <a:cubicBezTo>
                    <a:pt x="261" y="1423"/>
                    <a:pt x="253" y="1463"/>
                    <a:pt x="229" y="1478"/>
                  </a:cubicBezTo>
                  <a:cubicBezTo>
                    <a:pt x="206" y="1494"/>
                    <a:pt x="126" y="1613"/>
                    <a:pt x="95" y="1652"/>
                  </a:cubicBezTo>
                  <a:cubicBezTo>
                    <a:pt x="79" y="1660"/>
                    <a:pt x="48" y="1700"/>
                    <a:pt x="0" y="1731"/>
                  </a:cubicBezTo>
                  <a:cubicBezTo>
                    <a:pt x="24" y="1842"/>
                    <a:pt x="24" y="1842"/>
                    <a:pt x="24" y="1842"/>
                  </a:cubicBezTo>
                  <a:cubicBezTo>
                    <a:pt x="24" y="1842"/>
                    <a:pt x="1415" y="1581"/>
                    <a:pt x="1439" y="1565"/>
                  </a:cubicBezTo>
                  <a:cubicBezTo>
                    <a:pt x="1471" y="1557"/>
                    <a:pt x="1494" y="1526"/>
                    <a:pt x="1542" y="1565"/>
                  </a:cubicBezTo>
                  <a:cubicBezTo>
                    <a:pt x="1589" y="1597"/>
                    <a:pt x="1613" y="1597"/>
                    <a:pt x="1644" y="1605"/>
                  </a:cubicBezTo>
                  <a:cubicBezTo>
                    <a:pt x="1676" y="1605"/>
                    <a:pt x="1700" y="1716"/>
                    <a:pt x="1716" y="1747"/>
                  </a:cubicBezTo>
                  <a:cubicBezTo>
                    <a:pt x="1739" y="1779"/>
                    <a:pt x="1739" y="1755"/>
                    <a:pt x="1787" y="1763"/>
                  </a:cubicBezTo>
                  <a:cubicBezTo>
                    <a:pt x="1826" y="1771"/>
                    <a:pt x="1842" y="1779"/>
                    <a:pt x="1866" y="1810"/>
                  </a:cubicBezTo>
                  <a:cubicBezTo>
                    <a:pt x="1889" y="1834"/>
                    <a:pt x="2079" y="1882"/>
                    <a:pt x="2103" y="1882"/>
                  </a:cubicBezTo>
                  <a:cubicBezTo>
                    <a:pt x="2127" y="1889"/>
                    <a:pt x="2142" y="1897"/>
                    <a:pt x="2150" y="1913"/>
                  </a:cubicBezTo>
                  <a:cubicBezTo>
                    <a:pt x="2158" y="1929"/>
                    <a:pt x="2135" y="1992"/>
                    <a:pt x="2135" y="2008"/>
                  </a:cubicBezTo>
                  <a:cubicBezTo>
                    <a:pt x="2127" y="2016"/>
                    <a:pt x="2119" y="2040"/>
                    <a:pt x="2119" y="2056"/>
                  </a:cubicBezTo>
                  <a:cubicBezTo>
                    <a:pt x="2135" y="2063"/>
                    <a:pt x="2119" y="2087"/>
                    <a:pt x="2166" y="2079"/>
                  </a:cubicBezTo>
                  <a:cubicBezTo>
                    <a:pt x="2214" y="2071"/>
                    <a:pt x="2324" y="2008"/>
                    <a:pt x="2403" y="1976"/>
                  </a:cubicBezTo>
                  <a:cubicBezTo>
                    <a:pt x="2482" y="1937"/>
                    <a:pt x="2538" y="1882"/>
                    <a:pt x="2609" y="1850"/>
                  </a:cubicBezTo>
                  <a:cubicBezTo>
                    <a:pt x="2680" y="1818"/>
                    <a:pt x="2688" y="1803"/>
                    <a:pt x="2719" y="1779"/>
                  </a:cubicBezTo>
                  <a:cubicBezTo>
                    <a:pt x="2751" y="1747"/>
                    <a:pt x="2822" y="1700"/>
                    <a:pt x="2807" y="1692"/>
                  </a:cubicBezTo>
                </a:path>
              </a:pathLst>
            </a:custGeom>
            <a:grpFill/>
            <a:ln>
              <a:solidFill>
                <a:schemeClr val="bg1">
                  <a:lumMod val="95000"/>
                </a:schemeClr>
              </a:solidFill>
            </a:ln>
            <a:effectLst/>
          </p:spPr>
          <p:txBody>
            <a:bodyPr wrap="none" anchor="ctr"/>
            <a:lstStyle/>
            <a:p>
              <a:endParaRPr lang="en-US" sz="900"/>
            </a:p>
          </p:txBody>
        </p:sp>
        <p:sp>
          <p:nvSpPr>
            <p:cNvPr id="100" name="Freeform 768"/>
            <p:cNvSpPr>
              <a:spLocks noChangeArrowheads="1"/>
            </p:cNvSpPr>
            <p:nvPr/>
          </p:nvSpPr>
          <p:spPr bwMode="auto">
            <a:xfrm>
              <a:off x="15323896" y="4164472"/>
              <a:ext cx="1479717" cy="1101671"/>
            </a:xfrm>
            <a:custGeom>
              <a:avLst/>
              <a:gdLst>
                <a:gd name="T0" fmla="*/ 2119 w 2815"/>
                <a:gd name="T1" fmla="*/ 2064 h 2096"/>
                <a:gd name="T2" fmla="*/ 2142 w 2815"/>
                <a:gd name="T3" fmla="*/ 1921 h 2096"/>
                <a:gd name="T4" fmla="*/ 1747 w 2815"/>
                <a:gd name="T5" fmla="*/ 1771 h 2096"/>
                <a:gd name="T6" fmla="*/ 1644 w 2815"/>
                <a:gd name="T7" fmla="*/ 1613 h 2096"/>
                <a:gd name="T8" fmla="*/ 32 w 2815"/>
                <a:gd name="T9" fmla="*/ 1858 h 2096"/>
                <a:gd name="T10" fmla="*/ 150 w 2815"/>
                <a:gd name="T11" fmla="*/ 1581 h 2096"/>
                <a:gd name="T12" fmla="*/ 245 w 2815"/>
                <a:gd name="T13" fmla="*/ 1400 h 2096"/>
                <a:gd name="T14" fmla="*/ 182 w 2815"/>
                <a:gd name="T15" fmla="*/ 1313 h 2096"/>
                <a:gd name="T16" fmla="*/ 546 w 2815"/>
                <a:gd name="T17" fmla="*/ 1099 h 2096"/>
                <a:gd name="T18" fmla="*/ 680 w 2815"/>
                <a:gd name="T19" fmla="*/ 1123 h 2096"/>
                <a:gd name="T20" fmla="*/ 870 w 2815"/>
                <a:gd name="T21" fmla="*/ 1083 h 2096"/>
                <a:gd name="T22" fmla="*/ 957 w 2815"/>
                <a:gd name="T23" fmla="*/ 988 h 2096"/>
                <a:gd name="T24" fmla="*/ 1036 w 2815"/>
                <a:gd name="T25" fmla="*/ 917 h 2096"/>
                <a:gd name="T26" fmla="*/ 1075 w 2815"/>
                <a:gd name="T27" fmla="*/ 838 h 2096"/>
                <a:gd name="T28" fmla="*/ 1052 w 2815"/>
                <a:gd name="T29" fmla="*/ 735 h 2096"/>
                <a:gd name="T30" fmla="*/ 1067 w 2815"/>
                <a:gd name="T31" fmla="*/ 688 h 2096"/>
                <a:gd name="T32" fmla="*/ 1044 w 2815"/>
                <a:gd name="T33" fmla="*/ 664 h 2096"/>
                <a:gd name="T34" fmla="*/ 1028 w 2815"/>
                <a:gd name="T35" fmla="*/ 569 h 2096"/>
                <a:gd name="T36" fmla="*/ 1384 w 2815"/>
                <a:gd name="T37" fmla="*/ 119 h 2096"/>
                <a:gd name="T38" fmla="*/ 1897 w 2815"/>
                <a:gd name="T39" fmla="*/ 150 h 2096"/>
                <a:gd name="T40" fmla="*/ 1969 w 2815"/>
                <a:gd name="T41" fmla="*/ 396 h 2096"/>
                <a:gd name="T42" fmla="*/ 2055 w 2815"/>
                <a:gd name="T43" fmla="*/ 656 h 2096"/>
                <a:gd name="T44" fmla="*/ 2166 w 2815"/>
                <a:gd name="T45" fmla="*/ 1044 h 2096"/>
                <a:gd name="T46" fmla="*/ 2166 w 2815"/>
                <a:gd name="T47" fmla="*/ 1376 h 2096"/>
                <a:gd name="T48" fmla="*/ 2229 w 2815"/>
                <a:gd name="T49" fmla="*/ 1692 h 2096"/>
                <a:gd name="T50" fmla="*/ 2237 w 2815"/>
                <a:gd name="T51" fmla="*/ 1890 h 2096"/>
                <a:gd name="T52" fmla="*/ 2206 w 2815"/>
                <a:gd name="T53" fmla="*/ 1937 h 2096"/>
                <a:gd name="T54" fmla="*/ 2388 w 2815"/>
                <a:gd name="T55" fmla="*/ 1850 h 2096"/>
                <a:gd name="T56" fmla="*/ 2664 w 2815"/>
                <a:gd name="T57" fmla="*/ 1676 h 2096"/>
                <a:gd name="T58" fmla="*/ 2633 w 2815"/>
                <a:gd name="T59" fmla="*/ 1795 h 2096"/>
                <a:gd name="T60" fmla="*/ 2751 w 2815"/>
                <a:gd name="T61" fmla="*/ 1708 h 2096"/>
                <a:gd name="T62" fmla="*/ 2751 w 2815"/>
                <a:gd name="T63" fmla="*/ 1763 h 2096"/>
                <a:gd name="T64" fmla="*/ 2411 w 2815"/>
                <a:gd name="T65" fmla="*/ 1984 h 2096"/>
                <a:gd name="T66" fmla="*/ 2119 w 2815"/>
                <a:gd name="T67" fmla="*/ 2064 h 2096"/>
                <a:gd name="T68" fmla="*/ 2308 w 2815"/>
                <a:gd name="T69" fmla="*/ 2024 h 2096"/>
                <a:gd name="T70" fmla="*/ 2719 w 2815"/>
                <a:gd name="T71" fmla="*/ 1779 h 2096"/>
                <a:gd name="T72" fmla="*/ 2751 w 2815"/>
                <a:gd name="T73" fmla="*/ 1716 h 2096"/>
                <a:gd name="T74" fmla="*/ 2633 w 2815"/>
                <a:gd name="T75" fmla="*/ 1803 h 2096"/>
                <a:gd name="T76" fmla="*/ 2656 w 2815"/>
                <a:gd name="T77" fmla="*/ 1684 h 2096"/>
                <a:gd name="T78" fmla="*/ 2332 w 2815"/>
                <a:gd name="T79" fmla="*/ 1882 h 2096"/>
                <a:gd name="T80" fmla="*/ 2190 w 2815"/>
                <a:gd name="T81" fmla="*/ 1937 h 2096"/>
                <a:gd name="T82" fmla="*/ 2237 w 2815"/>
                <a:gd name="T83" fmla="*/ 1739 h 2096"/>
                <a:gd name="T84" fmla="*/ 2166 w 2815"/>
                <a:gd name="T85" fmla="*/ 1455 h 2096"/>
                <a:gd name="T86" fmla="*/ 2150 w 2815"/>
                <a:gd name="T87" fmla="*/ 1368 h 2096"/>
                <a:gd name="T88" fmla="*/ 2055 w 2815"/>
                <a:gd name="T89" fmla="*/ 664 h 2096"/>
                <a:gd name="T90" fmla="*/ 1969 w 2815"/>
                <a:gd name="T91" fmla="*/ 451 h 2096"/>
                <a:gd name="T92" fmla="*/ 1897 w 2815"/>
                <a:gd name="T93" fmla="*/ 198 h 2096"/>
                <a:gd name="T94" fmla="*/ 1123 w 2815"/>
                <a:gd name="T95" fmla="*/ 459 h 2096"/>
                <a:gd name="T96" fmla="*/ 980 w 2815"/>
                <a:gd name="T97" fmla="*/ 648 h 2096"/>
                <a:gd name="T98" fmla="*/ 1059 w 2815"/>
                <a:gd name="T99" fmla="*/ 672 h 2096"/>
                <a:gd name="T100" fmla="*/ 1091 w 2815"/>
                <a:gd name="T101" fmla="*/ 696 h 2096"/>
                <a:gd name="T102" fmla="*/ 1067 w 2815"/>
                <a:gd name="T103" fmla="*/ 814 h 2096"/>
                <a:gd name="T104" fmla="*/ 1044 w 2815"/>
                <a:gd name="T105" fmla="*/ 925 h 2096"/>
                <a:gd name="T106" fmla="*/ 965 w 2815"/>
                <a:gd name="T107" fmla="*/ 988 h 2096"/>
                <a:gd name="T108" fmla="*/ 862 w 2815"/>
                <a:gd name="T109" fmla="*/ 1091 h 2096"/>
                <a:gd name="T110" fmla="*/ 632 w 2815"/>
                <a:gd name="T111" fmla="*/ 1138 h 2096"/>
                <a:gd name="T112" fmla="*/ 206 w 2815"/>
                <a:gd name="T113" fmla="*/ 1202 h 2096"/>
                <a:gd name="T114" fmla="*/ 237 w 2815"/>
                <a:gd name="T115" fmla="*/ 1391 h 2096"/>
                <a:gd name="T116" fmla="*/ 261 w 2815"/>
                <a:gd name="T117" fmla="*/ 1431 h 2096"/>
                <a:gd name="T118" fmla="*/ 32 w 2815"/>
                <a:gd name="T119" fmla="*/ 1850 h 2096"/>
                <a:gd name="T120" fmla="*/ 1644 w 2815"/>
                <a:gd name="T121" fmla="*/ 1605 h 2096"/>
                <a:gd name="T122" fmla="*/ 1747 w 2815"/>
                <a:gd name="T123" fmla="*/ 1763 h 2096"/>
                <a:gd name="T124" fmla="*/ 2150 w 2815"/>
                <a:gd name="T125" fmla="*/ 1921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5" h="2096">
                  <a:moveTo>
                    <a:pt x="2150" y="2095"/>
                  </a:moveTo>
                  <a:lnTo>
                    <a:pt x="2150" y="2095"/>
                  </a:lnTo>
                  <a:lnTo>
                    <a:pt x="2150" y="2095"/>
                  </a:lnTo>
                  <a:cubicBezTo>
                    <a:pt x="2135" y="2095"/>
                    <a:pt x="2127" y="2087"/>
                    <a:pt x="2127" y="2079"/>
                  </a:cubicBezTo>
                  <a:cubicBezTo>
                    <a:pt x="2127" y="2071"/>
                    <a:pt x="2119" y="2071"/>
                    <a:pt x="2119" y="2064"/>
                  </a:cubicBezTo>
                  <a:cubicBezTo>
                    <a:pt x="2111" y="2064"/>
                    <a:pt x="2111" y="2064"/>
                    <a:pt x="2111" y="2064"/>
                  </a:cubicBezTo>
                  <a:lnTo>
                    <a:pt x="2111" y="2064"/>
                  </a:lnTo>
                  <a:cubicBezTo>
                    <a:pt x="2119" y="2048"/>
                    <a:pt x="2127" y="2024"/>
                    <a:pt x="2127" y="2016"/>
                  </a:cubicBezTo>
                  <a:cubicBezTo>
                    <a:pt x="2127" y="2008"/>
                    <a:pt x="2135" y="2008"/>
                    <a:pt x="2135" y="2000"/>
                  </a:cubicBezTo>
                  <a:cubicBezTo>
                    <a:pt x="2135" y="1977"/>
                    <a:pt x="2150" y="1937"/>
                    <a:pt x="2142" y="1921"/>
                  </a:cubicBezTo>
                  <a:cubicBezTo>
                    <a:pt x="2142" y="1905"/>
                    <a:pt x="2127" y="1897"/>
                    <a:pt x="2103" y="1897"/>
                  </a:cubicBezTo>
                  <a:cubicBezTo>
                    <a:pt x="2087" y="1890"/>
                    <a:pt x="1889" y="1850"/>
                    <a:pt x="1866" y="1818"/>
                  </a:cubicBezTo>
                  <a:cubicBezTo>
                    <a:pt x="1842" y="1795"/>
                    <a:pt x="1826" y="1787"/>
                    <a:pt x="1787" y="1771"/>
                  </a:cubicBezTo>
                  <a:cubicBezTo>
                    <a:pt x="1779" y="1771"/>
                    <a:pt x="1771" y="1771"/>
                    <a:pt x="1763" y="1771"/>
                  </a:cubicBezTo>
                  <a:cubicBezTo>
                    <a:pt x="1755" y="1771"/>
                    <a:pt x="1755" y="1771"/>
                    <a:pt x="1747" y="1771"/>
                  </a:cubicBezTo>
                  <a:lnTo>
                    <a:pt x="1739" y="1771"/>
                  </a:lnTo>
                  <a:cubicBezTo>
                    <a:pt x="1731" y="1771"/>
                    <a:pt x="1724" y="1771"/>
                    <a:pt x="1716" y="1755"/>
                  </a:cubicBezTo>
                  <a:cubicBezTo>
                    <a:pt x="1708" y="1747"/>
                    <a:pt x="1700" y="1724"/>
                    <a:pt x="1692" y="1708"/>
                  </a:cubicBezTo>
                  <a:cubicBezTo>
                    <a:pt x="1676" y="1668"/>
                    <a:pt x="1660" y="1613"/>
                    <a:pt x="1644" y="1613"/>
                  </a:cubicBezTo>
                  <a:lnTo>
                    <a:pt x="1644" y="1613"/>
                  </a:lnTo>
                  <a:cubicBezTo>
                    <a:pt x="1613" y="1613"/>
                    <a:pt x="1589" y="1613"/>
                    <a:pt x="1542" y="1573"/>
                  </a:cubicBezTo>
                  <a:cubicBezTo>
                    <a:pt x="1526" y="1558"/>
                    <a:pt x="1510" y="1558"/>
                    <a:pt x="1502" y="1558"/>
                  </a:cubicBezTo>
                  <a:cubicBezTo>
                    <a:pt x="1486" y="1558"/>
                    <a:pt x="1471" y="1565"/>
                    <a:pt x="1463" y="1565"/>
                  </a:cubicBezTo>
                  <a:cubicBezTo>
                    <a:pt x="1455" y="1573"/>
                    <a:pt x="1447" y="1573"/>
                    <a:pt x="1439" y="1581"/>
                  </a:cubicBezTo>
                  <a:cubicBezTo>
                    <a:pt x="1415" y="1589"/>
                    <a:pt x="87" y="1842"/>
                    <a:pt x="32" y="1858"/>
                  </a:cubicBezTo>
                  <a:cubicBezTo>
                    <a:pt x="24" y="1858"/>
                    <a:pt x="24" y="1858"/>
                    <a:pt x="24" y="1858"/>
                  </a:cubicBezTo>
                  <a:cubicBezTo>
                    <a:pt x="0" y="1739"/>
                    <a:pt x="0" y="1739"/>
                    <a:pt x="0" y="1739"/>
                  </a:cubicBezTo>
                  <a:lnTo>
                    <a:pt x="0" y="1739"/>
                  </a:lnTo>
                  <a:cubicBezTo>
                    <a:pt x="40" y="1700"/>
                    <a:pt x="79" y="1668"/>
                    <a:pt x="87" y="1653"/>
                  </a:cubicBezTo>
                  <a:cubicBezTo>
                    <a:pt x="103" y="1637"/>
                    <a:pt x="126" y="1613"/>
                    <a:pt x="150" y="1581"/>
                  </a:cubicBezTo>
                  <a:cubicBezTo>
                    <a:pt x="182" y="1542"/>
                    <a:pt x="214" y="1494"/>
                    <a:pt x="229" y="1486"/>
                  </a:cubicBezTo>
                  <a:cubicBezTo>
                    <a:pt x="245" y="1471"/>
                    <a:pt x="253" y="1447"/>
                    <a:pt x="261" y="1431"/>
                  </a:cubicBezTo>
                  <a:cubicBezTo>
                    <a:pt x="261" y="1423"/>
                    <a:pt x="261" y="1415"/>
                    <a:pt x="261" y="1415"/>
                  </a:cubicBezTo>
                  <a:cubicBezTo>
                    <a:pt x="261" y="1407"/>
                    <a:pt x="261" y="1407"/>
                    <a:pt x="261" y="1407"/>
                  </a:cubicBezTo>
                  <a:cubicBezTo>
                    <a:pt x="261" y="1400"/>
                    <a:pt x="253" y="1400"/>
                    <a:pt x="245" y="1400"/>
                  </a:cubicBezTo>
                  <a:cubicBezTo>
                    <a:pt x="237" y="1400"/>
                    <a:pt x="237" y="1407"/>
                    <a:pt x="229" y="1407"/>
                  </a:cubicBezTo>
                  <a:lnTo>
                    <a:pt x="229" y="1407"/>
                  </a:lnTo>
                  <a:lnTo>
                    <a:pt x="229" y="1407"/>
                  </a:lnTo>
                  <a:cubicBezTo>
                    <a:pt x="214" y="1384"/>
                    <a:pt x="182" y="1336"/>
                    <a:pt x="182" y="1313"/>
                  </a:cubicBezTo>
                  <a:lnTo>
                    <a:pt x="182" y="1313"/>
                  </a:lnTo>
                  <a:cubicBezTo>
                    <a:pt x="174" y="1289"/>
                    <a:pt x="166" y="1257"/>
                    <a:pt x="158" y="1225"/>
                  </a:cubicBezTo>
                  <a:lnTo>
                    <a:pt x="158" y="1225"/>
                  </a:lnTo>
                  <a:lnTo>
                    <a:pt x="158" y="1225"/>
                  </a:lnTo>
                  <a:cubicBezTo>
                    <a:pt x="174" y="1218"/>
                    <a:pt x="190" y="1202"/>
                    <a:pt x="206" y="1194"/>
                  </a:cubicBezTo>
                  <a:cubicBezTo>
                    <a:pt x="316" y="1107"/>
                    <a:pt x="474" y="1107"/>
                    <a:pt x="546" y="1099"/>
                  </a:cubicBezTo>
                  <a:cubicBezTo>
                    <a:pt x="561" y="1099"/>
                    <a:pt x="569" y="1099"/>
                    <a:pt x="577" y="1099"/>
                  </a:cubicBezTo>
                  <a:lnTo>
                    <a:pt x="585" y="1099"/>
                  </a:lnTo>
                  <a:cubicBezTo>
                    <a:pt x="601" y="1099"/>
                    <a:pt x="625" y="1115"/>
                    <a:pt x="641" y="1131"/>
                  </a:cubicBezTo>
                  <a:lnTo>
                    <a:pt x="641" y="1131"/>
                  </a:lnTo>
                  <a:cubicBezTo>
                    <a:pt x="656" y="1138"/>
                    <a:pt x="664" y="1138"/>
                    <a:pt x="680" y="1123"/>
                  </a:cubicBezTo>
                  <a:cubicBezTo>
                    <a:pt x="688" y="1115"/>
                    <a:pt x="704" y="1107"/>
                    <a:pt x="719" y="1099"/>
                  </a:cubicBezTo>
                  <a:cubicBezTo>
                    <a:pt x="727" y="1099"/>
                    <a:pt x="735" y="1091"/>
                    <a:pt x="743" y="1091"/>
                  </a:cubicBezTo>
                  <a:cubicBezTo>
                    <a:pt x="759" y="1083"/>
                    <a:pt x="791" y="1075"/>
                    <a:pt x="822" y="1075"/>
                  </a:cubicBezTo>
                  <a:cubicBezTo>
                    <a:pt x="838" y="1075"/>
                    <a:pt x="854" y="1075"/>
                    <a:pt x="862" y="1083"/>
                  </a:cubicBezTo>
                  <a:lnTo>
                    <a:pt x="870" y="1083"/>
                  </a:lnTo>
                  <a:cubicBezTo>
                    <a:pt x="870" y="1083"/>
                    <a:pt x="870" y="1083"/>
                    <a:pt x="878" y="1083"/>
                  </a:cubicBezTo>
                  <a:lnTo>
                    <a:pt x="878" y="1083"/>
                  </a:lnTo>
                  <a:cubicBezTo>
                    <a:pt x="878" y="1075"/>
                    <a:pt x="878" y="1075"/>
                    <a:pt x="885" y="1067"/>
                  </a:cubicBezTo>
                  <a:cubicBezTo>
                    <a:pt x="894" y="1060"/>
                    <a:pt x="909" y="1044"/>
                    <a:pt x="925" y="1028"/>
                  </a:cubicBezTo>
                  <a:cubicBezTo>
                    <a:pt x="949" y="1020"/>
                    <a:pt x="957" y="1004"/>
                    <a:pt x="957" y="988"/>
                  </a:cubicBezTo>
                  <a:cubicBezTo>
                    <a:pt x="965" y="973"/>
                    <a:pt x="980" y="965"/>
                    <a:pt x="988" y="965"/>
                  </a:cubicBezTo>
                  <a:lnTo>
                    <a:pt x="988" y="965"/>
                  </a:lnTo>
                  <a:cubicBezTo>
                    <a:pt x="996" y="965"/>
                    <a:pt x="1004" y="949"/>
                    <a:pt x="1012" y="933"/>
                  </a:cubicBezTo>
                  <a:cubicBezTo>
                    <a:pt x="1012" y="933"/>
                    <a:pt x="1012" y="933"/>
                    <a:pt x="1012" y="925"/>
                  </a:cubicBezTo>
                  <a:cubicBezTo>
                    <a:pt x="1020" y="917"/>
                    <a:pt x="1028" y="917"/>
                    <a:pt x="1036" y="917"/>
                  </a:cubicBezTo>
                  <a:lnTo>
                    <a:pt x="1044" y="917"/>
                  </a:lnTo>
                  <a:cubicBezTo>
                    <a:pt x="1052" y="917"/>
                    <a:pt x="1059" y="917"/>
                    <a:pt x="1059" y="917"/>
                  </a:cubicBezTo>
                  <a:cubicBezTo>
                    <a:pt x="1075" y="917"/>
                    <a:pt x="1075" y="909"/>
                    <a:pt x="1083" y="886"/>
                  </a:cubicBezTo>
                  <a:cubicBezTo>
                    <a:pt x="1083" y="886"/>
                    <a:pt x="1083" y="878"/>
                    <a:pt x="1083" y="870"/>
                  </a:cubicBezTo>
                  <a:cubicBezTo>
                    <a:pt x="1083" y="862"/>
                    <a:pt x="1083" y="846"/>
                    <a:pt x="1075" y="838"/>
                  </a:cubicBezTo>
                  <a:cubicBezTo>
                    <a:pt x="1067" y="830"/>
                    <a:pt x="1067" y="822"/>
                    <a:pt x="1067" y="814"/>
                  </a:cubicBezTo>
                  <a:cubicBezTo>
                    <a:pt x="1059" y="814"/>
                    <a:pt x="1059" y="807"/>
                    <a:pt x="1059" y="807"/>
                  </a:cubicBezTo>
                  <a:cubicBezTo>
                    <a:pt x="1052" y="791"/>
                    <a:pt x="1044" y="775"/>
                    <a:pt x="1044" y="759"/>
                  </a:cubicBezTo>
                  <a:cubicBezTo>
                    <a:pt x="1052" y="751"/>
                    <a:pt x="1052" y="743"/>
                    <a:pt x="1052" y="743"/>
                  </a:cubicBezTo>
                  <a:cubicBezTo>
                    <a:pt x="1052" y="735"/>
                    <a:pt x="1052" y="735"/>
                    <a:pt x="1052" y="735"/>
                  </a:cubicBezTo>
                  <a:lnTo>
                    <a:pt x="1052" y="727"/>
                  </a:lnTo>
                  <a:cubicBezTo>
                    <a:pt x="1059" y="712"/>
                    <a:pt x="1067" y="696"/>
                    <a:pt x="1083" y="696"/>
                  </a:cubicBezTo>
                  <a:cubicBezTo>
                    <a:pt x="1083" y="688"/>
                    <a:pt x="1091" y="688"/>
                    <a:pt x="1091" y="688"/>
                  </a:cubicBezTo>
                  <a:cubicBezTo>
                    <a:pt x="1091" y="680"/>
                    <a:pt x="1083" y="680"/>
                    <a:pt x="1075" y="680"/>
                  </a:cubicBezTo>
                  <a:cubicBezTo>
                    <a:pt x="1075" y="680"/>
                    <a:pt x="1067" y="680"/>
                    <a:pt x="1067" y="688"/>
                  </a:cubicBezTo>
                  <a:cubicBezTo>
                    <a:pt x="1059" y="688"/>
                    <a:pt x="1059" y="688"/>
                    <a:pt x="1052" y="688"/>
                  </a:cubicBezTo>
                  <a:lnTo>
                    <a:pt x="1052" y="688"/>
                  </a:lnTo>
                  <a:cubicBezTo>
                    <a:pt x="1044" y="688"/>
                    <a:pt x="1044" y="680"/>
                    <a:pt x="1052" y="672"/>
                  </a:cubicBezTo>
                  <a:cubicBezTo>
                    <a:pt x="1052" y="664"/>
                    <a:pt x="1052" y="664"/>
                    <a:pt x="1052" y="664"/>
                  </a:cubicBezTo>
                  <a:cubicBezTo>
                    <a:pt x="1044" y="664"/>
                    <a:pt x="1044" y="664"/>
                    <a:pt x="1044" y="664"/>
                  </a:cubicBezTo>
                  <a:cubicBezTo>
                    <a:pt x="1036" y="664"/>
                    <a:pt x="1028" y="664"/>
                    <a:pt x="1028" y="664"/>
                  </a:cubicBezTo>
                  <a:cubicBezTo>
                    <a:pt x="1020" y="672"/>
                    <a:pt x="1020" y="672"/>
                    <a:pt x="1012" y="672"/>
                  </a:cubicBezTo>
                  <a:cubicBezTo>
                    <a:pt x="996" y="672"/>
                    <a:pt x="972" y="664"/>
                    <a:pt x="972" y="648"/>
                  </a:cubicBezTo>
                  <a:cubicBezTo>
                    <a:pt x="972" y="633"/>
                    <a:pt x="1020" y="585"/>
                    <a:pt x="1036" y="569"/>
                  </a:cubicBezTo>
                  <a:cubicBezTo>
                    <a:pt x="1036" y="569"/>
                    <a:pt x="1036" y="569"/>
                    <a:pt x="1028" y="569"/>
                  </a:cubicBezTo>
                  <a:cubicBezTo>
                    <a:pt x="1020" y="569"/>
                    <a:pt x="1020" y="569"/>
                    <a:pt x="1020" y="569"/>
                  </a:cubicBezTo>
                  <a:cubicBezTo>
                    <a:pt x="1028" y="561"/>
                    <a:pt x="1028" y="561"/>
                    <a:pt x="1028" y="561"/>
                  </a:cubicBezTo>
                  <a:cubicBezTo>
                    <a:pt x="1036" y="561"/>
                    <a:pt x="1036" y="554"/>
                    <a:pt x="1044" y="554"/>
                  </a:cubicBezTo>
                  <a:cubicBezTo>
                    <a:pt x="1075" y="522"/>
                    <a:pt x="1115" y="483"/>
                    <a:pt x="1115" y="459"/>
                  </a:cubicBezTo>
                  <a:cubicBezTo>
                    <a:pt x="1115" y="411"/>
                    <a:pt x="1344" y="127"/>
                    <a:pt x="1384" y="119"/>
                  </a:cubicBezTo>
                  <a:cubicBezTo>
                    <a:pt x="1399" y="119"/>
                    <a:pt x="1629" y="63"/>
                    <a:pt x="1874" y="0"/>
                  </a:cubicBezTo>
                  <a:cubicBezTo>
                    <a:pt x="1882" y="0"/>
                    <a:pt x="1882" y="0"/>
                    <a:pt x="1882" y="0"/>
                  </a:cubicBezTo>
                  <a:cubicBezTo>
                    <a:pt x="1882" y="8"/>
                    <a:pt x="1882" y="8"/>
                    <a:pt x="1882" y="8"/>
                  </a:cubicBezTo>
                  <a:cubicBezTo>
                    <a:pt x="1882" y="56"/>
                    <a:pt x="1882" y="87"/>
                    <a:pt x="1889" y="103"/>
                  </a:cubicBezTo>
                  <a:cubicBezTo>
                    <a:pt x="1897" y="111"/>
                    <a:pt x="1897" y="127"/>
                    <a:pt x="1897" y="150"/>
                  </a:cubicBezTo>
                  <a:cubicBezTo>
                    <a:pt x="1897" y="166"/>
                    <a:pt x="1897" y="182"/>
                    <a:pt x="1905" y="190"/>
                  </a:cubicBezTo>
                  <a:cubicBezTo>
                    <a:pt x="1905" y="214"/>
                    <a:pt x="1921" y="221"/>
                    <a:pt x="1929" y="230"/>
                  </a:cubicBezTo>
                  <a:cubicBezTo>
                    <a:pt x="1929" y="237"/>
                    <a:pt x="1937" y="245"/>
                    <a:pt x="1945" y="253"/>
                  </a:cubicBezTo>
                  <a:cubicBezTo>
                    <a:pt x="1961" y="269"/>
                    <a:pt x="1976" y="332"/>
                    <a:pt x="1976" y="356"/>
                  </a:cubicBezTo>
                  <a:cubicBezTo>
                    <a:pt x="1976" y="372"/>
                    <a:pt x="1976" y="380"/>
                    <a:pt x="1969" y="396"/>
                  </a:cubicBezTo>
                  <a:cubicBezTo>
                    <a:pt x="1969" y="411"/>
                    <a:pt x="1961" y="427"/>
                    <a:pt x="1969" y="451"/>
                  </a:cubicBezTo>
                  <a:cubicBezTo>
                    <a:pt x="1984" y="483"/>
                    <a:pt x="2000" y="546"/>
                    <a:pt x="2000" y="577"/>
                  </a:cubicBezTo>
                  <a:cubicBezTo>
                    <a:pt x="2000" y="617"/>
                    <a:pt x="2008" y="664"/>
                    <a:pt x="2024" y="664"/>
                  </a:cubicBezTo>
                  <a:cubicBezTo>
                    <a:pt x="2032" y="664"/>
                    <a:pt x="2040" y="664"/>
                    <a:pt x="2048" y="656"/>
                  </a:cubicBezTo>
                  <a:cubicBezTo>
                    <a:pt x="2048" y="656"/>
                    <a:pt x="2048" y="656"/>
                    <a:pt x="2055" y="656"/>
                  </a:cubicBezTo>
                  <a:cubicBezTo>
                    <a:pt x="2064" y="656"/>
                    <a:pt x="2064" y="656"/>
                    <a:pt x="2071" y="664"/>
                  </a:cubicBezTo>
                  <a:cubicBezTo>
                    <a:pt x="2087" y="696"/>
                    <a:pt x="2103" y="767"/>
                    <a:pt x="2111" y="822"/>
                  </a:cubicBezTo>
                  <a:cubicBezTo>
                    <a:pt x="2119" y="838"/>
                    <a:pt x="2127" y="870"/>
                    <a:pt x="2135" y="901"/>
                  </a:cubicBezTo>
                  <a:cubicBezTo>
                    <a:pt x="2142" y="957"/>
                    <a:pt x="2166" y="1036"/>
                    <a:pt x="2166" y="1044"/>
                  </a:cubicBezTo>
                  <a:lnTo>
                    <a:pt x="2166" y="1044"/>
                  </a:lnTo>
                  <a:lnTo>
                    <a:pt x="2166" y="1044"/>
                  </a:lnTo>
                  <a:cubicBezTo>
                    <a:pt x="2158" y="1368"/>
                    <a:pt x="2158" y="1368"/>
                    <a:pt x="2158" y="1368"/>
                  </a:cubicBezTo>
                  <a:cubicBezTo>
                    <a:pt x="2158" y="1368"/>
                    <a:pt x="2158" y="1376"/>
                    <a:pt x="2166" y="1376"/>
                  </a:cubicBezTo>
                  <a:lnTo>
                    <a:pt x="2166" y="1376"/>
                  </a:lnTo>
                  <a:lnTo>
                    <a:pt x="2166" y="1376"/>
                  </a:lnTo>
                  <a:cubicBezTo>
                    <a:pt x="2166" y="1384"/>
                    <a:pt x="2166" y="1384"/>
                    <a:pt x="2174" y="1407"/>
                  </a:cubicBezTo>
                  <a:cubicBezTo>
                    <a:pt x="2174" y="1423"/>
                    <a:pt x="2174" y="1447"/>
                    <a:pt x="2174" y="1447"/>
                  </a:cubicBezTo>
                  <a:cubicBezTo>
                    <a:pt x="2174" y="1455"/>
                    <a:pt x="2174" y="1463"/>
                    <a:pt x="2182" y="1478"/>
                  </a:cubicBezTo>
                  <a:cubicBezTo>
                    <a:pt x="2182" y="1502"/>
                    <a:pt x="2190" y="1534"/>
                    <a:pt x="2198" y="1558"/>
                  </a:cubicBezTo>
                  <a:cubicBezTo>
                    <a:pt x="2222" y="1597"/>
                    <a:pt x="2229" y="1668"/>
                    <a:pt x="2229" y="1692"/>
                  </a:cubicBezTo>
                  <a:cubicBezTo>
                    <a:pt x="2229" y="1708"/>
                    <a:pt x="2237" y="1716"/>
                    <a:pt x="2237" y="1724"/>
                  </a:cubicBezTo>
                  <a:cubicBezTo>
                    <a:pt x="2245" y="1724"/>
                    <a:pt x="2245" y="1731"/>
                    <a:pt x="2245" y="1739"/>
                  </a:cubicBezTo>
                  <a:cubicBezTo>
                    <a:pt x="2253" y="1747"/>
                    <a:pt x="2261" y="1779"/>
                    <a:pt x="2237" y="1795"/>
                  </a:cubicBezTo>
                  <a:cubicBezTo>
                    <a:pt x="2222" y="1803"/>
                    <a:pt x="2206" y="1834"/>
                    <a:pt x="2206" y="1850"/>
                  </a:cubicBezTo>
                  <a:cubicBezTo>
                    <a:pt x="2206" y="1850"/>
                    <a:pt x="2206" y="1858"/>
                    <a:pt x="2237" y="1890"/>
                  </a:cubicBezTo>
                  <a:lnTo>
                    <a:pt x="2237" y="1890"/>
                  </a:lnTo>
                  <a:lnTo>
                    <a:pt x="2237" y="1890"/>
                  </a:lnTo>
                  <a:cubicBezTo>
                    <a:pt x="2229" y="1897"/>
                    <a:pt x="2214" y="1905"/>
                    <a:pt x="2206" y="1913"/>
                  </a:cubicBezTo>
                  <a:cubicBezTo>
                    <a:pt x="2198" y="1929"/>
                    <a:pt x="2198" y="1937"/>
                    <a:pt x="2198" y="1937"/>
                  </a:cubicBezTo>
                  <a:cubicBezTo>
                    <a:pt x="2198" y="1937"/>
                    <a:pt x="2198" y="1937"/>
                    <a:pt x="2206" y="1937"/>
                  </a:cubicBezTo>
                  <a:cubicBezTo>
                    <a:pt x="2206" y="1937"/>
                    <a:pt x="2214" y="1929"/>
                    <a:pt x="2229" y="1929"/>
                  </a:cubicBezTo>
                  <a:cubicBezTo>
                    <a:pt x="2237" y="1921"/>
                    <a:pt x="2245" y="1913"/>
                    <a:pt x="2261" y="1905"/>
                  </a:cubicBezTo>
                  <a:cubicBezTo>
                    <a:pt x="2277" y="1897"/>
                    <a:pt x="2285" y="1890"/>
                    <a:pt x="2308" y="1882"/>
                  </a:cubicBezTo>
                  <a:cubicBezTo>
                    <a:pt x="2316" y="1882"/>
                    <a:pt x="2324" y="1874"/>
                    <a:pt x="2332" y="1874"/>
                  </a:cubicBezTo>
                  <a:cubicBezTo>
                    <a:pt x="2356" y="1874"/>
                    <a:pt x="2380" y="1866"/>
                    <a:pt x="2388" y="1850"/>
                  </a:cubicBezTo>
                  <a:cubicBezTo>
                    <a:pt x="2403" y="1818"/>
                    <a:pt x="2435" y="1811"/>
                    <a:pt x="2467" y="1811"/>
                  </a:cubicBezTo>
                  <a:cubicBezTo>
                    <a:pt x="2490" y="1811"/>
                    <a:pt x="2538" y="1803"/>
                    <a:pt x="2569" y="1779"/>
                  </a:cubicBezTo>
                  <a:cubicBezTo>
                    <a:pt x="2609" y="1763"/>
                    <a:pt x="2641" y="1716"/>
                    <a:pt x="2648" y="1684"/>
                  </a:cubicBezTo>
                  <a:lnTo>
                    <a:pt x="2656" y="1676"/>
                  </a:lnTo>
                  <a:cubicBezTo>
                    <a:pt x="2664" y="1676"/>
                    <a:pt x="2664" y="1676"/>
                    <a:pt x="2664" y="1676"/>
                  </a:cubicBezTo>
                  <a:cubicBezTo>
                    <a:pt x="2672" y="1684"/>
                    <a:pt x="2672" y="1716"/>
                    <a:pt x="2664" y="1731"/>
                  </a:cubicBezTo>
                  <a:cubicBezTo>
                    <a:pt x="2656" y="1747"/>
                    <a:pt x="2648" y="1755"/>
                    <a:pt x="2648" y="1763"/>
                  </a:cubicBezTo>
                  <a:cubicBezTo>
                    <a:pt x="2641" y="1779"/>
                    <a:pt x="2625" y="1795"/>
                    <a:pt x="2633" y="1795"/>
                  </a:cubicBezTo>
                  <a:lnTo>
                    <a:pt x="2633" y="1795"/>
                  </a:lnTo>
                  <a:lnTo>
                    <a:pt x="2633" y="1795"/>
                  </a:lnTo>
                  <a:cubicBezTo>
                    <a:pt x="2641" y="1795"/>
                    <a:pt x="2680" y="1747"/>
                    <a:pt x="2688" y="1731"/>
                  </a:cubicBezTo>
                  <a:lnTo>
                    <a:pt x="2688" y="1731"/>
                  </a:lnTo>
                  <a:cubicBezTo>
                    <a:pt x="2688" y="1716"/>
                    <a:pt x="2696" y="1700"/>
                    <a:pt x="2712" y="1700"/>
                  </a:cubicBezTo>
                  <a:cubicBezTo>
                    <a:pt x="2719" y="1700"/>
                    <a:pt x="2728" y="1700"/>
                    <a:pt x="2735" y="1700"/>
                  </a:cubicBezTo>
                  <a:cubicBezTo>
                    <a:pt x="2735" y="1708"/>
                    <a:pt x="2743" y="1708"/>
                    <a:pt x="2751" y="1708"/>
                  </a:cubicBezTo>
                  <a:cubicBezTo>
                    <a:pt x="2759" y="1708"/>
                    <a:pt x="2767" y="1700"/>
                    <a:pt x="2775" y="1700"/>
                  </a:cubicBezTo>
                  <a:cubicBezTo>
                    <a:pt x="2783" y="1700"/>
                    <a:pt x="2791" y="1692"/>
                    <a:pt x="2799" y="1692"/>
                  </a:cubicBezTo>
                  <a:cubicBezTo>
                    <a:pt x="2799" y="1692"/>
                    <a:pt x="2807" y="1692"/>
                    <a:pt x="2807" y="1700"/>
                  </a:cubicBezTo>
                  <a:cubicBezTo>
                    <a:pt x="2807" y="1700"/>
                    <a:pt x="2807" y="1700"/>
                    <a:pt x="2814" y="1708"/>
                  </a:cubicBezTo>
                  <a:cubicBezTo>
                    <a:pt x="2814" y="1716"/>
                    <a:pt x="2791" y="1731"/>
                    <a:pt x="2751" y="1763"/>
                  </a:cubicBezTo>
                  <a:cubicBezTo>
                    <a:pt x="2743" y="1771"/>
                    <a:pt x="2735" y="1779"/>
                    <a:pt x="2728" y="1787"/>
                  </a:cubicBezTo>
                  <a:cubicBezTo>
                    <a:pt x="2719" y="1795"/>
                    <a:pt x="2712" y="1795"/>
                    <a:pt x="2704" y="1803"/>
                  </a:cubicBezTo>
                  <a:cubicBezTo>
                    <a:pt x="2688" y="1818"/>
                    <a:pt x="2672" y="1834"/>
                    <a:pt x="2609" y="1866"/>
                  </a:cubicBezTo>
                  <a:cubicBezTo>
                    <a:pt x="2577" y="1882"/>
                    <a:pt x="2546" y="1897"/>
                    <a:pt x="2514" y="1921"/>
                  </a:cubicBezTo>
                  <a:cubicBezTo>
                    <a:pt x="2482" y="1945"/>
                    <a:pt x="2451" y="1969"/>
                    <a:pt x="2411" y="1984"/>
                  </a:cubicBezTo>
                  <a:cubicBezTo>
                    <a:pt x="2380" y="2000"/>
                    <a:pt x="2340" y="2016"/>
                    <a:pt x="2308" y="2032"/>
                  </a:cubicBezTo>
                  <a:cubicBezTo>
                    <a:pt x="2253" y="2064"/>
                    <a:pt x="2198" y="2087"/>
                    <a:pt x="2166" y="2095"/>
                  </a:cubicBezTo>
                  <a:cubicBezTo>
                    <a:pt x="2166" y="2095"/>
                    <a:pt x="2158" y="2095"/>
                    <a:pt x="2150" y="2095"/>
                  </a:cubicBezTo>
                  <a:close/>
                  <a:moveTo>
                    <a:pt x="2119" y="2064"/>
                  </a:moveTo>
                  <a:lnTo>
                    <a:pt x="2119" y="2064"/>
                  </a:lnTo>
                  <a:cubicBezTo>
                    <a:pt x="2127" y="2064"/>
                    <a:pt x="2127" y="2071"/>
                    <a:pt x="2135" y="2079"/>
                  </a:cubicBezTo>
                  <a:cubicBezTo>
                    <a:pt x="2135" y="2079"/>
                    <a:pt x="2135" y="2087"/>
                    <a:pt x="2150" y="2087"/>
                  </a:cubicBezTo>
                  <a:lnTo>
                    <a:pt x="2150" y="2087"/>
                  </a:lnTo>
                  <a:cubicBezTo>
                    <a:pt x="2158" y="2087"/>
                    <a:pt x="2158" y="2087"/>
                    <a:pt x="2166" y="2087"/>
                  </a:cubicBezTo>
                  <a:cubicBezTo>
                    <a:pt x="2198" y="2079"/>
                    <a:pt x="2253" y="2055"/>
                    <a:pt x="2308" y="2024"/>
                  </a:cubicBezTo>
                  <a:cubicBezTo>
                    <a:pt x="2340" y="2008"/>
                    <a:pt x="2372" y="1992"/>
                    <a:pt x="2403" y="1977"/>
                  </a:cubicBezTo>
                  <a:cubicBezTo>
                    <a:pt x="2443" y="1961"/>
                    <a:pt x="2482" y="1937"/>
                    <a:pt x="2514" y="1913"/>
                  </a:cubicBezTo>
                  <a:cubicBezTo>
                    <a:pt x="2546" y="1890"/>
                    <a:pt x="2577" y="1874"/>
                    <a:pt x="2609" y="1858"/>
                  </a:cubicBezTo>
                  <a:cubicBezTo>
                    <a:pt x="2664" y="1834"/>
                    <a:pt x="2680" y="1818"/>
                    <a:pt x="2704" y="1795"/>
                  </a:cubicBezTo>
                  <a:cubicBezTo>
                    <a:pt x="2704" y="1795"/>
                    <a:pt x="2712" y="1787"/>
                    <a:pt x="2719" y="1779"/>
                  </a:cubicBezTo>
                  <a:cubicBezTo>
                    <a:pt x="2728" y="1771"/>
                    <a:pt x="2735" y="1763"/>
                    <a:pt x="2751" y="1755"/>
                  </a:cubicBezTo>
                  <a:cubicBezTo>
                    <a:pt x="2775" y="1739"/>
                    <a:pt x="2807" y="1716"/>
                    <a:pt x="2807" y="1708"/>
                  </a:cubicBezTo>
                  <a:cubicBezTo>
                    <a:pt x="2807" y="1700"/>
                    <a:pt x="2807" y="1700"/>
                    <a:pt x="2807" y="1700"/>
                  </a:cubicBezTo>
                  <a:cubicBezTo>
                    <a:pt x="2799" y="1700"/>
                    <a:pt x="2791" y="1700"/>
                    <a:pt x="2783" y="1708"/>
                  </a:cubicBezTo>
                  <a:cubicBezTo>
                    <a:pt x="2775" y="1708"/>
                    <a:pt x="2759" y="1716"/>
                    <a:pt x="2751" y="1716"/>
                  </a:cubicBezTo>
                  <a:cubicBezTo>
                    <a:pt x="2743" y="1716"/>
                    <a:pt x="2735" y="1708"/>
                    <a:pt x="2728" y="1708"/>
                  </a:cubicBezTo>
                  <a:cubicBezTo>
                    <a:pt x="2719" y="1708"/>
                    <a:pt x="2719" y="1700"/>
                    <a:pt x="2712" y="1700"/>
                  </a:cubicBezTo>
                  <a:cubicBezTo>
                    <a:pt x="2704" y="1700"/>
                    <a:pt x="2696" y="1716"/>
                    <a:pt x="2696" y="1731"/>
                  </a:cubicBezTo>
                  <a:lnTo>
                    <a:pt x="2696" y="1739"/>
                  </a:lnTo>
                  <a:cubicBezTo>
                    <a:pt x="2688" y="1747"/>
                    <a:pt x="2648" y="1803"/>
                    <a:pt x="2633" y="1803"/>
                  </a:cubicBezTo>
                  <a:lnTo>
                    <a:pt x="2625" y="1803"/>
                  </a:lnTo>
                  <a:cubicBezTo>
                    <a:pt x="2625" y="1803"/>
                    <a:pt x="2625" y="1803"/>
                    <a:pt x="2625" y="1795"/>
                  </a:cubicBezTo>
                  <a:cubicBezTo>
                    <a:pt x="2617" y="1787"/>
                    <a:pt x="2625" y="1779"/>
                    <a:pt x="2641" y="1763"/>
                  </a:cubicBezTo>
                  <a:cubicBezTo>
                    <a:pt x="2648" y="1747"/>
                    <a:pt x="2656" y="1739"/>
                    <a:pt x="2656" y="1731"/>
                  </a:cubicBezTo>
                  <a:cubicBezTo>
                    <a:pt x="2664" y="1716"/>
                    <a:pt x="2664" y="1692"/>
                    <a:pt x="2656" y="1684"/>
                  </a:cubicBezTo>
                  <a:cubicBezTo>
                    <a:pt x="2656" y="1684"/>
                    <a:pt x="2656" y="1684"/>
                    <a:pt x="2656" y="1692"/>
                  </a:cubicBezTo>
                  <a:cubicBezTo>
                    <a:pt x="2648" y="1716"/>
                    <a:pt x="2609" y="1771"/>
                    <a:pt x="2577" y="1787"/>
                  </a:cubicBezTo>
                  <a:cubicBezTo>
                    <a:pt x="2546" y="1811"/>
                    <a:pt x="2490" y="1811"/>
                    <a:pt x="2467" y="1818"/>
                  </a:cubicBezTo>
                  <a:cubicBezTo>
                    <a:pt x="2435" y="1818"/>
                    <a:pt x="2403" y="1826"/>
                    <a:pt x="2395" y="1850"/>
                  </a:cubicBezTo>
                  <a:cubicBezTo>
                    <a:pt x="2380" y="1874"/>
                    <a:pt x="2356" y="1882"/>
                    <a:pt x="2332" y="1882"/>
                  </a:cubicBezTo>
                  <a:cubicBezTo>
                    <a:pt x="2324" y="1882"/>
                    <a:pt x="2316" y="1890"/>
                    <a:pt x="2308" y="1890"/>
                  </a:cubicBezTo>
                  <a:cubicBezTo>
                    <a:pt x="2293" y="1890"/>
                    <a:pt x="2277" y="1905"/>
                    <a:pt x="2261" y="1913"/>
                  </a:cubicBezTo>
                  <a:cubicBezTo>
                    <a:pt x="2253" y="1921"/>
                    <a:pt x="2237" y="1929"/>
                    <a:pt x="2229" y="1937"/>
                  </a:cubicBezTo>
                  <a:cubicBezTo>
                    <a:pt x="2222" y="1937"/>
                    <a:pt x="2214" y="1945"/>
                    <a:pt x="2206" y="1945"/>
                  </a:cubicBezTo>
                  <a:cubicBezTo>
                    <a:pt x="2198" y="1945"/>
                    <a:pt x="2198" y="1937"/>
                    <a:pt x="2190" y="1937"/>
                  </a:cubicBezTo>
                  <a:cubicBezTo>
                    <a:pt x="2190" y="1929"/>
                    <a:pt x="2198" y="1921"/>
                    <a:pt x="2206" y="1913"/>
                  </a:cubicBezTo>
                  <a:cubicBezTo>
                    <a:pt x="2214" y="1905"/>
                    <a:pt x="2222" y="1897"/>
                    <a:pt x="2229" y="1890"/>
                  </a:cubicBezTo>
                  <a:cubicBezTo>
                    <a:pt x="2206" y="1874"/>
                    <a:pt x="2198" y="1858"/>
                    <a:pt x="2198" y="1850"/>
                  </a:cubicBezTo>
                  <a:cubicBezTo>
                    <a:pt x="2198" y="1834"/>
                    <a:pt x="2222" y="1803"/>
                    <a:pt x="2237" y="1787"/>
                  </a:cubicBezTo>
                  <a:cubicBezTo>
                    <a:pt x="2253" y="1779"/>
                    <a:pt x="2245" y="1747"/>
                    <a:pt x="2237" y="1739"/>
                  </a:cubicBezTo>
                  <a:cubicBezTo>
                    <a:pt x="2237" y="1731"/>
                    <a:pt x="2237" y="1731"/>
                    <a:pt x="2229" y="1724"/>
                  </a:cubicBezTo>
                  <a:cubicBezTo>
                    <a:pt x="2229" y="1716"/>
                    <a:pt x="2222" y="1708"/>
                    <a:pt x="2222" y="1692"/>
                  </a:cubicBezTo>
                  <a:cubicBezTo>
                    <a:pt x="2222" y="1676"/>
                    <a:pt x="2214" y="1605"/>
                    <a:pt x="2198" y="1565"/>
                  </a:cubicBezTo>
                  <a:cubicBezTo>
                    <a:pt x="2182" y="1534"/>
                    <a:pt x="2174" y="1502"/>
                    <a:pt x="2174" y="1478"/>
                  </a:cubicBezTo>
                  <a:cubicBezTo>
                    <a:pt x="2174" y="1463"/>
                    <a:pt x="2166" y="1455"/>
                    <a:pt x="2166" y="1455"/>
                  </a:cubicBezTo>
                  <a:cubicBezTo>
                    <a:pt x="2166" y="1455"/>
                    <a:pt x="2166" y="1439"/>
                    <a:pt x="2166" y="1407"/>
                  </a:cubicBezTo>
                  <a:cubicBezTo>
                    <a:pt x="2166" y="1391"/>
                    <a:pt x="2158" y="1384"/>
                    <a:pt x="2158" y="1384"/>
                  </a:cubicBezTo>
                  <a:cubicBezTo>
                    <a:pt x="2150" y="1376"/>
                    <a:pt x="2150" y="1368"/>
                    <a:pt x="2150" y="1368"/>
                  </a:cubicBezTo>
                  <a:lnTo>
                    <a:pt x="2150" y="1368"/>
                  </a:lnTo>
                  <a:lnTo>
                    <a:pt x="2150" y="1368"/>
                  </a:lnTo>
                  <a:cubicBezTo>
                    <a:pt x="2158" y="1044"/>
                    <a:pt x="2158" y="1044"/>
                    <a:pt x="2158" y="1044"/>
                  </a:cubicBezTo>
                  <a:cubicBezTo>
                    <a:pt x="2158" y="1036"/>
                    <a:pt x="2142" y="996"/>
                    <a:pt x="2127" y="901"/>
                  </a:cubicBezTo>
                  <a:cubicBezTo>
                    <a:pt x="2119" y="870"/>
                    <a:pt x="2111" y="838"/>
                    <a:pt x="2111" y="822"/>
                  </a:cubicBezTo>
                  <a:cubicBezTo>
                    <a:pt x="2087" y="743"/>
                    <a:pt x="2071" y="696"/>
                    <a:pt x="2064" y="672"/>
                  </a:cubicBezTo>
                  <a:cubicBezTo>
                    <a:pt x="2055" y="664"/>
                    <a:pt x="2055" y="664"/>
                    <a:pt x="2055" y="664"/>
                  </a:cubicBezTo>
                  <a:cubicBezTo>
                    <a:pt x="2055" y="664"/>
                    <a:pt x="2055" y="664"/>
                    <a:pt x="2048" y="664"/>
                  </a:cubicBezTo>
                  <a:cubicBezTo>
                    <a:pt x="2048" y="672"/>
                    <a:pt x="2040" y="672"/>
                    <a:pt x="2032" y="672"/>
                  </a:cubicBezTo>
                  <a:cubicBezTo>
                    <a:pt x="2024" y="672"/>
                    <a:pt x="2024" y="672"/>
                    <a:pt x="2024" y="672"/>
                  </a:cubicBezTo>
                  <a:cubicBezTo>
                    <a:pt x="2000" y="664"/>
                    <a:pt x="1992" y="609"/>
                    <a:pt x="1992" y="577"/>
                  </a:cubicBezTo>
                  <a:cubicBezTo>
                    <a:pt x="1992" y="554"/>
                    <a:pt x="1976" y="483"/>
                    <a:pt x="1969" y="451"/>
                  </a:cubicBezTo>
                  <a:cubicBezTo>
                    <a:pt x="1961" y="427"/>
                    <a:pt x="1961" y="411"/>
                    <a:pt x="1969" y="387"/>
                  </a:cubicBezTo>
                  <a:cubicBezTo>
                    <a:pt x="1969" y="380"/>
                    <a:pt x="1969" y="372"/>
                    <a:pt x="1969" y="364"/>
                  </a:cubicBezTo>
                  <a:cubicBezTo>
                    <a:pt x="1969" y="332"/>
                    <a:pt x="1953" y="277"/>
                    <a:pt x="1937" y="253"/>
                  </a:cubicBezTo>
                  <a:cubicBezTo>
                    <a:pt x="1937" y="245"/>
                    <a:pt x="1929" y="237"/>
                    <a:pt x="1921" y="237"/>
                  </a:cubicBezTo>
                  <a:cubicBezTo>
                    <a:pt x="1913" y="230"/>
                    <a:pt x="1905" y="221"/>
                    <a:pt x="1897" y="198"/>
                  </a:cubicBezTo>
                  <a:cubicBezTo>
                    <a:pt x="1889" y="182"/>
                    <a:pt x="1889" y="166"/>
                    <a:pt x="1889" y="150"/>
                  </a:cubicBezTo>
                  <a:cubicBezTo>
                    <a:pt x="1889" y="127"/>
                    <a:pt x="1889" y="111"/>
                    <a:pt x="1882" y="103"/>
                  </a:cubicBezTo>
                  <a:cubicBezTo>
                    <a:pt x="1874" y="95"/>
                    <a:pt x="1874" y="48"/>
                    <a:pt x="1874" y="8"/>
                  </a:cubicBezTo>
                  <a:cubicBezTo>
                    <a:pt x="1629" y="71"/>
                    <a:pt x="1399" y="119"/>
                    <a:pt x="1384" y="127"/>
                  </a:cubicBezTo>
                  <a:cubicBezTo>
                    <a:pt x="1344" y="135"/>
                    <a:pt x="1123" y="419"/>
                    <a:pt x="1123" y="459"/>
                  </a:cubicBezTo>
                  <a:cubicBezTo>
                    <a:pt x="1123" y="490"/>
                    <a:pt x="1083" y="522"/>
                    <a:pt x="1044" y="554"/>
                  </a:cubicBezTo>
                  <a:cubicBezTo>
                    <a:pt x="1044" y="561"/>
                    <a:pt x="1044" y="561"/>
                    <a:pt x="1036" y="561"/>
                  </a:cubicBezTo>
                  <a:cubicBezTo>
                    <a:pt x="1044" y="561"/>
                    <a:pt x="1044" y="569"/>
                    <a:pt x="1044" y="569"/>
                  </a:cubicBezTo>
                  <a:cubicBezTo>
                    <a:pt x="1052" y="569"/>
                    <a:pt x="1044" y="569"/>
                    <a:pt x="1044" y="577"/>
                  </a:cubicBezTo>
                  <a:cubicBezTo>
                    <a:pt x="1028" y="585"/>
                    <a:pt x="980" y="641"/>
                    <a:pt x="980" y="648"/>
                  </a:cubicBezTo>
                  <a:cubicBezTo>
                    <a:pt x="980" y="656"/>
                    <a:pt x="996" y="664"/>
                    <a:pt x="1012" y="664"/>
                  </a:cubicBezTo>
                  <a:cubicBezTo>
                    <a:pt x="1020" y="664"/>
                    <a:pt x="1020" y="664"/>
                    <a:pt x="1020" y="664"/>
                  </a:cubicBezTo>
                  <a:cubicBezTo>
                    <a:pt x="1028" y="656"/>
                    <a:pt x="1036" y="656"/>
                    <a:pt x="1044" y="656"/>
                  </a:cubicBezTo>
                  <a:lnTo>
                    <a:pt x="1052" y="656"/>
                  </a:lnTo>
                  <a:cubicBezTo>
                    <a:pt x="1059" y="664"/>
                    <a:pt x="1059" y="664"/>
                    <a:pt x="1059" y="672"/>
                  </a:cubicBezTo>
                  <a:cubicBezTo>
                    <a:pt x="1052" y="680"/>
                    <a:pt x="1052" y="680"/>
                    <a:pt x="1052" y="680"/>
                  </a:cubicBezTo>
                  <a:cubicBezTo>
                    <a:pt x="1052" y="680"/>
                    <a:pt x="1059" y="680"/>
                    <a:pt x="1067" y="680"/>
                  </a:cubicBezTo>
                  <a:cubicBezTo>
                    <a:pt x="1067" y="672"/>
                    <a:pt x="1075" y="672"/>
                    <a:pt x="1075" y="672"/>
                  </a:cubicBezTo>
                  <a:cubicBezTo>
                    <a:pt x="1091" y="672"/>
                    <a:pt x="1099" y="680"/>
                    <a:pt x="1099" y="688"/>
                  </a:cubicBezTo>
                  <a:cubicBezTo>
                    <a:pt x="1099" y="688"/>
                    <a:pt x="1099" y="696"/>
                    <a:pt x="1091" y="696"/>
                  </a:cubicBezTo>
                  <a:cubicBezTo>
                    <a:pt x="1067" y="704"/>
                    <a:pt x="1059" y="727"/>
                    <a:pt x="1059" y="735"/>
                  </a:cubicBezTo>
                  <a:lnTo>
                    <a:pt x="1059" y="743"/>
                  </a:lnTo>
                  <a:cubicBezTo>
                    <a:pt x="1059" y="751"/>
                    <a:pt x="1052" y="751"/>
                    <a:pt x="1052" y="767"/>
                  </a:cubicBezTo>
                  <a:cubicBezTo>
                    <a:pt x="1052" y="775"/>
                    <a:pt x="1059" y="791"/>
                    <a:pt x="1067" y="798"/>
                  </a:cubicBezTo>
                  <a:cubicBezTo>
                    <a:pt x="1067" y="807"/>
                    <a:pt x="1067" y="807"/>
                    <a:pt x="1067" y="814"/>
                  </a:cubicBezTo>
                  <a:cubicBezTo>
                    <a:pt x="1075" y="822"/>
                    <a:pt x="1075" y="830"/>
                    <a:pt x="1083" y="830"/>
                  </a:cubicBezTo>
                  <a:cubicBezTo>
                    <a:pt x="1083" y="846"/>
                    <a:pt x="1091" y="862"/>
                    <a:pt x="1091" y="878"/>
                  </a:cubicBezTo>
                  <a:cubicBezTo>
                    <a:pt x="1091" y="878"/>
                    <a:pt x="1091" y="886"/>
                    <a:pt x="1083" y="886"/>
                  </a:cubicBezTo>
                  <a:cubicBezTo>
                    <a:pt x="1083" y="909"/>
                    <a:pt x="1083" y="925"/>
                    <a:pt x="1059" y="925"/>
                  </a:cubicBezTo>
                  <a:cubicBezTo>
                    <a:pt x="1059" y="925"/>
                    <a:pt x="1052" y="925"/>
                    <a:pt x="1044" y="925"/>
                  </a:cubicBezTo>
                  <a:cubicBezTo>
                    <a:pt x="1036" y="925"/>
                    <a:pt x="1028" y="917"/>
                    <a:pt x="1020" y="933"/>
                  </a:cubicBezTo>
                  <a:cubicBezTo>
                    <a:pt x="1020" y="933"/>
                    <a:pt x="1020" y="933"/>
                    <a:pt x="1020" y="941"/>
                  </a:cubicBezTo>
                  <a:cubicBezTo>
                    <a:pt x="1012" y="957"/>
                    <a:pt x="1004" y="965"/>
                    <a:pt x="988" y="973"/>
                  </a:cubicBezTo>
                  <a:lnTo>
                    <a:pt x="988" y="973"/>
                  </a:lnTo>
                  <a:cubicBezTo>
                    <a:pt x="980" y="973"/>
                    <a:pt x="965" y="980"/>
                    <a:pt x="965" y="988"/>
                  </a:cubicBezTo>
                  <a:cubicBezTo>
                    <a:pt x="957" y="1004"/>
                    <a:pt x="949" y="1028"/>
                    <a:pt x="933" y="1036"/>
                  </a:cubicBezTo>
                  <a:cubicBezTo>
                    <a:pt x="909" y="1044"/>
                    <a:pt x="894" y="1060"/>
                    <a:pt x="885" y="1075"/>
                  </a:cubicBezTo>
                  <a:cubicBezTo>
                    <a:pt x="885" y="1075"/>
                    <a:pt x="885" y="1075"/>
                    <a:pt x="885" y="1083"/>
                  </a:cubicBezTo>
                  <a:cubicBezTo>
                    <a:pt x="885" y="1091"/>
                    <a:pt x="885" y="1099"/>
                    <a:pt x="870" y="1091"/>
                  </a:cubicBezTo>
                  <a:lnTo>
                    <a:pt x="862" y="1091"/>
                  </a:lnTo>
                  <a:cubicBezTo>
                    <a:pt x="846" y="1083"/>
                    <a:pt x="838" y="1083"/>
                    <a:pt x="822" y="1083"/>
                  </a:cubicBezTo>
                  <a:cubicBezTo>
                    <a:pt x="791" y="1083"/>
                    <a:pt x="759" y="1091"/>
                    <a:pt x="743" y="1099"/>
                  </a:cubicBezTo>
                  <a:cubicBezTo>
                    <a:pt x="743" y="1099"/>
                    <a:pt x="735" y="1107"/>
                    <a:pt x="727" y="1107"/>
                  </a:cubicBezTo>
                  <a:cubicBezTo>
                    <a:pt x="712" y="1115"/>
                    <a:pt x="696" y="1123"/>
                    <a:pt x="688" y="1131"/>
                  </a:cubicBezTo>
                  <a:cubicBezTo>
                    <a:pt x="672" y="1147"/>
                    <a:pt x="656" y="1147"/>
                    <a:pt x="632" y="1138"/>
                  </a:cubicBezTo>
                  <a:lnTo>
                    <a:pt x="632" y="1138"/>
                  </a:lnTo>
                  <a:cubicBezTo>
                    <a:pt x="617" y="1123"/>
                    <a:pt x="601" y="1107"/>
                    <a:pt x="585" y="1107"/>
                  </a:cubicBezTo>
                  <a:lnTo>
                    <a:pt x="577" y="1107"/>
                  </a:lnTo>
                  <a:cubicBezTo>
                    <a:pt x="577" y="1107"/>
                    <a:pt x="561" y="1107"/>
                    <a:pt x="546" y="1107"/>
                  </a:cubicBezTo>
                  <a:cubicBezTo>
                    <a:pt x="474" y="1115"/>
                    <a:pt x="316" y="1115"/>
                    <a:pt x="206" y="1202"/>
                  </a:cubicBezTo>
                  <a:cubicBezTo>
                    <a:pt x="190" y="1210"/>
                    <a:pt x="182" y="1218"/>
                    <a:pt x="166" y="1225"/>
                  </a:cubicBezTo>
                  <a:cubicBezTo>
                    <a:pt x="174" y="1257"/>
                    <a:pt x="182" y="1289"/>
                    <a:pt x="190" y="1305"/>
                  </a:cubicBezTo>
                  <a:cubicBezTo>
                    <a:pt x="190" y="1313"/>
                    <a:pt x="190" y="1313"/>
                    <a:pt x="190" y="1313"/>
                  </a:cubicBezTo>
                  <a:cubicBezTo>
                    <a:pt x="190" y="1336"/>
                    <a:pt x="221" y="1376"/>
                    <a:pt x="229" y="1400"/>
                  </a:cubicBezTo>
                  <a:cubicBezTo>
                    <a:pt x="237" y="1400"/>
                    <a:pt x="237" y="1400"/>
                    <a:pt x="237" y="1391"/>
                  </a:cubicBezTo>
                  <a:lnTo>
                    <a:pt x="237" y="1391"/>
                  </a:lnTo>
                  <a:lnTo>
                    <a:pt x="237" y="1391"/>
                  </a:lnTo>
                  <a:cubicBezTo>
                    <a:pt x="245" y="1391"/>
                    <a:pt x="261" y="1391"/>
                    <a:pt x="269" y="1400"/>
                  </a:cubicBezTo>
                  <a:cubicBezTo>
                    <a:pt x="269" y="1407"/>
                    <a:pt x="269" y="1407"/>
                    <a:pt x="269" y="1415"/>
                  </a:cubicBezTo>
                  <a:cubicBezTo>
                    <a:pt x="269" y="1415"/>
                    <a:pt x="269" y="1423"/>
                    <a:pt x="261" y="1431"/>
                  </a:cubicBezTo>
                  <a:cubicBezTo>
                    <a:pt x="261" y="1447"/>
                    <a:pt x="253" y="1478"/>
                    <a:pt x="237" y="1486"/>
                  </a:cubicBezTo>
                  <a:cubicBezTo>
                    <a:pt x="221" y="1502"/>
                    <a:pt x="182" y="1542"/>
                    <a:pt x="150" y="1589"/>
                  </a:cubicBezTo>
                  <a:cubicBezTo>
                    <a:pt x="126" y="1613"/>
                    <a:pt x="111" y="1644"/>
                    <a:pt x="95" y="1660"/>
                  </a:cubicBezTo>
                  <a:cubicBezTo>
                    <a:pt x="79" y="1676"/>
                    <a:pt x="48" y="1708"/>
                    <a:pt x="8" y="1739"/>
                  </a:cubicBezTo>
                  <a:cubicBezTo>
                    <a:pt x="32" y="1850"/>
                    <a:pt x="32" y="1850"/>
                    <a:pt x="32" y="1850"/>
                  </a:cubicBezTo>
                  <a:cubicBezTo>
                    <a:pt x="111" y="1834"/>
                    <a:pt x="1415" y="1581"/>
                    <a:pt x="1439" y="1573"/>
                  </a:cubicBezTo>
                  <a:cubicBezTo>
                    <a:pt x="1447" y="1573"/>
                    <a:pt x="1455" y="1565"/>
                    <a:pt x="1455" y="1565"/>
                  </a:cubicBezTo>
                  <a:cubicBezTo>
                    <a:pt x="1471" y="1558"/>
                    <a:pt x="1486" y="1550"/>
                    <a:pt x="1502" y="1550"/>
                  </a:cubicBezTo>
                  <a:cubicBezTo>
                    <a:pt x="1510" y="1550"/>
                    <a:pt x="1526" y="1558"/>
                    <a:pt x="1542" y="1565"/>
                  </a:cubicBezTo>
                  <a:cubicBezTo>
                    <a:pt x="1589" y="1605"/>
                    <a:pt x="1613" y="1605"/>
                    <a:pt x="1644" y="1605"/>
                  </a:cubicBezTo>
                  <a:lnTo>
                    <a:pt x="1644" y="1605"/>
                  </a:lnTo>
                  <a:cubicBezTo>
                    <a:pt x="1668" y="1605"/>
                    <a:pt x="1684" y="1653"/>
                    <a:pt x="1700" y="1700"/>
                  </a:cubicBezTo>
                  <a:cubicBezTo>
                    <a:pt x="1708" y="1724"/>
                    <a:pt x="1716" y="1739"/>
                    <a:pt x="1724" y="1755"/>
                  </a:cubicBezTo>
                  <a:cubicBezTo>
                    <a:pt x="1731" y="1763"/>
                    <a:pt x="1731" y="1763"/>
                    <a:pt x="1739" y="1763"/>
                  </a:cubicBezTo>
                  <a:cubicBezTo>
                    <a:pt x="1739" y="1763"/>
                    <a:pt x="1739" y="1763"/>
                    <a:pt x="1747" y="1763"/>
                  </a:cubicBezTo>
                  <a:cubicBezTo>
                    <a:pt x="1747" y="1763"/>
                    <a:pt x="1755" y="1763"/>
                    <a:pt x="1763" y="1763"/>
                  </a:cubicBezTo>
                  <a:cubicBezTo>
                    <a:pt x="1771" y="1763"/>
                    <a:pt x="1779" y="1763"/>
                    <a:pt x="1787" y="1763"/>
                  </a:cubicBezTo>
                  <a:cubicBezTo>
                    <a:pt x="1826" y="1779"/>
                    <a:pt x="1842" y="1787"/>
                    <a:pt x="1874" y="1811"/>
                  </a:cubicBezTo>
                  <a:cubicBezTo>
                    <a:pt x="1897" y="1842"/>
                    <a:pt x="2079" y="1882"/>
                    <a:pt x="2103" y="1890"/>
                  </a:cubicBezTo>
                  <a:cubicBezTo>
                    <a:pt x="2127" y="1890"/>
                    <a:pt x="2142" y="1905"/>
                    <a:pt x="2150" y="1921"/>
                  </a:cubicBezTo>
                  <a:cubicBezTo>
                    <a:pt x="2158" y="1929"/>
                    <a:pt x="2150" y="1969"/>
                    <a:pt x="2142" y="2000"/>
                  </a:cubicBezTo>
                  <a:cubicBezTo>
                    <a:pt x="2135" y="2008"/>
                    <a:pt x="2135" y="2008"/>
                    <a:pt x="2135" y="2016"/>
                  </a:cubicBezTo>
                  <a:cubicBezTo>
                    <a:pt x="2135" y="2024"/>
                    <a:pt x="2127" y="2048"/>
                    <a:pt x="2119" y="2064"/>
                  </a:cubicBezTo>
                  <a:close/>
                </a:path>
              </a:pathLst>
            </a:custGeom>
            <a:grpFill/>
            <a:ln>
              <a:solidFill>
                <a:schemeClr val="bg1">
                  <a:lumMod val="95000"/>
                </a:schemeClr>
              </a:solidFill>
            </a:ln>
            <a:effectLst/>
          </p:spPr>
          <p:txBody>
            <a:bodyPr wrap="none" anchor="ctr"/>
            <a:lstStyle/>
            <a:p>
              <a:endParaRPr lang="en-US" sz="900"/>
            </a:p>
          </p:txBody>
        </p:sp>
        <p:sp>
          <p:nvSpPr>
            <p:cNvPr id="101" name="Freeform 769"/>
            <p:cNvSpPr>
              <a:spLocks noChangeArrowheads="1"/>
            </p:cNvSpPr>
            <p:nvPr/>
          </p:nvSpPr>
          <p:spPr bwMode="auto">
            <a:xfrm>
              <a:off x="16214509" y="5108430"/>
              <a:ext cx="294551" cy="598381"/>
            </a:xfrm>
            <a:custGeom>
              <a:avLst/>
              <a:gdLst>
                <a:gd name="T0" fmla="*/ 450 w 562"/>
                <a:gd name="T1" fmla="*/ 371 h 1139"/>
                <a:gd name="T2" fmla="*/ 450 w 562"/>
                <a:gd name="T3" fmla="*/ 371 h 1139"/>
                <a:gd name="T4" fmla="*/ 387 w 562"/>
                <a:gd name="T5" fmla="*/ 332 h 1139"/>
                <a:gd name="T6" fmla="*/ 427 w 562"/>
                <a:gd name="T7" fmla="*/ 269 h 1139"/>
                <a:gd name="T8" fmla="*/ 427 w 562"/>
                <a:gd name="T9" fmla="*/ 269 h 1139"/>
                <a:gd name="T10" fmla="*/ 443 w 562"/>
                <a:gd name="T11" fmla="*/ 221 h 1139"/>
                <a:gd name="T12" fmla="*/ 458 w 562"/>
                <a:gd name="T13" fmla="*/ 126 h 1139"/>
                <a:gd name="T14" fmla="*/ 411 w 562"/>
                <a:gd name="T15" fmla="*/ 95 h 1139"/>
                <a:gd name="T16" fmla="*/ 174 w 562"/>
                <a:gd name="T17" fmla="*/ 23 h 1139"/>
                <a:gd name="T18" fmla="*/ 150 w 562"/>
                <a:gd name="T19" fmla="*/ 0 h 1139"/>
                <a:gd name="T20" fmla="*/ 95 w 562"/>
                <a:gd name="T21" fmla="*/ 63 h 1139"/>
                <a:gd name="T22" fmla="*/ 87 w 562"/>
                <a:gd name="T23" fmla="*/ 134 h 1139"/>
                <a:gd name="T24" fmla="*/ 39 w 562"/>
                <a:gd name="T25" fmla="*/ 245 h 1139"/>
                <a:gd name="T26" fmla="*/ 79 w 562"/>
                <a:gd name="T27" fmla="*/ 269 h 1139"/>
                <a:gd name="T28" fmla="*/ 55 w 562"/>
                <a:gd name="T29" fmla="*/ 316 h 1139"/>
                <a:gd name="T30" fmla="*/ 39 w 562"/>
                <a:gd name="T31" fmla="*/ 371 h 1139"/>
                <a:gd name="T32" fmla="*/ 245 w 562"/>
                <a:gd name="T33" fmla="*/ 545 h 1139"/>
                <a:gd name="T34" fmla="*/ 190 w 562"/>
                <a:gd name="T35" fmla="*/ 616 h 1139"/>
                <a:gd name="T36" fmla="*/ 158 w 562"/>
                <a:gd name="T37" fmla="*/ 703 h 1139"/>
                <a:gd name="T38" fmla="*/ 110 w 562"/>
                <a:gd name="T39" fmla="*/ 751 h 1139"/>
                <a:gd name="T40" fmla="*/ 47 w 562"/>
                <a:gd name="T41" fmla="*/ 846 h 1139"/>
                <a:gd name="T42" fmla="*/ 87 w 562"/>
                <a:gd name="T43" fmla="*/ 964 h 1139"/>
                <a:gd name="T44" fmla="*/ 110 w 562"/>
                <a:gd name="T45" fmla="*/ 972 h 1139"/>
                <a:gd name="T46" fmla="*/ 158 w 562"/>
                <a:gd name="T47" fmla="*/ 1019 h 1139"/>
                <a:gd name="T48" fmla="*/ 253 w 562"/>
                <a:gd name="T49" fmla="*/ 1035 h 1139"/>
                <a:gd name="T50" fmla="*/ 284 w 562"/>
                <a:gd name="T51" fmla="*/ 1043 h 1139"/>
                <a:gd name="T52" fmla="*/ 316 w 562"/>
                <a:gd name="T53" fmla="*/ 1083 h 1139"/>
                <a:gd name="T54" fmla="*/ 316 w 562"/>
                <a:gd name="T55" fmla="*/ 1138 h 1139"/>
                <a:gd name="T56" fmla="*/ 363 w 562"/>
                <a:gd name="T57" fmla="*/ 1106 h 1139"/>
                <a:gd name="T58" fmla="*/ 411 w 562"/>
                <a:gd name="T59" fmla="*/ 1035 h 1139"/>
                <a:gd name="T60" fmla="*/ 419 w 562"/>
                <a:gd name="T61" fmla="*/ 940 h 1139"/>
                <a:gd name="T62" fmla="*/ 458 w 562"/>
                <a:gd name="T63" fmla="*/ 853 h 1139"/>
                <a:gd name="T64" fmla="*/ 482 w 562"/>
                <a:gd name="T65" fmla="*/ 782 h 1139"/>
                <a:gd name="T66" fmla="*/ 514 w 562"/>
                <a:gd name="T67" fmla="*/ 513 h 1139"/>
                <a:gd name="T68" fmla="*/ 450 w 562"/>
                <a:gd name="T69" fmla="*/ 371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2" h="1139">
                  <a:moveTo>
                    <a:pt x="450" y="371"/>
                  </a:moveTo>
                  <a:lnTo>
                    <a:pt x="450" y="371"/>
                  </a:lnTo>
                  <a:cubicBezTo>
                    <a:pt x="340" y="387"/>
                    <a:pt x="387" y="371"/>
                    <a:pt x="387" y="332"/>
                  </a:cubicBezTo>
                  <a:cubicBezTo>
                    <a:pt x="387" y="300"/>
                    <a:pt x="403" y="260"/>
                    <a:pt x="427" y="269"/>
                  </a:cubicBezTo>
                  <a:lnTo>
                    <a:pt x="427" y="269"/>
                  </a:lnTo>
                  <a:cubicBezTo>
                    <a:pt x="427" y="253"/>
                    <a:pt x="435" y="229"/>
                    <a:pt x="443" y="221"/>
                  </a:cubicBezTo>
                  <a:cubicBezTo>
                    <a:pt x="443" y="205"/>
                    <a:pt x="466" y="142"/>
                    <a:pt x="458" y="126"/>
                  </a:cubicBezTo>
                  <a:cubicBezTo>
                    <a:pt x="450" y="110"/>
                    <a:pt x="435" y="102"/>
                    <a:pt x="411" y="95"/>
                  </a:cubicBezTo>
                  <a:cubicBezTo>
                    <a:pt x="387" y="95"/>
                    <a:pt x="197" y="47"/>
                    <a:pt x="174" y="23"/>
                  </a:cubicBezTo>
                  <a:cubicBezTo>
                    <a:pt x="166" y="8"/>
                    <a:pt x="158" y="0"/>
                    <a:pt x="150" y="0"/>
                  </a:cubicBezTo>
                  <a:cubicBezTo>
                    <a:pt x="134" y="8"/>
                    <a:pt x="95" y="55"/>
                    <a:pt x="95" y="63"/>
                  </a:cubicBezTo>
                  <a:cubicBezTo>
                    <a:pt x="95" y="79"/>
                    <a:pt x="103" y="126"/>
                    <a:pt x="87" y="134"/>
                  </a:cubicBezTo>
                  <a:cubicBezTo>
                    <a:pt x="63" y="150"/>
                    <a:pt x="0" y="229"/>
                    <a:pt x="39" y="245"/>
                  </a:cubicBezTo>
                  <a:cubicBezTo>
                    <a:pt x="71" y="260"/>
                    <a:pt x="79" y="245"/>
                    <a:pt x="79" y="269"/>
                  </a:cubicBezTo>
                  <a:cubicBezTo>
                    <a:pt x="79" y="284"/>
                    <a:pt x="71" y="300"/>
                    <a:pt x="55" y="316"/>
                  </a:cubicBezTo>
                  <a:cubicBezTo>
                    <a:pt x="39" y="324"/>
                    <a:pt x="32" y="363"/>
                    <a:pt x="39" y="371"/>
                  </a:cubicBezTo>
                  <a:cubicBezTo>
                    <a:pt x="55" y="387"/>
                    <a:pt x="237" y="537"/>
                    <a:pt x="245" y="545"/>
                  </a:cubicBezTo>
                  <a:cubicBezTo>
                    <a:pt x="245" y="545"/>
                    <a:pt x="205" y="600"/>
                    <a:pt x="190" y="616"/>
                  </a:cubicBezTo>
                  <a:cubicBezTo>
                    <a:pt x="174" y="640"/>
                    <a:pt x="174" y="680"/>
                    <a:pt x="158" y="703"/>
                  </a:cubicBezTo>
                  <a:cubicBezTo>
                    <a:pt x="150" y="735"/>
                    <a:pt x="134" y="743"/>
                    <a:pt x="110" y="751"/>
                  </a:cubicBezTo>
                  <a:cubicBezTo>
                    <a:pt x="87" y="759"/>
                    <a:pt x="39" y="798"/>
                    <a:pt x="47" y="846"/>
                  </a:cubicBezTo>
                  <a:cubicBezTo>
                    <a:pt x="47" y="877"/>
                    <a:pt x="63" y="925"/>
                    <a:pt x="87" y="964"/>
                  </a:cubicBezTo>
                  <a:cubicBezTo>
                    <a:pt x="95" y="956"/>
                    <a:pt x="87" y="940"/>
                    <a:pt x="110" y="972"/>
                  </a:cubicBezTo>
                  <a:cubicBezTo>
                    <a:pt x="142" y="1004"/>
                    <a:pt x="87" y="996"/>
                    <a:pt x="158" y="1019"/>
                  </a:cubicBezTo>
                  <a:cubicBezTo>
                    <a:pt x="237" y="1051"/>
                    <a:pt x="229" y="1043"/>
                    <a:pt x="253" y="1035"/>
                  </a:cubicBezTo>
                  <a:cubicBezTo>
                    <a:pt x="277" y="1027"/>
                    <a:pt x="284" y="1012"/>
                    <a:pt x="284" y="1043"/>
                  </a:cubicBezTo>
                  <a:cubicBezTo>
                    <a:pt x="292" y="1075"/>
                    <a:pt x="340" y="1035"/>
                    <a:pt x="316" y="1083"/>
                  </a:cubicBezTo>
                  <a:cubicBezTo>
                    <a:pt x="292" y="1122"/>
                    <a:pt x="277" y="1138"/>
                    <a:pt x="316" y="1138"/>
                  </a:cubicBezTo>
                  <a:cubicBezTo>
                    <a:pt x="348" y="1130"/>
                    <a:pt x="356" y="1130"/>
                    <a:pt x="363" y="1106"/>
                  </a:cubicBezTo>
                  <a:cubicBezTo>
                    <a:pt x="379" y="1083"/>
                    <a:pt x="403" y="1075"/>
                    <a:pt x="411" y="1035"/>
                  </a:cubicBezTo>
                  <a:cubicBezTo>
                    <a:pt x="419" y="1004"/>
                    <a:pt x="395" y="972"/>
                    <a:pt x="419" y="940"/>
                  </a:cubicBezTo>
                  <a:cubicBezTo>
                    <a:pt x="443" y="909"/>
                    <a:pt x="450" y="893"/>
                    <a:pt x="458" y="853"/>
                  </a:cubicBezTo>
                  <a:cubicBezTo>
                    <a:pt x="474" y="814"/>
                    <a:pt x="450" y="798"/>
                    <a:pt x="482" y="782"/>
                  </a:cubicBezTo>
                  <a:cubicBezTo>
                    <a:pt x="514" y="766"/>
                    <a:pt x="522" y="561"/>
                    <a:pt x="514" y="513"/>
                  </a:cubicBezTo>
                  <a:cubicBezTo>
                    <a:pt x="506" y="458"/>
                    <a:pt x="561" y="348"/>
                    <a:pt x="450" y="371"/>
                  </a:cubicBezTo>
                </a:path>
              </a:pathLst>
            </a:custGeom>
            <a:grpFill/>
            <a:ln>
              <a:solidFill>
                <a:schemeClr val="bg1">
                  <a:lumMod val="95000"/>
                </a:schemeClr>
              </a:solidFill>
            </a:ln>
            <a:effectLst/>
          </p:spPr>
          <p:txBody>
            <a:bodyPr wrap="none" anchor="ctr"/>
            <a:lstStyle/>
            <a:p>
              <a:endParaRPr lang="en-US" sz="900"/>
            </a:p>
          </p:txBody>
        </p:sp>
        <p:sp>
          <p:nvSpPr>
            <p:cNvPr id="102" name="Freeform 770"/>
            <p:cNvSpPr>
              <a:spLocks noChangeArrowheads="1"/>
            </p:cNvSpPr>
            <p:nvPr/>
          </p:nvSpPr>
          <p:spPr bwMode="auto">
            <a:xfrm>
              <a:off x="16221466" y="5103792"/>
              <a:ext cx="271359" cy="603020"/>
            </a:xfrm>
            <a:custGeom>
              <a:avLst/>
              <a:gdLst>
                <a:gd name="T0" fmla="*/ 276 w 515"/>
                <a:gd name="T1" fmla="*/ 1138 h 1147"/>
                <a:gd name="T2" fmla="*/ 300 w 515"/>
                <a:gd name="T3" fmla="*/ 1067 h 1147"/>
                <a:gd name="T4" fmla="*/ 261 w 515"/>
                <a:gd name="T5" fmla="*/ 1035 h 1147"/>
                <a:gd name="T6" fmla="*/ 229 w 515"/>
                <a:gd name="T7" fmla="*/ 1051 h 1147"/>
                <a:gd name="T8" fmla="*/ 103 w 515"/>
                <a:gd name="T9" fmla="*/ 1004 h 1147"/>
                <a:gd name="T10" fmla="*/ 71 w 515"/>
                <a:gd name="T11" fmla="*/ 972 h 1147"/>
                <a:gd name="T12" fmla="*/ 23 w 515"/>
                <a:gd name="T13" fmla="*/ 854 h 1147"/>
                <a:gd name="T14" fmla="*/ 150 w 515"/>
                <a:gd name="T15" fmla="*/ 680 h 1147"/>
                <a:gd name="T16" fmla="*/ 79 w 515"/>
                <a:gd name="T17" fmla="*/ 427 h 1147"/>
                <a:gd name="T18" fmla="*/ 39 w 515"/>
                <a:gd name="T19" fmla="*/ 316 h 1147"/>
                <a:gd name="T20" fmla="*/ 47 w 515"/>
                <a:gd name="T21" fmla="*/ 261 h 1147"/>
                <a:gd name="T22" fmla="*/ 63 w 515"/>
                <a:gd name="T23" fmla="*/ 142 h 1147"/>
                <a:gd name="T24" fmla="*/ 126 w 515"/>
                <a:gd name="T25" fmla="*/ 0 h 1147"/>
                <a:gd name="T26" fmla="*/ 166 w 515"/>
                <a:gd name="T27" fmla="*/ 24 h 1147"/>
                <a:gd name="T28" fmla="*/ 434 w 515"/>
                <a:gd name="T29" fmla="*/ 213 h 1147"/>
                <a:gd name="T30" fmla="*/ 411 w 515"/>
                <a:gd name="T31" fmla="*/ 284 h 1147"/>
                <a:gd name="T32" fmla="*/ 379 w 515"/>
                <a:gd name="T33" fmla="*/ 340 h 1147"/>
                <a:gd name="T34" fmla="*/ 379 w 515"/>
                <a:gd name="T35" fmla="*/ 379 h 1147"/>
                <a:gd name="T36" fmla="*/ 506 w 515"/>
                <a:gd name="T37" fmla="*/ 466 h 1147"/>
                <a:gd name="T38" fmla="*/ 450 w 515"/>
                <a:gd name="T39" fmla="*/ 830 h 1147"/>
                <a:gd name="T40" fmla="*/ 395 w 515"/>
                <a:gd name="T41" fmla="*/ 1004 h 1147"/>
                <a:gd name="T42" fmla="*/ 356 w 515"/>
                <a:gd name="T43" fmla="*/ 1114 h 1147"/>
                <a:gd name="T44" fmla="*/ 261 w 515"/>
                <a:gd name="T45" fmla="*/ 1027 h 1147"/>
                <a:gd name="T46" fmla="*/ 292 w 515"/>
                <a:gd name="T47" fmla="*/ 1059 h 1147"/>
                <a:gd name="T48" fmla="*/ 292 w 515"/>
                <a:gd name="T49" fmla="*/ 1114 h 1147"/>
                <a:gd name="T50" fmla="*/ 300 w 515"/>
                <a:gd name="T51" fmla="*/ 1138 h 1147"/>
                <a:gd name="T52" fmla="*/ 387 w 515"/>
                <a:gd name="T53" fmla="*/ 1043 h 1147"/>
                <a:gd name="T54" fmla="*/ 442 w 515"/>
                <a:gd name="T55" fmla="*/ 861 h 1147"/>
                <a:gd name="T56" fmla="*/ 498 w 515"/>
                <a:gd name="T57" fmla="*/ 521 h 1147"/>
                <a:gd name="T58" fmla="*/ 434 w 515"/>
                <a:gd name="T59" fmla="*/ 379 h 1147"/>
                <a:gd name="T60" fmla="*/ 363 w 515"/>
                <a:gd name="T61" fmla="*/ 363 h 1147"/>
                <a:gd name="T62" fmla="*/ 411 w 515"/>
                <a:gd name="T63" fmla="*/ 268 h 1147"/>
                <a:gd name="T64" fmla="*/ 434 w 515"/>
                <a:gd name="T65" fmla="*/ 134 h 1147"/>
                <a:gd name="T66" fmla="*/ 134 w 515"/>
                <a:gd name="T67" fmla="*/ 8 h 1147"/>
                <a:gd name="T68" fmla="*/ 71 w 515"/>
                <a:gd name="T69" fmla="*/ 142 h 1147"/>
                <a:gd name="T70" fmla="*/ 47 w 515"/>
                <a:gd name="T71" fmla="*/ 253 h 1147"/>
                <a:gd name="T72" fmla="*/ 23 w 515"/>
                <a:gd name="T73" fmla="*/ 363 h 1147"/>
                <a:gd name="T74" fmla="*/ 229 w 515"/>
                <a:gd name="T75" fmla="*/ 553 h 1147"/>
                <a:gd name="T76" fmla="*/ 150 w 515"/>
                <a:gd name="T77" fmla="*/ 711 h 1147"/>
                <a:gd name="T78" fmla="*/ 71 w 515"/>
                <a:gd name="T79" fmla="*/ 964 h 1147"/>
                <a:gd name="T80" fmla="*/ 94 w 515"/>
                <a:gd name="T81" fmla="*/ 980 h 1147"/>
                <a:gd name="T82" fmla="*/ 213 w 515"/>
                <a:gd name="T83" fmla="*/ 1043 h 1147"/>
                <a:gd name="T84" fmla="*/ 253 w 515"/>
                <a:gd name="T85" fmla="*/ 1035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5" h="1147">
                  <a:moveTo>
                    <a:pt x="292" y="1146"/>
                  </a:moveTo>
                  <a:lnTo>
                    <a:pt x="292" y="1146"/>
                  </a:lnTo>
                  <a:cubicBezTo>
                    <a:pt x="284" y="1146"/>
                    <a:pt x="276" y="1146"/>
                    <a:pt x="276" y="1138"/>
                  </a:cubicBezTo>
                  <a:cubicBezTo>
                    <a:pt x="268" y="1130"/>
                    <a:pt x="276" y="1122"/>
                    <a:pt x="284" y="1107"/>
                  </a:cubicBezTo>
                  <a:cubicBezTo>
                    <a:pt x="292" y="1099"/>
                    <a:pt x="292" y="1099"/>
                    <a:pt x="300" y="1083"/>
                  </a:cubicBezTo>
                  <a:cubicBezTo>
                    <a:pt x="300" y="1075"/>
                    <a:pt x="300" y="1075"/>
                    <a:pt x="300" y="1067"/>
                  </a:cubicBezTo>
                  <a:lnTo>
                    <a:pt x="292" y="1067"/>
                  </a:lnTo>
                  <a:cubicBezTo>
                    <a:pt x="284" y="1067"/>
                    <a:pt x="268" y="1067"/>
                    <a:pt x="268" y="1051"/>
                  </a:cubicBezTo>
                  <a:cubicBezTo>
                    <a:pt x="268" y="1043"/>
                    <a:pt x="268" y="1035"/>
                    <a:pt x="261" y="1035"/>
                  </a:cubicBezTo>
                  <a:cubicBezTo>
                    <a:pt x="261" y="1035"/>
                    <a:pt x="261" y="1035"/>
                    <a:pt x="253" y="1035"/>
                  </a:cubicBezTo>
                  <a:cubicBezTo>
                    <a:pt x="253" y="1043"/>
                    <a:pt x="245" y="1043"/>
                    <a:pt x="237" y="1043"/>
                  </a:cubicBezTo>
                  <a:cubicBezTo>
                    <a:pt x="237" y="1043"/>
                    <a:pt x="237" y="1043"/>
                    <a:pt x="229" y="1051"/>
                  </a:cubicBezTo>
                  <a:cubicBezTo>
                    <a:pt x="229" y="1051"/>
                    <a:pt x="221" y="1051"/>
                    <a:pt x="213" y="1051"/>
                  </a:cubicBezTo>
                  <a:cubicBezTo>
                    <a:pt x="197" y="1051"/>
                    <a:pt x="181" y="1043"/>
                    <a:pt x="142" y="1035"/>
                  </a:cubicBezTo>
                  <a:cubicBezTo>
                    <a:pt x="103" y="1020"/>
                    <a:pt x="103" y="1012"/>
                    <a:pt x="103" y="1004"/>
                  </a:cubicBezTo>
                  <a:cubicBezTo>
                    <a:pt x="103" y="996"/>
                    <a:pt x="103" y="996"/>
                    <a:pt x="94" y="980"/>
                  </a:cubicBezTo>
                  <a:cubicBezTo>
                    <a:pt x="87" y="972"/>
                    <a:pt x="79" y="972"/>
                    <a:pt x="79" y="964"/>
                  </a:cubicBezTo>
                  <a:cubicBezTo>
                    <a:pt x="79" y="972"/>
                    <a:pt x="79" y="972"/>
                    <a:pt x="71" y="972"/>
                  </a:cubicBezTo>
                  <a:cubicBezTo>
                    <a:pt x="71" y="980"/>
                    <a:pt x="71" y="980"/>
                    <a:pt x="71" y="980"/>
                  </a:cubicBezTo>
                  <a:cubicBezTo>
                    <a:pt x="63" y="972"/>
                    <a:pt x="63" y="972"/>
                    <a:pt x="63" y="972"/>
                  </a:cubicBezTo>
                  <a:cubicBezTo>
                    <a:pt x="39" y="933"/>
                    <a:pt x="31" y="893"/>
                    <a:pt x="23" y="854"/>
                  </a:cubicBezTo>
                  <a:cubicBezTo>
                    <a:pt x="16" y="806"/>
                    <a:pt x="63" y="767"/>
                    <a:pt x="94" y="751"/>
                  </a:cubicBezTo>
                  <a:cubicBezTo>
                    <a:pt x="118" y="743"/>
                    <a:pt x="134" y="735"/>
                    <a:pt x="142" y="711"/>
                  </a:cubicBezTo>
                  <a:cubicBezTo>
                    <a:pt x="142" y="703"/>
                    <a:pt x="150" y="695"/>
                    <a:pt x="150" y="680"/>
                  </a:cubicBezTo>
                  <a:cubicBezTo>
                    <a:pt x="158" y="664"/>
                    <a:pt x="166" y="640"/>
                    <a:pt x="174" y="624"/>
                  </a:cubicBezTo>
                  <a:cubicBezTo>
                    <a:pt x="189" y="608"/>
                    <a:pt x="221" y="561"/>
                    <a:pt x="221" y="553"/>
                  </a:cubicBezTo>
                  <a:cubicBezTo>
                    <a:pt x="221" y="545"/>
                    <a:pt x="126" y="474"/>
                    <a:pt x="79" y="427"/>
                  </a:cubicBezTo>
                  <a:cubicBezTo>
                    <a:pt x="47" y="403"/>
                    <a:pt x="31" y="387"/>
                    <a:pt x="23" y="387"/>
                  </a:cubicBezTo>
                  <a:cubicBezTo>
                    <a:pt x="16" y="379"/>
                    <a:pt x="16" y="371"/>
                    <a:pt x="16" y="363"/>
                  </a:cubicBezTo>
                  <a:cubicBezTo>
                    <a:pt x="16" y="348"/>
                    <a:pt x="23" y="324"/>
                    <a:pt x="39" y="316"/>
                  </a:cubicBezTo>
                  <a:cubicBezTo>
                    <a:pt x="55" y="308"/>
                    <a:pt x="55" y="292"/>
                    <a:pt x="55" y="277"/>
                  </a:cubicBezTo>
                  <a:cubicBezTo>
                    <a:pt x="55" y="268"/>
                    <a:pt x="55" y="261"/>
                    <a:pt x="55" y="261"/>
                  </a:cubicBezTo>
                  <a:cubicBezTo>
                    <a:pt x="55" y="261"/>
                    <a:pt x="55" y="261"/>
                    <a:pt x="47" y="261"/>
                  </a:cubicBezTo>
                  <a:cubicBezTo>
                    <a:pt x="47" y="261"/>
                    <a:pt x="31" y="261"/>
                    <a:pt x="16" y="253"/>
                  </a:cubicBezTo>
                  <a:cubicBezTo>
                    <a:pt x="16" y="253"/>
                    <a:pt x="8" y="245"/>
                    <a:pt x="8" y="237"/>
                  </a:cubicBezTo>
                  <a:cubicBezTo>
                    <a:pt x="0" y="205"/>
                    <a:pt x="55" y="150"/>
                    <a:pt x="63" y="142"/>
                  </a:cubicBezTo>
                  <a:cubicBezTo>
                    <a:pt x="79" y="126"/>
                    <a:pt x="79" y="95"/>
                    <a:pt x="71" y="79"/>
                  </a:cubicBezTo>
                  <a:cubicBezTo>
                    <a:pt x="71" y="79"/>
                    <a:pt x="71" y="79"/>
                    <a:pt x="71" y="71"/>
                  </a:cubicBezTo>
                  <a:cubicBezTo>
                    <a:pt x="71" y="63"/>
                    <a:pt x="103" y="24"/>
                    <a:pt x="126" y="0"/>
                  </a:cubicBezTo>
                  <a:cubicBezTo>
                    <a:pt x="134" y="0"/>
                    <a:pt x="134" y="0"/>
                    <a:pt x="134" y="0"/>
                  </a:cubicBezTo>
                  <a:lnTo>
                    <a:pt x="134" y="0"/>
                  </a:lnTo>
                  <a:cubicBezTo>
                    <a:pt x="142" y="8"/>
                    <a:pt x="150" y="16"/>
                    <a:pt x="166" y="24"/>
                  </a:cubicBezTo>
                  <a:cubicBezTo>
                    <a:pt x="189" y="55"/>
                    <a:pt x="371" y="95"/>
                    <a:pt x="395" y="103"/>
                  </a:cubicBezTo>
                  <a:cubicBezTo>
                    <a:pt x="419" y="103"/>
                    <a:pt x="434" y="118"/>
                    <a:pt x="442" y="134"/>
                  </a:cubicBezTo>
                  <a:cubicBezTo>
                    <a:pt x="450" y="142"/>
                    <a:pt x="442" y="182"/>
                    <a:pt x="434" y="213"/>
                  </a:cubicBezTo>
                  <a:cubicBezTo>
                    <a:pt x="427" y="221"/>
                    <a:pt x="427" y="221"/>
                    <a:pt x="427" y="229"/>
                  </a:cubicBezTo>
                  <a:cubicBezTo>
                    <a:pt x="427" y="237"/>
                    <a:pt x="419" y="261"/>
                    <a:pt x="411" y="277"/>
                  </a:cubicBezTo>
                  <a:cubicBezTo>
                    <a:pt x="411" y="284"/>
                    <a:pt x="411" y="284"/>
                    <a:pt x="411" y="284"/>
                  </a:cubicBezTo>
                  <a:cubicBezTo>
                    <a:pt x="411" y="277"/>
                    <a:pt x="411" y="277"/>
                    <a:pt x="411" y="277"/>
                  </a:cubicBezTo>
                  <a:cubicBezTo>
                    <a:pt x="403" y="277"/>
                    <a:pt x="403" y="277"/>
                    <a:pt x="403" y="277"/>
                  </a:cubicBezTo>
                  <a:cubicBezTo>
                    <a:pt x="387" y="277"/>
                    <a:pt x="379" y="308"/>
                    <a:pt x="379" y="340"/>
                  </a:cubicBezTo>
                  <a:cubicBezTo>
                    <a:pt x="379" y="356"/>
                    <a:pt x="371" y="363"/>
                    <a:pt x="371" y="371"/>
                  </a:cubicBezTo>
                  <a:lnTo>
                    <a:pt x="363" y="379"/>
                  </a:lnTo>
                  <a:cubicBezTo>
                    <a:pt x="363" y="379"/>
                    <a:pt x="371" y="379"/>
                    <a:pt x="379" y="379"/>
                  </a:cubicBezTo>
                  <a:cubicBezTo>
                    <a:pt x="387" y="379"/>
                    <a:pt x="403" y="379"/>
                    <a:pt x="434" y="371"/>
                  </a:cubicBezTo>
                  <a:cubicBezTo>
                    <a:pt x="466" y="371"/>
                    <a:pt x="482" y="371"/>
                    <a:pt x="498" y="387"/>
                  </a:cubicBezTo>
                  <a:cubicBezTo>
                    <a:pt x="514" y="403"/>
                    <a:pt x="514" y="435"/>
                    <a:pt x="506" y="466"/>
                  </a:cubicBezTo>
                  <a:cubicBezTo>
                    <a:pt x="506" y="490"/>
                    <a:pt x="506" y="506"/>
                    <a:pt x="506" y="521"/>
                  </a:cubicBezTo>
                  <a:cubicBezTo>
                    <a:pt x="514" y="569"/>
                    <a:pt x="506" y="774"/>
                    <a:pt x="474" y="790"/>
                  </a:cubicBezTo>
                  <a:cubicBezTo>
                    <a:pt x="450" y="798"/>
                    <a:pt x="450" y="814"/>
                    <a:pt x="450" y="830"/>
                  </a:cubicBezTo>
                  <a:cubicBezTo>
                    <a:pt x="450" y="838"/>
                    <a:pt x="450" y="854"/>
                    <a:pt x="450" y="861"/>
                  </a:cubicBezTo>
                  <a:cubicBezTo>
                    <a:pt x="434" y="909"/>
                    <a:pt x="434" y="917"/>
                    <a:pt x="411" y="948"/>
                  </a:cubicBezTo>
                  <a:cubicBezTo>
                    <a:pt x="395" y="972"/>
                    <a:pt x="395" y="988"/>
                    <a:pt x="395" y="1004"/>
                  </a:cubicBezTo>
                  <a:cubicBezTo>
                    <a:pt x="395" y="1020"/>
                    <a:pt x="403" y="1035"/>
                    <a:pt x="395" y="1043"/>
                  </a:cubicBezTo>
                  <a:cubicBezTo>
                    <a:pt x="387" y="1067"/>
                    <a:pt x="379" y="1083"/>
                    <a:pt x="371" y="1091"/>
                  </a:cubicBezTo>
                  <a:cubicBezTo>
                    <a:pt x="363" y="1099"/>
                    <a:pt x="356" y="1107"/>
                    <a:pt x="356" y="1114"/>
                  </a:cubicBezTo>
                  <a:cubicBezTo>
                    <a:pt x="347" y="1138"/>
                    <a:pt x="332" y="1146"/>
                    <a:pt x="300" y="1146"/>
                  </a:cubicBezTo>
                  <a:cubicBezTo>
                    <a:pt x="292" y="1146"/>
                    <a:pt x="292" y="1146"/>
                    <a:pt x="292" y="1146"/>
                  </a:cubicBezTo>
                  <a:close/>
                  <a:moveTo>
                    <a:pt x="261" y="1027"/>
                  </a:moveTo>
                  <a:lnTo>
                    <a:pt x="261" y="1027"/>
                  </a:lnTo>
                  <a:cubicBezTo>
                    <a:pt x="276" y="1027"/>
                    <a:pt x="276" y="1043"/>
                    <a:pt x="276" y="1051"/>
                  </a:cubicBezTo>
                  <a:cubicBezTo>
                    <a:pt x="276" y="1059"/>
                    <a:pt x="284" y="1059"/>
                    <a:pt x="292" y="1059"/>
                  </a:cubicBezTo>
                  <a:cubicBezTo>
                    <a:pt x="300" y="1059"/>
                    <a:pt x="308" y="1059"/>
                    <a:pt x="308" y="1067"/>
                  </a:cubicBezTo>
                  <a:cubicBezTo>
                    <a:pt x="308" y="1075"/>
                    <a:pt x="308" y="1075"/>
                    <a:pt x="300" y="1091"/>
                  </a:cubicBezTo>
                  <a:cubicBezTo>
                    <a:pt x="300" y="1099"/>
                    <a:pt x="292" y="1107"/>
                    <a:pt x="292" y="1114"/>
                  </a:cubicBezTo>
                  <a:cubicBezTo>
                    <a:pt x="284" y="1122"/>
                    <a:pt x="276" y="1130"/>
                    <a:pt x="284" y="1138"/>
                  </a:cubicBezTo>
                  <a:cubicBezTo>
                    <a:pt x="284" y="1138"/>
                    <a:pt x="284" y="1138"/>
                    <a:pt x="292" y="1138"/>
                  </a:cubicBezTo>
                  <a:cubicBezTo>
                    <a:pt x="292" y="1138"/>
                    <a:pt x="292" y="1138"/>
                    <a:pt x="300" y="1138"/>
                  </a:cubicBezTo>
                  <a:cubicBezTo>
                    <a:pt x="332" y="1138"/>
                    <a:pt x="340" y="1130"/>
                    <a:pt x="347" y="1114"/>
                  </a:cubicBezTo>
                  <a:cubicBezTo>
                    <a:pt x="356" y="1099"/>
                    <a:pt x="356" y="1099"/>
                    <a:pt x="363" y="1091"/>
                  </a:cubicBezTo>
                  <a:cubicBezTo>
                    <a:pt x="371" y="1075"/>
                    <a:pt x="387" y="1067"/>
                    <a:pt x="387" y="1043"/>
                  </a:cubicBezTo>
                  <a:cubicBezTo>
                    <a:pt x="395" y="1027"/>
                    <a:pt x="395" y="1020"/>
                    <a:pt x="387" y="1004"/>
                  </a:cubicBezTo>
                  <a:cubicBezTo>
                    <a:pt x="387" y="988"/>
                    <a:pt x="387" y="964"/>
                    <a:pt x="403" y="948"/>
                  </a:cubicBezTo>
                  <a:cubicBezTo>
                    <a:pt x="427" y="917"/>
                    <a:pt x="434" y="901"/>
                    <a:pt x="442" y="861"/>
                  </a:cubicBezTo>
                  <a:cubicBezTo>
                    <a:pt x="442" y="846"/>
                    <a:pt x="442" y="838"/>
                    <a:pt x="442" y="830"/>
                  </a:cubicBezTo>
                  <a:cubicBezTo>
                    <a:pt x="442" y="814"/>
                    <a:pt x="442" y="798"/>
                    <a:pt x="466" y="790"/>
                  </a:cubicBezTo>
                  <a:cubicBezTo>
                    <a:pt x="498" y="774"/>
                    <a:pt x="506" y="577"/>
                    <a:pt x="498" y="521"/>
                  </a:cubicBezTo>
                  <a:cubicBezTo>
                    <a:pt x="498" y="506"/>
                    <a:pt x="498" y="490"/>
                    <a:pt x="498" y="466"/>
                  </a:cubicBezTo>
                  <a:cubicBezTo>
                    <a:pt x="506" y="435"/>
                    <a:pt x="506" y="411"/>
                    <a:pt x="490" y="387"/>
                  </a:cubicBezTo>
                  <a:cubicBezTo>
                    <a:pt x="482" y="379"/>
                    <a:pt x="466" y="379"/>
                    <a:pt x="434" y="379"/>
                  </a:cubicBezTo>
                  <a:cubicBezTo>
                    <a:pt x="403" y="387"/>
                    <a:pt x="387" y="387"/>
                    <a:pt x="379" y="387"/>
                  </a:cubicBezTo>
                  <a:cubicBezTo>
                    <a:pt x="363" y="387"/>
                    <a:pt x="363" y="387"/>
                    <a:pt x="363" y="387"/>
                  </a:cubicBezTo>
                  <a:cubicBezTo>
                    <a:pt x="356" y="379"/>
                    <a:pt x="363" y="371"/>
                    <a:pt x="363" y="363"/>
                  </a:cubicBezTo>
                  <a:cubicBezTo>
                    <a:pt x="363" y="356"/>
                    <a:pt x="371" y="348"/>
                    <a:pt x="371" y="340"/>
                  </a:cubicBezTo>
                  <a:cubicBezTo>
                    <a:pt x="371" y="308"/>
                    <a:pt x="387" y="268"/>
                    <a:pt x="403" y="268"/>
                  </a:cubicBezTo>
                  <a:cubicBezTo>
                    <a:pt x="403" y="268"/>
                    <a:pt x="403" y="268"/>
                    <a:pt x="411" y="268"/>
                  </a:cubicBezTo>
                  <a:cubicBezTo>
                    <a:pt x="411" y="261"/>
                    <a:pt x="419" y="237"/>
                    <a:pt x="419" y="229"/>
                  </a:cubicBezTo>
                  <a:cubicBezTo>
                    <a:pt x="419" y="221"/>
                    <a:pt x="427" y="221"/>
                    <a:pt x="427" y="213"/>
                  </a:cubicBezTo>
                  <a:cubicBezTo>
                    <a:pt x="427" y="190"/>
                    <a:pt x="442" y="150"/>
                    <a:pt x="434" y="134"/>
                  </a:cubicBezTo>
                  <a:cubicBezTo>
                    <a:pt x="434" y="118"/>
                    <a:pt x="419" y="110"/>
                    <a:pt x="395" y="110"/>
                  </a:cubicBezTo>
                  <a:cubicBezTo>
                    <a:pt x="379" y="103"/>
                    <a:pt x="181" y="63"/>
                    <a:pt x="158" y="31"/>
                  </a:cubicBezTo>
                  <a:cubicBezTo>
                    <a:pt x="150" y="24"/>
                    <a:pt x="142" y="16"/>
                    <a:pt x="134" y="8"/>
                  </a:cubicBezTo>
                  <a:cubicBezTo>
                    <a:pt x="103" y="39"/>
                    <a:pt x="79" y="63"/>
                    <a:pt x="79" y="71"/>
                  </a:cubicBezTo>
                  <a:cubicBezTo>
                    <a:pt x="79" y="79"/>
                    <a:pt x="79" y="79"/>
                    <a:pt x="79" y="79"/>
                  </a:cubicBezTo>
                  <a:cubicBezTo>
                    <a:pt x="79" y="103"/>
                    <a:pt x="87" y="134"/>
                    <a:pt x="71" y="142"/>
                  </a:cubicBezTo>
                  <a:cubicBezTo>
                    <a:pt x="55" y="158"/>
                    <a:pt x="8" y="213"/>
                    <a:pt x="16" y="237"/>
                  </a:cubicBezTo>
                  <a:cubicBezTo>
                    <a:pt x="16" y="245"/>
                    <a:pt x="16" y="245"/>
                    <a:pt x="23" y="245"/>
                  </a:cubicBezTo>
                  <a:cubicBezTo>
                    <a:pt x="39" y="253"/>
                    <a:pt x="47" y="253"/>
                    <a:pt x="47" y="253"/>
                  </a:cubicBezTo>
                  <a:cubicBezTo>
                    <a:pt x="63" y="253"/>
                    <a:pt x="63" y="261"/>
                    <a:pt x="63" y="277"/>
                  </a:cubicBezTo>
                  <a:cubicBezTo>
                    <a:pt x="63" y="300"/>
                    <a:pt x="55" y="308"/>
                    <a:pt x="39" y="324"/>
                  </a:cubicBezTo>
                  <a:cubicBezTo>
                    <a:pt x="31" y="332"/>
                    <a:pt x="23" y="348"/>
                    <a:pt x="23" y="363"/>
                  </a:cubicBezTo>
                  <a:cubicBezTo>
                    <a:pt x="23" y="371"/>
                    <a:pt x="23" y="379"/>
                    <a:pt x="31" y="379"/>
                  </a:cubicBezTo>
                  <a:cubicBezTo>
                    <a:pt x="31" y="379"/>
                    <a:pt x="55" y="403"/>
                    <a:pt x="79" y="427"/>
                  </a:cubicBezTo>
                  <a:cubicBezTo>
                    <a:pt x="197" y="521"/>
                    <a:pt x="229" y="545"/>
                    <a:pt x="229" y="553"/>
                  </a:cubicBezTo>
                  <a:cubicBezTo>
                    <a:pt x="237" y="561"/>
                    <a:pt x="181" y="632"/>
                    <a:pt x="181" y="632"/>
                  </a:cubicBezTo>
                  <a:cubicBezTo>
                    <a:pt x="166" y="640"/>
                    <a:pt x="166" y="664"/>
                    <a:pt x="158" y="688"/>
                  </a:cubicBezTo>
                  <a:cubicBezTo>
                    <a:pt x="158" y="695"/>
                    <a:pt x="150" y="703"/>
                    <a:pt x="150" y="711"/>
                  </a:cubicBezTo>
                  <a:cubicBezTo>
                    <a:pt x="134" y="743"/>
                    <a:pt x="126" y="751"/>
                    <a:pt x="94" y="759"/>
                  </a:cubicBezTo>
                  <a:cubicBezTo>
                    <a:pt x="71" y="767"/>
                    <a:pt x="23" y="806"/>
                    <a:pt x="31" y="854"/>
                  </a:cubicBezTo>
                  <a:cubicBezTo>
                    <a:pt x="39" y="885"/>
                    <a:pt x="47" y="925"/>
                    <a:pt x="71" y="964"/>
                  </a:cubicBezTo>
                  <a:lnTo>
                    <a:pt x="71" y="964"/>
                  </a:lnTo>
                  <a:cubicBezTo>
                    <a:pt x="71" y="964"/>
                    <a:pt x="71" y="956"/>
                    <a:pt x="79" y="956"/>
                  </a:cubicBezTo>
                  <a:cubicBezTo>
                    <a:pt x="79" y="956"/>
                    <a:pt x="87" y="956"/>
                    <a:pt x="94" y="980"/>
                  </a:cubicBezTo>
                  <a:cubicBezTo>
                    <a:pt x="110" y="988"/>
                    <a:pt x="110" y="996"/>
                    <a:pt x="110" y="1004"/>
                  </a:cubicBezTo>
                  <a:cubicBezTo>
                    <a:pt x="110" y="1012"/>
                    <a:pt x="110" y="1012"/>
                    <a:pt x="150" y="1027"/>
                  </a:cubicBezTo>
                  <a:cubicBezTo>
                    <a:pt x="181" y="1035"/>
                    <a:pt x="205" y="1043"/>
                    <a:pt x="213" y="1043"/>
                  </a:cubicBezTo>
                  <a:cubicBezTo>
                    <a:pt x="221" y="1043"/>
                    <a:pt x="221" y="1043"/>
                    <a:pt x="229" y="1043"/>
                  </a:cubicBezTo>
                  <a:lnTo>
                    <a:pt x="237" y="1035"/>
                  </a:lnTo>
                  <a:cubicBezTo>
                    <a:pt x="245" y="1035"/>
                    <a:pt x="245" y="1035"/>
                    <a:pt x="253" y="1035"/>
                  </a:cubicBezTo>
                  <a:cubicBezTo>
                    <a:pt x="253" y="1027"/>
                    <a:pt x="261" y="1027"/>
                    <a:pt x="261" y="1027"/>
                  </a:cubicBezTo>
                  <a:close/>
                </a:path>
              </a:pathLst>
            </a:custGeom>
            <a:grpFill/>
            <a:ln>
              <a:solidFill>
                <a:schemeClr val="bg1">
                  <a:lumMod val="95000"/>
                </a:schemeClr>
              </a:solidFill>
            </a:ln>
            <a:effectLst/>
          </p:spPr>
          <p:txBody>
            <a:bodyPr wrap="none" anchor="ctr"/>
            <a:lstStyle/>
            <a:p>
              <a:endParaRPr lang="en-US" sz="900"/>
            </a:p>
          </p:txBody>
        </p:sp>
        <p:sp>
          <p:nvSpPr>
            <p:cNvPr id="103" name="Freeform 771"/>
            <p:cNvSpPr>
              <a:spLocks noChangeArrowheads="1"/>
            </p:cNvSpPr>
            <p:nvPr/>
          </p:nvSpPr>
          <p:spPr bwMode="auto">
            <a:xfrm>
              <a:off x="16179719" y="5507351"/>
              <a:ext cx="220335" cy="361812"/>
            </a:xfrm>
            <a:custGeom>
              <a:avLst/>
              <a:gdLst>
                <a:gd name="T0" fmla="*/ 102 w 420"/>
                <a:gd name="T1" fmla="*/ 0 h 688"/>
                <a:gd name="T2" fmla="*/ 102 w 420"/>
                <a:gd name="T3" fmla="*/ 0 h 688"/>
                <a:gd name="T4" fmla="*/ 31 w 420"/>
                <a:gd name="T5" fmla="*/ 31 h 688"/>
                <a:gd name="T6" fmla="*/ 7 w 420"/>
                <a:gd name="T7" fmla="*/ 79 h 688"/>
                <a:gd name="T8" fmla="*/ 31 w 420"/>
                <a:gd name="T9" fmla="*/ 181 h 688"/>
                <a:gd name="T10" fmla="*/ 102 w 420"/>
                <a:gd name="T11" fmla="*/ 411 h 688"/>
                <a:gd name="T12" fmla="*/ 142 w 420"/>
                <a:gd name="T13" fmla="*/ 640 h 688"/>
                <a:gd name="T14" fmla="*/ 268 w 420"/>
                <a:gd name="T15" fmla="*/ 664 h 688"/>
                <a:gd name="T16" fmla="*/ 419 w 420"/>
                <a:gd name="T17" fmla="*/ 687 h 688"/>
                <a:gd name="T18" fmla="*/ 419 w 420"/>
                <a:gd name="T19" fmla="*/ 671 h 688"/>
                <a:gd name="T20" fmla="*/ 371 w 420"/>
                <a:gd name="T21" fmla="*/ 632 h 688"/>
                <a:gd name="T22" fmla="*/ 355 w 420"/>
                <a:gd name="T23" fmla="*/ 561 h 688"/>
                <a:gd name="T24" fmla="*/ 355 w 420"/>
                <a:gd name="T25" fmla="*/ 506 h 688"/>
                <a:gd name="T26" fmla="*/ 332 w 420"/>
                <a:gd name="T27" fmla="*/ 450 h 688"/>
                <a:gd name="T28" fmla="*/ 253 w 420"/>
                <a:gd name="T29" fmla="*/ 387 h 688"/>
                <a:gd name="T30" fmla="*/ 182 w 420"/>
                <a:gd name="T31" fmla="*/ 260 h 688"/>
                <a:gd name="T32" fmla="*/ 150 w 420"/>
                <a:gd name="T33" fmla="*/ 205 h 688"/>
                <a:gd name="T34" fmla="*/ 150 w 420"/>
                <a:gd name="T35" fmla="*/ 205 h 688"/>
                <a:gd name="T36" fmla="*/ 110 w 420"/>
                <a:gd name="T37" fmla="*/ 87 h 688"/>
                <a:gd name="T38" fmla="*/ 134 w 420"/>
                <a:gd name="T39" fmla="*/ 23 h 688"/>
                <a:gd name="T40" fmla="*/ 102 w 420"/>
                <a:gd name="T41"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0" h="688">
                  <a:moveTo>
                    <a:pt x="102" y="0"/>
                  </a:moveTo>
                  <a:lnTo>
                    <a:pt x="102" y="0"/>
                  </a:lnTo>
                  <a:cubicBezTo>
                    <a:pt x="71" y="0"/>
                    <a:pt x="39" y="23"/>
                    <a:pt x="31" y="31"/>
                  </a:cubicBezTo>
                  <a:cubicBezTo>
                    <a:pt x="23" y="47"/>
                    <a:pt x="7" y="71"/>
                    <a:pt x="7" y="79"/>
                  </a:cubicBezTo>
                  <a:cubicBezTo>
                    <a:pt x="0" y="87"/>
                    <a:pt x="7" y="126"/>
                    <a:pt x="31" y="181"/>
                  </a:cubicBezTo>
                  <a:cubicBezTo>
                    <a:pt x="55" y="245"/>
                    <a:pt x="95" y="371"/>
                    <a:pt x="102" y="411"/>
                  </a:cubicBezTo>
                  <a:cubicBezTo>
                    <a:pt x="102" y="458"/>
                    <a:pt x="134" y="624"/>
                    <a:pt x="142" y="640"/>
                  </a:cubicBezTo>
                  <a:cubicBezTo>
                    <a:pt x="150" y="648"/>
                    <a:pt x="197" y="648"/>
                    <a:pt x="268" y="664"/>
                  </a:cubicBezTo>
                  <a:cubicBezTo>
                    <a:pt x="316" y="671"/>
                    <a:pt x="379" y="671"/>
                    <a:pt x="419" y="687"/>
                  </a:cubicBezTo>
                  <a:cubicBezTo>
                    <a:pt x="419" y="680"/>
                    <a:pt x="419" y="671"/>
                    <a:pt x="419" y="671"/>
                  </a:cubicBezTo>
                  <a:cubicBezTo>
                    <a:pt x="419" y="640"/>
                    <a:pt x="403" y="656"/>
                    <a:pt x="371" y="632"/>
                  </a:cubicBezTo>
                  <a:cubicBezTo>
                    <a:pt x="347" y="608"/>
                    <a:pt x="403" y="608"/>
                    <a:pt x="355" y="561"/>
                  </a:cubicBezTo>
                  <a:cubicBezTo>
                    <a:pt x="316" y="513"/>
                    <a:pt x="355" y="513"/>
                    <a:pt x="355" y="506"/>
                  </a:cubicBezTo>
                  <a:cubicBezTo>
                    <a:pt x="355" y="490"/>
                    <a:pt x="355" y="466"/>
                    <a:pt x="332" y="450"/>
                  </a:cubicBezTo>
                  <a:cubicBezTo>
                    <a:pt x="300" y="427"/>
                    <a:pt x="268" y="403"/>
                    <a:pt x="253" y="387"/>
                  </a:cubicBezTo>
                  <a:cubicBezTo>
                    <a:pt x="237" y="371"/>
                    <a:pt x="221" y="292"/>
                    <a:pt x="182" y="260"/>
                  </a:cubicBezTo>
                  <a:cubicBezTo>
                    <a:pt x="150" y="229"/>
                    <a:pt x="134" y="213"/>
                    <a:pt x="150" y="205"/>
                  </a:cubicBezTo>
                  <a:lnTo>
                    <a:pt x="150" y="205"/>
                  </a:lnTo>
                  <a:cubicBezTo>
                    <a:pt x="126" y="166"/>
                    <a:pt x="110" y="118"/>
                    <a:pt x="110" y="87"/>
                  </a:cubicBezTo>
                  <a:cubicBezTo>
                    <a:pt x="102" y="63"/>
                    <a:pt x="118" y="39"/>
                    <a:pt x="134" y="23"/>
                  </a:cubicBezTo>
                  <a:cubicBezTo>
                    <a:pt x="126" y="16"/>
                    <a:pt x="118" y="0"/>
                    <a:pt x="102" y="0"/>
                  </a:cubicBezTo>
                </a:path>
              </a:pathLst>
            </a:custGeom>
            <a:grpFill/>
            <a:ln>
              <a:solidFill>
                <a:schemeClr val="bg1">
                  <a:lumMod val="95000"/>
                </a:schemeClr>
              </a:solidFill>
            </a:ln>
            <a:effectLst/>
          </p:spPr>
          <p:txBody>
            <a:bodyPr wrap="none" anchor="ctr"/>
            <a:lstStyle/>
            <a:p>
              <a:endParaRPr lang="en-US" sz="900"/>
            </a:p>
          </p:txBody>
        </p:sp>
        <p:sp>
          <p:nvSpPr>
            <p:cNvPr id="104" name="Freeform 772"/>
            <p:cNvSpPr>
              <a:spLocks noChangeArrowheads="1"/>
            </p:cNvSpPr>
            <p:nvPr/>
          </p:nvSpPr>
          <p:spPr bwMode="auto">
            <a:xfrm>
              <a:off x="16179719" y="5507351"/>
              <a:ext cx="220335" cy="366450"/>
            </a:xfrm>
            <a:custGeom>
              <a:avLst/>
              <a:gdLst>
                <a:gd name="T0" fmla="*/ 419 w 420"/>
                <a:gd name="T1" fmla="*/ 695 h 696"/>
                <a:gd name="T2" fmla="*/ 316 w 420"/>
                <a:gd name="T3" fmla="*/ 671 h 696"/>
                <a:gd name="T4" fmla="*/ 205 w 420"/>
                <a:gd name="T5" fmla="*/ 656 h 696"/>
                <a:gd name="T6" fmla="*/ 95 w 420"/>
                <a:gd name="T7" fmla="*/ 411 h 696"/>
                <a:gd name="T8" fmla="*/ 0 w 420"/>
                <a:gd name="T9" fmla="*/ 79 h 696"/>
                <a:gd name="T10" fmla="*/ 31 w 420"/>
                <a:gd name="T11" fmla="*/ 31 h 696"/>
                <a:gd name="T12" fmla="*/ 134 w 420"/>
                <a:gd name="T13" fmla="*/ 16 h 696"/>
                <a:gd name="T14" fmla="*/ 134 w 420"/>
                <a:gd name="T15" fmla="*/ 23 h 696"/>
                <a:gd name="T16" fmla="*/ 150 w 420"/>
                <a:gd name="T17" fmla="*/ 205 h 696"/>
                <a:gd name="T18" fmla="*/ 150 w 420"/>
                <a:gd name="T19" fmla="*/ 205 h 696"/>
                <a:gd name="T20" fmla="*/ 142 w 420"/>
                <a:gd name="T21" fmla="*/ 213 h 696"/>
                <a:gd name="T22" fmla="*/ 237 w 420"/>
                <a:gd name="T23" fmla="*/ 347 h 696"/>
                <a:gd name="T24" fmla="*/ 300 w 420"/>
                <a:gd name="T25" fmla="*/ 418 h 696"/>
                <a:gd name="T26" fmla="*/ 355 w 420"/>
                <a:gd name="T27" fmla="*/ 506 h 696"/>
                <a:gd name="T28" fmla="*/ 347 w 420"/>
                <a:gd name="T29" fmla="*/ 513 h 696"/>
                <a:gd name="T30" fmla="*/ 363 w 420"/>
                <a:gd name="T31" fmla="*/ 561 h 696"/>
                <a:gd name="T32" fmla="*/ 379 w 420"/>
                <a:gd name="T33" fmla="*/ 632 h 696"/>
                <a:gd name="T34" fmla="*/ 419 w 420"/>
                <a:gd name="T35" fmla="*/ 671 h 696"/>
                <a:gd name="T36" fmla="*/ 419 w 420"/>
                <a:gd name="T37" fmla="*/ 695 h 696"/>
                <a:gd name="T38" fmla="*/ 102 w 420"/>
                <a:gd name="T39" fmla="*/ 7 h 696"/>
                <a:gd name="T40" fmla="*/ 15 w 420"/>
                <a:gd name="T41" fmla="*/ 71 h 696"/>
                <a:gd name="T42" fmla="*/ 31 w 420"/>
                <a:gd name="T43" fmla="*/ 181 h 696"/>
                <a:gd name="T44" fmla="*/ 142 w 420"/>
                <a:gd name="T45" fmla="*/ 640 h 696"/>
                <a:gd name="T46" fmla="*/ 268 w 420"/>
                <a:gd name="T47" fmla="*/ 656 h 696"/>
                <a:gd name="T48" fmla="*/ 411 w 420"/>
                <a:gd name="T49" fmla="*/ 680 h 696"/>
                <a:gd name="T50" fmla="*/ 395 w 420"/>
                <a:gd name="T51" fmla="*/ 648 h 696"/>
                <a:gd name="T52" fmla="*/ 371 w 420"/>
                <a:gd name="T53" fmla="*/ 608 h 696"/>
                <a:gd name="T54" fmla="*/ 332 w 420"/>
                <a:gd name="T55" fmla="*/ 529 h 696"/>
                <a:gd name="T56" fmla="*/ 347 w 420"/>
                <a:gd name="T57" fmla="*/ 506 h 696"/>
                <a:gd name="T58" fmla="*/ 324 w 420"/>
                <a:gd name="T59" fmla="*/ 450 h 696"/>
                <a:gd name="T60" fmla="*/ 253 w 420"/>
                <a:gd name="T61" fmla="*/ 387 h 696"/>
                <a:gd name="T62" fmla="*/ 182 w 420"/>
                <a:gd name="T63" fmla="*/ 260 h 696"/>
                <a:gd name="T64" fmla="*/ 142 w 420"/>
                <a:gd name="T65" fmla="*/ 205 h 696"/>
                <a:gd name="T66" fmla="*/ 126 w 420"/>
                <a:gd name="T67" fmla="*/ 23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0" h="696">
                  <a:moveTo>
                    <a:pt x="419" y="695"/>
                  </a:moveTo>
                  <a:lnTo>
                    <a:pt x="419" y="695"/>
                  </a:lnTo>
                  <a:cubicBezTo>
                    <a:pt x="411" y="687"/>
                    <a:pt x="411" y="687"/>
                    <a:pt x="411" y="687"/>
                  </a:cubicBezTo>
                  <a:cubicBezTo>
                    <a:pt x="387" y="680"/>
                    <a:pt x="347" y="680"/>
                    <a:pt x="316" y="671"/>
                  </a:cubicBezTo>
                  <a:cubicBezTo>
                    <a:pt x="300" y="671"/>
                    <a:pt x="284" y="671"/>
                    <a:pt x="268" y="664"/>
                  </a:cubicBezTo>
                  <a:cubicBezTo>
                    <a:pt x="245" y="664"/>
                    <a:pt x="221" y="664"/>
                    <a:pt x="205" y="656"/>
                  </a:cubicBezTo>
                  <a:cubicBezTo>
                    <a:pt x="166" y="656"/>
                    <a:pt x="142" y="648"/>
                    <a:pt x="142" y="640"/>
                  </a:cubicBezTo>
                  <a:cubicBezTo>
                    <a:pt x="134" y="624"/>
                    <a:pt x="102" y="458"/>
                    <a:pt x="95" y="411"/>
                  </a:cubicBezTo>
                  <a:cubicBezTo>
                    <a:pt x="95" y="371"/>
                    <a:pt x="55" y="245"/>
                    <a:pt x="23" y="189"/>
                  </a:cubicBezTo>
                  <a:cubicBezTo>
                    <a:pt x="0" y="134"/>
                    <a:pt x="0" y="87"/>
                    <a:pt x="0" y="79"/>
                  </a:cubicBezTo>
                  <a:cubicBezTo>
                    <a:pt x="7" y="79"/>
                    <a:pt x="7" y="71"/>
                    <a:pt x="7" y="63"/>
                  </a:cubicBezTo>
                  <a:cubicBezTo>
                    <a:pt x="15" y="55"/>
                    <a:pt x="23" y="39"/>
                    <a:pt x="31" y="31"/>
                  </a:cubicBezTo>
                  <a:cubicBezTo>
                    <a:pt x="39" y="16"/>
                    <a:pt x="71" y="0"/>
                    <a:pt x="102" y="0"/>
                  </a:cubicBezTo>
                  <a:cubicBezTo>
                    <a:pt x="118" y="0"/>
                    <a:pt x="134" y="7"/>
                    <a:pt x="134" y="16"/>
                  </a:cubicBezTo>
                  <a:cubicBezTo>
                    <a:pt x="134" y="23"/>
                    <a:pt x="134" y="23"/>
                    <a:pt x="134" y="23"/>
                  </a:cubicBezTo>
                  <a:lnTo>
                    <a:pt x="134" y="23"/>
                  </a:lnTo>
                  <a:cubicBezTo>
                    <a:pt x="126" y="31"/>
                    <a:pt x="102" y="55"/>
                    <a:pt x="110" y="87"/>
                  </a:cubicBezTo>
                  <a:cubicBezTo>
                    <a:pt x="118" y="118"/>
                    <a:pt x="126" y="166"/>
                    <a:pt x="150" y="205"/>
                  </a:cubicBezTo>
                  <a:lnTo>
                    <a:pt x="150" y="205"/>
                  </a:lnTo>
                  <a:lnTo>
                    <a:pt x="150" y="205"/>
                  </a:lnTo>
                  <a:lnTo>
                    <a:pt x="150" y="205"/>
                  </a:lnTo>
                  <a:cubicBezTo>
                    <a:pt x="142" y="213"/>
                    <a:pt x="142" y="213"/>
                    <a:pt x="142" y="213"/>
                  </a:cubicBezTo>
                  <a:cubicBezTo>
                    <a:pt x="142" y="221"/>
                    <a:pt x="173" y="245"/>
                    <a:pt x="189" y="260"/>
                  </a:cubicBezTo>
                  <a:cubicBezTo>
                    <a:pt x="213" y="276"/>
                    <a:pt x="229" y="324"/>
                    <a:pt x="237" y="347"/>
                  </a:cubicBezTo>
                  <a:cubicBezTo>
                    <a:pt x="245" y="363"/>
                    <a:pt x="253" y="379"/>
                    <a:pt x="253" y="387"/>
                  </a:cubicBezTo>
                  <a:cubicBezTo>
                    <a:pt x="260" y="395"/>
                    <a:pt x="276" y="403"/>
                    <a:pt x="300" y="418"/>
                  </a:cubicBezTo>
                  <a:cubicBezTo>
                    <a:pt x="308" y="427"/>
                    <a:pt x="324" y="434"/>
                    <a:pt x="332" y="442"/>
                  </a:cubicBezTo>
                  <a:cubicBezTo>
                    <a:pt x="355" y="466"/>
                    <a:pt x="355" y="490"/>
                    <a:pt x="355" y="506"/>
                  </a:cubicBezTo>
                  <a:lnTo>
                    <a:pt x="355" y="506"/>
                  </a:lnTo>
                  <a:cubicBezTo>
                    <a:pt x="355" y="506"/>
                    <a:pt x="355" y="513"/>
                    <a:pt x="347" y="513"/>
                  </a:cubicBezTo>
                  <a:cubicBezTo>
                    <a:pt x="347" y="513"/>
                    <a:pt x="340" y="521"/>
                    <a:pt x="340" y="529"/>
                  </a:cubicBezTo>
                  <a:cubicBezTo>
                    <a:pt x="340" y="537"/>
                    <a:pt x="347" y="545"/>
                    <a:pt x="363" y="561"/>
                  </a:cubicBezTo>
                  <a:cubicBezTo>
                    <a:pt x="387" y="593"/>
                    <a:pt x="379" y="600"/>
                    <a:pt x="371" y="616"/>
                  </a:cubicBezTo>
                  <a:cubicBezTo>
                    <a:pt x="371" y="616"/>
                    <a:pt x="371" y="624"/>
                    <a:pt x="379" y="632"/>
                  </a:cubicBezTo>
                  <a:cubicBezTo>
                    <a:pt x="387" y="640"/>
                    <a:pt x="395" y="640"/>
                    <a:pt x="403" y="640"/>
                  </a:cubicBezTo>
                  <a:cubicBezTo>
                    <a:pt x="411" y="648"/>
                    <a:pt x="419" y="648"/>
                    <a:pt x="419" y="671"/>
                  </a:cubicBezTo>
                  <a:cubicBezTo>
                    <a:pt x="419" y="671"/>
                    <a:pt x="419" y="680"/>
                    <a:pt x="419" y="687"/>
                  </a:cubicBezTo>
                  <a:lnTo>
                    <a:pt x="419" y="695"/>
                  </a:lnTo>
                  <a:close/>
                  <a:moveTo>
                    <a:pt x="102" y="7"/>
                  </a:moveTo>
                  <a:lnTo>
                    <a:pt x="102" y="7"/>
                  </a:lnTo>
                  <a:cubicBezTo>
                    <a:pt x="71" y="7"/>
                    <a:pt x="39" y="23"/>
                    <a:pt x="39" y="39"/>
                  </a:cubicBezTo>
                  <a:cubicBezTo>
                    <a:pt x="31" y="39"/>
                    <a:pt x="23" y="55"/>
                    <a:pt x="15" y="71"/>
                  </a:cubicBezTo>
                  <a:cubicBezTo>
                    <a:pt x="15" y="71"/>
                    <a:pt x="7" y="79"/>
                    <a:pt x="7" y="87"/>
                  </a:cubicBezTo>
                  <a:cubicBezTo>
                    <a:pt x="7" y="87"/>
                    <a:pt x="7" y="126"/>
                    <a:pt x="31" y="181"/>
                  </a:cubicBezTo>
                  <a:cubicBezTo>
                    <a:pt x="63" y="245"/>
                    <a:pt x="102" y="371"/>
                    <a:pt x="102" y="411"/>
                  </a:cubicBezTo>
                  <a:cubicBezTo>
                    <a:pt x="102" y="458"/>
                    <a:pt x="142" y="624"/>
                    <a:pt x="142" y="640"/>
                  </a:cubicBezTo>
                  <a:cubicBezTo>
                    <a:pt x="150" y="648"/>
                    <a:pt x="173" y="648"/>
                    <a:pt x="205" y="648"/>
                  </a:cubicBezTo>
                  <a:cubicBezTo>
                    <a:pt x="229" y="656"/>
                    <a:pt x="245" y="656"/>
                    <a:pt x="268" y="656"/>
                  </a:cubicBezTo>
                  <a:cubicBezTo>
                    <a:pt x="284" y="664"/>
                    <a:pt x="300" y="664"/>
                    <a:pt x="316" y="664"/>
                  </a:cubicBezTo>
                  <a:cubicBezTo>
                    <a:pt x="347" y="671"/>
                    <a:pt x="387" y="671"/>
                    <a:pt x="411" y="680"/>
                  </a:cubicBezTo>
                  <a:lnTo>
                    <a:pt x="411" y="671"/>
                  </a:lnTo>
                  <a:cubicBezTo>
                    <a:pt x="411" y="656"/>
                    <a:pt x="411" y="656"/>
                    <a:pt x="395" y="648"/>
                  </a:cubicBezTo>
                  <a:cubicBezTo>
                    <a:pt x="395" y="648"/>
                    <a:pt x="379" y="640"/>
                    <a:pt x="371" y="632"/>
                  </a:cubicBezTo>
                  <a:cubicBezTo>
                    <a:pt x="363" y="624"/>
                    <a:pt x="363" y="616"/>
                    <a:pt x="371" y="608"/>
                  </a:cubicBezTo>
                  <a:cubicBezTo>
                    <a:pt x="371" y="600"/>
                    <a:pt x="379" y="593"/>
                    <a:pt x="355" y="569"/>
                  </a:cubicBezTo>
                  <a:cubicBezTo>
                    <a:pt x="340" y="545"/>
                    <a:pt x="332" y="537"/>
                    <a:pt x="332" y="529"/>
                  </a:cubicBezTo>
                  <a:cubicBezTo>
                    <a:pt x="332" y="513"/>
                    <a:pt x="340" y="513"/>
                    <a:pt x="347" y="506"/>
                  </a:cubicBezTo>
                  <a:lnTo>
                    <a:pt x="347" y="506"/>
                  </a:lnTo>
                  <a:lnTo>
                    <a:pt x="347" y="506"/>
                  </a:lnTo>
                  <a:cubicBezTo>
                    <a:pt x="347" y="490"/>
                    <a:pt x="347" y="466"/>
                    <a:pt x="324" y="450"/>
                  </a:cubicBezTo>
                  <a:cubicBezTo>
                    <a:pt x="316" y="442"/>
                    <a:pt x="308" y="434"/>
                    <a:pt x="292" y="427"/>
                  </a:cubicBezTo>
                  <a:cubicBezTo>
                    <a:pt x="276" y="411"/>
                    <a:pt x="260" y="395"/>
                    <a:pt x="253" y="387"/>
                  </a:cubicBezTo>
                  <a:cubicBezTo>
                    <a:pt x="245" y="387"/>
                    <a:pt x="237" y="371"/>
                    <a:pt x="237" y="355"/>
                  </a:cubicBezTo>
                  <a:cubicBezTo>
                    <a:pt x="221" y="324"/>
                    <a:pt x="205" y="284"/>
                    <a:pt x="182" y="260"/>
                  </a:cubicBezTo>
                  <a:cubicBezTo>
                    <a:pt x="150" y="237"/>
                    <a:pt x="134" y="221"/>
                    <a:pt x="134" y="213"/>
                  </a:cubicBezTo>
                  <a:cubicBezTo>
                    <a:pt x="134" y="205"/>
                    <a:pt x="142" y="205"/>
                    <a:pt x="142" y="205"/>
                  </a:cubicBezTo>
                  <a:cubicBezTo>
                    <a:pt x="118" y="166"/>
                    <a:pt x="110" y="126"/>
                    <a:pt x="102" y="87"/>
                  </a:cubicBezTo>
                  <a:cubicBezTo>
                    <a:pt x="102" y="63"/>
                    <a:pt x="110" y="39"/>
                    <a:pt x="126" y="23"/>
                  </a:cubicBezTo>
                  <a:cubicBezTo>
                    <a:pt x="118" y="7"/>
                    <a:pt x="110" y="7"/>
                    <a:pt x="102" y="7"/>
                  </a:cubicBezTo>
                  <a:close/>
                </a:path>
              </a:pathLst>
            </a:custGeom>
            <a:grpFill/>
            <a:ln>
              <a:solidFill>
                <a:schemeClr val="bg1">
                  <a:lumMod val="95000"/>
                </a:schemeClr>
              </a:solidFill>
            </a:ln>
            <a:effectLst/>
          </p:spPr>
          <p:txBody>
            <a:bodyPr wrap="none" anchor="ctr"/>
            <a:lstStyle/>
            <a:p>
              <a:endParaRPr lang="en-US" sz="900"/>
            </a:p>
          </p:txBody>
        </p:sp>
        <p:sp>
          <p:nvSpPr>
            <p:cNvPr id="105" name="Freeform 773"/>
            <p:cNvSpPr>
              <a:spLocks noChangeArrowheads="1"/>
            </p:cNvSpPr>
            <p:nvPr/>
          </p:nvSpPr>
          <p:spPr bwMode="auto">
            <a:xfrm>
              <a:off x="15194014" y="4971591"/>
              <a:ext cx="1148056" cy="753775"/>
            </a:xfrm>
            <a:custGeom>
              <a:avLst/>
              <a:gdLst>
                <a:gd name="T0" fmla="*/ 1881 w 2183"/>
                <a:gd name="T1" fmla="*/ 1114 h 1432"/>
                <a:gd name="T2" fmla="*/ 1881 w 2183"/>
                <a:gd name="T3" fmla="*/ 1114 h 1432"/>
                <a:gd name="T4" fmla="*/ 1881 w 2183"/>
                <a:gd name="T5" fmla="*/ 1099 h 1432"/>
                <a:gd name="T6" fmla="*/ 1905 w 2183"/>
                <a:gd name="T7" fmla="*/ 1051 h 1432"/>
                <a:gd name="T8" fmla="*/ 1976 w 2183"/>
                <a:gd name="T9" fmla="*/ 1020 h 1432"/>
                <a:gd name="T10" fmla="*/ 2008 w 2183"/>
                <a:gd name="T11" fmla="*/ 1043 h 1432"/>
                <a:gd name="T12" fmla="*/ 2047 w 2183"/>
                <a:gd name="T13" fmla="*/ 1012 h 1432"/>
                <a:gd name="T14" fmla="*/ 2095 w 2183"/>
                <a:gd name="T15" fmla="*/ 964 h 1432"/>
                <a:gd name="T16" fmla="*/ 2127 w 2183"/>
                <a:gd name="T17" fmla="*/ 877 h 1432"/>
                <a:gd name="T18" fmla="*/ 2182 w 2183"/>
                <a:gd name="T19" fmla="*/ 806 h 1432"/>
                <a:gd name="T20" fmla="*/ 1976 w 2183"/>
                <a:gd name="T21" fmla="*/ 632 h 1432"/>
                <a:gd name="T22" fmla="*/ 1992 w 2183"/>
                <a:gd name="T23" fmla="*/ 577 h 1432"/>
                <a:gd name="T24" fmla="*/ 2016 w 2183"/>
                <a:gd name="T25" fmla="*/ 530 h 1432"/>
                <a:gd name="T26" fmla="*/ 1976 w 2183"/>
                <a:gd name="T27" fmla="*/ 506 h 1432"/>
                <a:gd name="T28" fmla="*/ 2024 w 2183"/>
                <a:gd name="T29" fmla="*/ 395 h 1432"/>
                <a:gd name="T30" fmla="*/ 2032 w 2183"/>
                <a:gd name="T31" fmla="*/ 324 h 1432"/>
                <a:gd name="T32" fmla="*/ 2087 w 2183"/>
                <a:gd name="T33" fmla="*/ 261 h 1432"/>
                <a:gd name="T34" fmla="*/ 2032 w 2183"/>
                <a:gd name="T35" fmla="*/ 237 h 1432"/>
                <a:gd name="T36" fmla="*/ 1961 w 2183"/>
                <a:gd name="T37" fmla="*/ 221 h 1432"/>
                <a:gd name="T38" fmla="*/ 1889 w 2183"/>
                <a:gd name="T39" fmla="*/ 79 h 1432"/>
                <a:gd name="T40" fmla="*/ 1787 w 2183"/>
                <a:gd name="T41" fmla="*/ 39 h 1432"/>
                <a:gd name="T42" fmla="*/ 1684 w 2183"/>
                <a:gd name="T43" fmla="*/ 39 h 1432"/>
                <a:gd name="T44" fmla="*/ 269 w 2183"/>
                <a:gd name="T45" fmla="*/ 316 h 1432"/>
                <a:gd name="T46" fmla="*/ 245 w 2183"/>
                <a:gd name="T47" fmla="*/ 205 h 1432"/>
                <a:gd name="T48" fmla="*/ 55 w 2183"/>
                <a:gd name="T49" fmla="*/ 356 h 1432"/>
                <a:gd name="T50" fmla="*/ 0 w 2183"/>
                <a:gd name="T51" fmla="*/ 379 h 1432"/>
                <a:gd name="T52" fmla="*/ 198 w 2183"/>
                <a:gd name="T53" fmla="*/ 1431 h 1432"/>
                <a:gd name="T54" fmla="*/ 1881 w 2183"/>
                <a:gd name="T55" fmla="*/ 111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3" h="1432">
                  <a:moveTo>
                    <a:pt x="1881" y="1114"/>
                  </a:moveTo>
                  <a:lnTo>
                    <a:pt x="1881" y="1114"/>
                  </a:lnTo>
                  <a:cubicBezTo>
                    <a:pt x="1881" y="1107"/>
                    <a:pt x="1881" y="1099"/>
                    <a:pt x="1881" y="1099"/>
                  </a:cubicBezTo>
                  <a:cubicBezTo>
                    <a:pt x="1881" y="1091"/>
                    <a:pt x="1897" y="1067"/>
                    <a:pt x="1905" y="1051"/>
                  </a:cubicBezTo>
                  <a:cubicBezTo>
                    <a:pt x="1913" y="1043"/>
                    <a:pt x="1945" y="1020"/>
                    <a:pt x="1976" y="1020"/>
                  </a:cubicBezTo>
                  <a:cubicBezTo>
                    <a:pt x="1992" y="1020"/>
                    <a:pt x="2000" y="1036"/>
                    <a:pt x="2008" y="1043"/>
                  </a:cubicBezTo>
                  <a:cubicBezTo>
                    <a:pt x="2016" y="1027"/>
                    <a:pt x="2032" y="1012"/>
                    <a:pt x="2047" y="1012"/>
                  </a:cubicBezTo>
                  <a:cubicBezTo>
                    <a:pt x="2071" y="1004"/>
                    <a:pt x="2087" y="996"/>
                    <a:pt x="2095" y="964"/>
                  </a:cubicBezTo>
                  <a:cubicBezTo>
                    <a:pt x="2111" y="941"/>
                    <a:pt x="2111" y="901"/>
                    <a:pt x="2127" y="877"/>
                  </a:cubicBezTo>
                  <a:cubicBezTo>
                    <a:pt x="2142" y="861"/>
                    <a:pt x="2182" y="806"/>
                    <a:pt x="2182" y="806"/>
                  </a:cubicBezTo>
                  <a:cubicBezTo>
                    <a:pt x="2174" y="798"/>
                    <a:pt x="1992" y="648"/>
                    <a:pt x="1976" y="632"/>
                  </a:cubicBezTo>
                  <a:cubicBezTo>
                    <a:pt x="1969" y="624"/>
                    <a:pt x="1976" y="585"/>
                    <a:pt x="1992" y="577"/>
                  </a:cubicBezTo>
                  <a:cubicBezTo>
                    <a:pt x="2008" y="561"/>
                    <a:pt x="2016" y="545"/>
                    <a:pt x="2016" y="530"/>
                  </a:cubicBezTo>
                  <a:cubicBezTo>
                    <a:pt x="2016" y="506"/>
                    <a:pt x="2008" y="521"/>
                    <a:pt x="1976" y="506"/>
                  </a:cubicBezTo>
                  <a:cubicBezTo>
                    <a:pt x="1937" y="490"/>
                    <a:pt x="2000" y="411"/>
                    <a:pt x="2024" y="395"/>
                  </a:cubicBezTo>
                  <a:cubicBezTo>
                    <a:pt x="2040" y="387"/>
                    <a:pt x="2032" y="340"/>
                    <a:pt x="2032" y="324"/>
                  </a:cubicBezTo>
                  <a:cubicBezTo>
                    <a:pt x="2032" y="316"/>
                    <a:pt x="2071" y="269"/>
                    <a:pt x="2087" y="261"/>
                  </a:cubicBezTo>
                  <a:cubicBezTo>
                    <a:pt x="2071" y="245"/>
                    <a:pt x="2056" y="245"/>
                    <a:pt x="2032" y="237"/>
                  </a:cubicBezTo>
                  <a:cubicBezTo>
                    <a:pt x="1984" y="229"/>
                    <a:pt x="1984" y="253"/>
                    <a:pt x="1961" y="221"/>
                  </a:cubicBezTo>
                  <a:cubicBezTo>
                    <a:pt x="1945" y="190"/>
                    <a:pt x="1921" y="79"/>
                    <a:pt x="1889" y="79"/>
                  </a:cubicBezTo>
                  <a:cubicBezTo>
                    <a:pt x="1858" y="71"/>
                    <a:pt x="1834" y="71"/>
                    <a:pt x="1787" y="39"/>
                  </a:cubicBezTo>
                  <a:cubicBezTo>
                    <a:pt x="1739" y="0"/>
                    <a:pt x="1716" y="31"/>
                    <a:pt x="1684" y="39"/>
                  </a:cubicBezTo>
                  <a:cubicBezTo>
                    <a:pt x="1660" y="55"/>
                    <a:pt x="269" y="316"/>
                    <a:pt x="269" y="316"/>
                  </a:cubicBezTo>
                  <a:cubicBezTo>
                    <a:pt x="245" y="205"/>
                    <a:pt x="245" y="205"/>
                    <a:pt x="245" y="205"/>
                  </a:cubicBezTo>
                  <a:cubicBezTo>
                    <a:pt x="182" y="261"/>
                    <a:pt x="103" y="332"/>
                    <a:pt x="55" y="356"/>
                  </a:cubicBezTo>
                  <a:cubicBezTo>
                    <a:pt x="40" y="363"/>
                    <a:pt x="24" y="371"/>
                    <a:pt x="0" y="379"/>
                  </a:cubicBezTo>
                  <a:cubicBezTo>
                    <a:pt x="198" y="1431"/>
                    <a:pt x="198" y="1431"/>
                    <a:pt x="198" y="1431"/>
                  </a:cubicBezTo>
                  <a:lnTo>
                    <a:pt x="1881" y="1114"/>
                  </a:lnTo>
                </a:path>
              </a:pathLst>
            </a:custGeom>
            <a:solidFill>
              <a:schemeClr val="accent4"/>
            </a:solidFill>
            <a:ln>
              <a:solidFill>
                <a:schemeClr val="bg1">
                  <a:lumMod val="95000"/>
                </a:schemeClr>
              </a:solidFill>
            </a:ln>
            <a:effectLst/>
          </p:spPr>
          <p:txBody>
            <a:bodyPr wrap="none" anchor="ctr"/>
            <a:lstStyle/>
            <a:p>
              <a:endParaRPr lang="en-US" sz="900"/>
            </a:p>
          </p:txBody>
        </p:sp>
        <p:sp>
          <p:nvSpPr>
            <p:cNvPr id="106" name="Freeform 774"/>
            <p:cNvSpPr>
              <a:spLocks noChangeArrowheads="1"/>
            </p:cNvSpPr>
            <p:nvPr/>
          </p:nvSpPr>
          <p:spPr bwMode="auto">
            <a:xfrm>
              <a:off x="15194014" y="4978549"/>
              <a:ext cx="1152694" cy="749135"/>
            </a:xfrm>
            <a:custGeom>
              <a:avLst/>
              <a:gdLst>
                <a:gd name="T0" fmla="*/ 198 w 2191"/>
                <a:gd name="T1" fmla="*/ 1422 h 1423"/>
                <a:gd name="T2" fmla="*/ 0 w 2191"/>
                <a:gd name="T3" fmla="*/ 363 h 1423"/>
                <a:gd name="T4" fmla="*/ 47 w 2191"/>
                <a:gd name="T5" fmla="*/ 332 h 1423"/>
                <a:gd name="T6" fmla="*/ 253 w 2191"/>
                <a:gd name="T7" fmla="*/ 181 h 1423"/>
                <a:gd name="T8" fmla="*/ 1684 w 2191"/>
                <a:gd name="T9" fmla="*/ 23 h 1423"/>
                <a:gd name="T10" fmla="*/ 1747 w 2191"/>
                <a:gd name="T11" fmla="*/ 0 h 1423"/>
                <a:gd name="T12" fmla="*/ 1889 w 2191"/>
                <a:gd name="T13" fmla="*/ 55 h 1423"/>
                <a:gd name="T14" fmla="*/ 1945 w 2191"/>
                <a:gd name="T15" fmla="*/ 150 h 1423"/>
                <a:gd name="T16" fmla="*/ 1984 w 2191"/>
                <a:gd name="T17" fmla="*/ 213 h 1423"/>
                <a:gd name="T18" fmla="*/ 2008 w 2191"/>
                <a:gd name="T19" fmla="*/ 213 h 1423"/>
                <a:gd name="T20" fmla="*/ 2087 w 2191"/>
                <a:gd name="T21" fmla="*/ 237 h 1423"/>
                <a:gd name="T22" fmla="*/ 2087 w 2191"/>
                <a:gd name="T23" fmla="*/ 245 h 1423"/>
                <a:gd name="T24" fmla="*/ 2032 w 2191"/>
                <a:gd name="T25" fmla="*/ 316 h 1423"/>
                <a:gd name="T26" fmla="*/ 1969 w 2191"/>
                <a:gd name="T27" fmla="*/ 474 h 1423"/>
                <a:gd name="T28" fmla="*/ 2000 w 2191"/>
                <a:gd name="T29" fmla="*/ 490 h 1423"/>
                <a:gd name="T30" fmla="*/ 1992 w 2191"/>
                <a:gd name="T31" fmla="*/ 561 h 1423"/>
                <a:gd name="T32" fmla="*/ 1984 w 2191"/>
                <a:gd name="T33" fmla="*/ 616 h 1423"/>
                <a:gd name="T34" fmla="*/ 2182 w 2191"/>
                <a:gd name="T35" fmla="*/ 790 h 1423"/>
                <a:gd name="T36" fmla="*/ 2111 w 2191"/>
                <a:gd name="T37" fmla="*/ 925 h 1423"/>
                <a:gd name="T38" fmla="*/ 2047 w 2191"/>
                <a:gd name="T39" fmla="*/ 996 h 1423"/>
                <a:gd name="T40" fmla="*/ 2000 w 2191"/>
                <a:gd name="T41" fmla="*/ 1027 h 1423"/>
                <a:gd name="T42" fmla="*/ 1976 w 2191"/>
                <a:gd name="T43" fmla="*/ 1011 h 1423"/>
                <a:gd name="T44" fmla="*/ 1889 w 2191"/>
                <a:gd name="T45" fmla="*/ 1075 h 1423"/>
                <a:gd name="T46" fmla="*/ 1881 w 2191"/>
                <a:gd name="T47" fmla="*/ 1098 h 1423"/>
                <a:gd name="T48" fmla="*/ 198 w 2191"/>
                <a:gd name="T49" fmla="*/ 1422 h 1423"/>
                <a:gd name="T50" fmla="*/ 8 w 2191"/>
                <a:gd name="T51" fmla="*/ 363 h 1423"/>
                <a:gd name="T52" fmla="*/ 1874 w 2191"/>
                <a:gd name="T53" fmla="*/ 1091 h 1423"/>
                <a:gd name="T54" fmla="*/ 1881 w 2191"/>
                <a:gd name="T55" fmla="*/ 1067 h 1423"/>
                <a:gd name="T56" fmla="*/ 1976 w 2191"/>
                <a:gd name="T57" fmla="*/ 1004 h 1423"/>
                <a:gd name="T58" fmla="*/ 2047 w 2191"/>
                <a:gd name="T59" fmla="*/ 988 h 1423"/>
                <a:gd name="T60" fmla="*/ 2103 w 2191"/>
                <a:gd name="T61" fmla="*/ 917 h 1423"/>
                <a:gd name="T62" fmla="*/ 2174 w 2191"/>
                <a:gd name="T63" fmla="*/ 790 h 1423"/>
                <a:gd name="T64" fmla="*/ 1976 w 2191"/>
                <a:gd name="T65" fmla="*/ 624 h 1423"/>
                <a:gd name="T66" fmla="*/ 1992 w 2191"/>
                <a:gd name="T67" fmla="*/ 553 h 1423"/>
                <a:gd name="T68" fmla="*/ 2008 w 2191"/>
                <a:gd name="T69" fmla="*/ 498 h 1423"/>
                <a:gd name="T70" fmla="*/ 1969 w 2191"/>
                <a:gd name="T71" fmla="*/ 490 h 1423"/>
                <a:gd name="T72" fmla="*/ 2016 w 2191"/>
                <a:gd name="T73" fmla="*/ 379 h 1423"/>
                <a:gd name="T74" fmla="*/ 2024 w 2191"/>
                <a:gd name="T75" fmla="*/ 308 h 1423"/>
                <a:gd name="T76" fmla="*/ 2032 w 2191"/>
                <a:gd name="T77" fmla="*/ 221 h 1423"/>
                <a:gd name="T78" fmla="*/ 1992 w 2191"/>
                <a:gd name="T79" fmla="*/ 221 h 1423"/>
                <a:gd name="T80" fmla="*/ 1961 w 2191"/>
                <a:gd name="T81" fmla="*/ 205 h 1423"/>
                <a:gd name="T82" fmla="*/ 1889 w 2191"/>
                <a:gd name="T83" fmla="*/ 63 h 1423"/>
                <a:gd name="T84" fmla="*/ 1787 w 2191"/>
                <a:gd name="T85" fmla="*/ 23 h 1423"/>
                <a:gd name="T86" fmla="*/ 1708 w 2191"/>
                <a:gd name="T87" fmla="*/ 15 h 1423"/>
                <a:gd name="T88" fmla="*/ 277 w 2191"/>
                <a:gd name="T89" fmla="*/ 308 h 1423"/>
                <a:gd name="T90" fmla="*/ 245 w 2191"/>
                <a:gd name="T91" fmla="*/ 197 h 1423"/>
                <a:gd name="T92" fmla="*/ 8 w 2191"/>
                <a:gd name="T93" fmla="*/ 363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1" h="1423">
                  <a:moveTo>
                    <a:pt x="198" y="1422"/>
                  </a:moveTo>
                  <a:lnTo>
                    <a:pt x="198" y="1422"/>
                  </a:lnTo>
                  <a:cubicBezTo>
                    <a:pt x="198" y="1415"/>
                    <a:pt x="198" y="1415"/>
                    <a:pt x="198" y="1415"/>
                  </a:cubicBezTo>
                  <a:cubicBezTo>
                    <a:pt x="0" y="363"/>
                    <a:pt x="0" y="363"/>
                    <a:pt x="0" y="363"/>
                  </a:cubicBezTo>
                  <a:lnTo>
                    <a:pt x="0" y="363"/>
                  </a:lnTo>
                  <a:cubicBezTo>
                    <a:pt x="24" y="347"/>
                    <a:pt x="40" y="340"/>
                    <a:pt x="47" y="332"/>
                  </a:cubicBezTo>
                  <a:cubicBezTo>
                    <a:pt x="111" y="308"/>
                    <a:pt x="198" y="229"/>
                    <a:pt x="245" y="189"/>
                  </a:cubicBezTo>
                  <a:cubicBezTo>
                    <a:pt x="253" y="181"/>
                    <a:pt x="253" y="181"/>
                    <a:pt x="253" y="181"/>
                  </a:cubicBezTo>
                  <a:cubicBezTo>
                    <a:pt x="277" y="300"/>
                    <a:pt x="277" y="300"/>
                    <a:pt x="277" y="300"/>
                  </a:cubicBezTo>
                  <a:cubicBezTo>
                    <a:pt x="356" y="284"/>
                    <a:pt x="1660" y="31"/>
                    <a:pt x="1684" y="23"/>
                  </a:cubicBezTo>
                  <a:cubicBezTo>
                    <a:pt x="1692" y="23"/>
                    <a:pt x="1700" y="15"/>
                    <a:pt x="1700" y="15"/>
                  </a:cubicBezTo>
                  <a:cubicBezTo>
                    <a:pt x="1716" y="8"/>
                    <a:pt x="1731" y="0"/>
                    <a:pt x="1747" y="0"/>
                  </a:cubicBezTo>
                  <a:cubicBezTo>
                    <a:pt x="1755" y="0"/>
                    <a:pt x="1771" y="8"/>
                    <a:pt x="1787" y="15"/>
                  </a:cubicBezTo>
                  <a:cubicBezTo>
                    <a:pt x="1834" y="55"/>
                    <a:pt x="1858" y="55"/>
                    <a:pt x="1889" y="55"/>
                  </a:cubicBezTo>
                  <a:lnTo>
                    <a:pt x="1889" y="55"/>
                  </a:lnTo>
                  <a:cubicBezTo>
                    <a:pt x="1913" y="55"/>
                    <a:pt x="1929" y="103"/>
                    <a:pt x="1945" y="150"/>
                  </a:cubicBezTo>
                  <a:cubicBezTo>
                    <a:pt x="1953" y="174"/>
                    <a:pt x="1961" y="189"/>
                    <a:pt x="1969" y="205"/>
                  </a:cubicBezTo>
                  <a:cubicBezTo>
                    <a:pt x="1976" y="213"/>
                    <a:pt x="1976" y="213"/>
                    <a:pt x="1984" y="213"/>
                  </a:cubicBezTo>
                  <a:cubicBezTo>
                    <a:pt x="1984" y="213"/>
                    <a:pt x="1984" y="213"/>
                    <a:pt x="1992" y="213"/>
                  </a:cubicBezTo>
                  <a:cubicBezTo>
                    <a:pt x="1992" y="213"/>
                    <a:pt x="2000" y="213"/>
                    <a:pt x="2008" y="213"/>
                  </a:cubicBezTo>
                  <a:cubicBezTo>
                    <a:pt x="2016" y="213"/>
                    <a:pt x="2024" y="213"/>
                    <a:pt x="2032" y="213"/>
                  </a:cubicBezTo>
                  <a:cubicBezTo>
                    <a:pt x="2056" y="221"/>
                    <a:pt x="2071" y="229"/>
                    <a:pt x="2087" y="237"/>
                  </a:cubicBezTo>
                  <a:lnTo>
                    <a:pt x="2087" y="237"/>
                  </a:lnTo>
                  <a:cubicBezTo>
                    <a:pt x="2087" y="245"/>
                    <a:pt x="2087" y="245"/>
                    <a:pt x="2087" y="245"/>
                  </a:cubicBezTo>
                  <a:cubicBezTo>
                    <a:pt x="2056" y="276"/>
                    <a:pt x="2032" y="300"/>
                    <a:pt x="2032" y="308"/>
                  </a:cubicBezTo>
                  <a:cubicBezTo>
                    <a:pt x="2032" y="316"/>
                    <a:pt x="2032" y="316"/>
                    <a:pt x="2032" y="316"/>
                  </a:cubicBezTo>
                  <a:cubicBezTo>
                    <a:pt x="2032" y="340"/>
                    <a:pt x="2040" y="371"/>
                    <a:pt x="2024" y="379"/>
                  </a:cubicBezTo>
                  <a:cubicBezTo>
                    <a:pt x="2008" y="395"/>
                    <a:pt x="1961" y="450"/>
                    <a:pt x="1969" y="474"/>
                  </a:cubicBezTo>
                  <a:cubicBezTo>
                    <a:pt x="1969" y="482"/>
                    <a:pt x="1969" y="482"/>
                    <a:pt x="1976" y="482"/>
                  </a:cubicBezTo>
                  <a:cubicBezTo>
                    <a:pt x="1992" y="490"/>
                    <a:pt x="2000" y="490"/>
                    <a:pt x="2000" y="490"/>
                  </a:cubicBezTo>
                  <a:cubicBezTo>
                    <a:pt x="2016" y="490"/>
                    <a:pt x="2016" y="498"/>
                    <a:pt x="2016" y="514"/>
                  </a:cubicBezTo>
                  <a:cubicBezTo>
                    <a:pt x="2016" y="537"/>
                    <a:pt x="2008" y="545"/>
                    <a:pt x="1992" y="561"/>
                  </a:cubicBezTo>
                  <a:cubicBezTo>
                    <a:pt x="1984" y="569"/>
                    <a:pt x="1976" y="585"/>
                    <a:pt x="1976" y="600"/>
                  </a:cubicBezTo>
                  <a:cubicBezTo>
                    <a:pt x="1976" y="608"/>
                    <a:pt x="1976" y="616"/>
                    <a:pt x="1984" y="616"/>
                  </a:cubicBezTo>
                  <a:cubicBezTo>
                    <a:pt x="1984" y="616"/>
                    <a:pt x="2008" y="640"/>
                    <a:pt x="2032" y="664"/>
                  </a:cubicBezTo>
                  <a:cubicBezTo>
                    <a:pt x="2150" y="758"/>
                    <a:pt x="2182" y="782"/>
                    <a:pt x="2182" y="790"/>
                  </a:cubicBezTo>
                  <a:cubicBezTo>
                    <a:pt x="2190" y="798"/>
                    <a:pt x="2134" y="869"/>
                    <a:pt x="2134" y="869"/>
                  </a:cubicBezTo>
                  <a:cubicBezTo>
                    <a:pt x="2119" y="877"/>
                    <a:pt x="2119" y="901"/>
                    <a:pt x="2111" y="925"/>
                  </a:cubicBezTo>
                  <a:cubicBezTo>
                    <a:pt x="2111" y="932"/>
                    <a:pt x="2103" y="940"/>
                    <a:pt x="2103" y="948"/>
                  </a:cubicBezTo>
                  <a:cubicBezTo>
                    <a:pt x="2087" y="980"/>
                    <a:pt x="2079" y="988"/>
                    <a:pt x="2047" y="996"/>
                  </a:cubicBezTo>
                  <a:cubicBezTo>
                    <a:pt x="2032" y="1004"/>
                    <a:pt x="2016" y="1011"/>
                    <a:pt x="2008" y="1027"/>
                  </a:cubicBezTo>
                  <a:cubicBezTo>
                    <a:pt x="2000" y="1027"/>
                    <a:pt x="2000" y="1027"/>
                    <a:pt x="2000" y="1027"/>
                  </a:cubicBezTo>
                  <a:lnTo>
                    <a:pt x="2000" y="1027"/>
                  </a:lnTo>
                  <a:cubicBezTo>
                    <a:pt x="2000" y="1020"/>
                    <a:pt x="1992" y="1011"/>
                    <a:pt x="1976" y="1011"/>
                  </a:cubicBezTo>
                  <a:cubicBezTo>
                    <a:pt x="1945" y="1011"/>
                    <a:pt x="1913" y="1027"/>
                    <a:pt x="1913" y="1043"/>
                  </a:cubicBezTo>
                  <a:cubicBezTo>
                    <a:pt x="1905" y="1043"/>
                    <a:pt x="1897" y="1059"/>
                    <a:pt x="1889" y="1075"/>
                  </a:cubicBezTo>
                  <a:cubicBezTo>
                    <a:pt x="1889" y="1075"/>
                    <a:pt x="1881" y="1083"/>
                    <a:pt x="1881" y="1091"/>
                  </a:cubicBezTo>
                  <a:cubicBezTo>
                    <a:pt x="1881" y="1091"/>
                    <a:pt x="1881" y="1091"/>
                    <a:pt x="1881" y="1098"/>
                  </a:cubicBezTo>
                  <a:lnTo>
                    <a:pt x="1881" y="1098"/>
                  </a:lnTo>
                  <a:lnTo>
                    <a:pt x="198" y="1422"/>
                  </a:lnTo>
                  <a:close/>
                  <a:moveTo>
                    <a:pt x="8" y="363"/>
                  </a:moveTo>
                  <a:lnTo>
                    <a:pt x="8" y="363"/>
                  </a:lnTo>
                  <a:cubicBezTo>
                    <a:pt x="206" y="1415"/>
                    <a:pt x="206" y="1415"/>
                    <a:pt x="206" y="1415"/>
                  </a:cubicBezTo>
                  <a:cubicBezTo>
                    <a:pt x="1874" y="1091"/>
                    <a:pt x="1874" y="1091"/>
                    <a:pt x="1874" y="1091"/>
                  </a:cubicBezTo>
                  <a:cubicBezTo>
                    <a:pt x="1874" y="1083"/>
                    <a:pt x="1874" y="1083"/>
                    <a:pt x="1874" y="1083"/>
                  </a:cubicBezTo>
                  <a:cubicBezTo>
                    <a:pt x="1881" y="1083"/>
                    <a:pt x="1881" y="1075"/>
                    <a:pt x="1881" y="1067"/>
                  </a:cubicBezTo>
                  <a:cubicBezTo>
                    <a:pt x="1889" y="1059"/>
                    <a:pt x="1897" y="1043"/>
                    <a:pt x="1905" y="1035"/>
                  </a:cubicBezTo>
                  <a:cubicBezTo>
                    <a:pt x="1913" y="1020"/>
                    <a:pt x="1945" y="1004"/>
                    <a:pt x="1976" y="1004"/>
                  </a:cubicBezTo>
                  <a:cubicBezTo>
                    <a:pt x="1992" y="1004"/>
                    <a:pt x="2000" y="1011"/>
                    <a:pt x="2008" y="1020"/>
                  </a:cubicBezTo>
                  <a:cubicBezTo>
                    <a:pt x="2016" y="1004"/>
                    <a:pt x="2032" y="996"/>
                    <a:pt x="2047" y="988"/>
                  </a:cubicBezTo>
                  <a:cubicBezTo>
                    <a:pt x="2071" y="980"/>
                    <a:pt x="2087" y="972"/>
                    <a:pt x="2095" y="948"/>
                  </a:cubicBezTo>
                  <a:cubicBezTo>
                    <a:pt x="2095" y="940"/>
                    <a:pt x="2103" y="932"/>
                    <a:pt x="2103" y="917"/>
                  </a:cubicBezTo>
                  <a:cubicBezTo>
                    <a:pt x="2111" y="901"/>
                    <a:pt x="2119" y="877"/>
                    <a:pt x="2127" y="861"/>
                  </a:cubicBezTo>
                  <a:cubicBezTo>
                    <a:pt x="2142" y="845"/>
                    <a:pt x="2174" y="798"/>
                    <a:pt x="2174" y="790"/>
                  </a:cubicBezTo>
                  <a:cubicBezTo>
                    <a:pt x="2174" y="782"/>
                    <a:pt x="2079" y="711"/>
                    <a:pt x="2032" y="664"/>
                  </a:cubicBezTo>
                  <a:cubicBezTo>
                    <a:pt x="2000" y="640"/>
                    <a:pt x="1984" y="624"/>
                    <a:pt x="1976" y="624"/>
                  </a:cubicBezTo>
                  <a:cubicBezTo>
                    <a:pt x="1969" y="616"/>
                    <a:pt x="1969" y="608"/>
                    <a:pt x="1969" y="600"/>
                  </a:cubicBezTo>
                  <a:cubicBezTo>
                    <a:pt x="1969" y="585"/>
                    <a:pt x="1976" y="561"/>
                    <a:pt x="1992" y="553"/>
                  </a:cubicBezTo>
                  <a:cubicBezTo>
                    <a:pt x="2008" y="545"/>
                    <a:pt x="2008" y="529"/>
                    <a:pt x="2008" y="514"/>
                  </a:cubicBezTo>
                  <a:cubicBezTo>
                    <a:pt x="2008" y="505"/>
                    <a:pt x="2008" y="498"/>
                    <a:pt x="2008" y="498"/>
                  </a:cubicBezTo>
                  <a:cubicBezTo>
                    <a:pt x="2008" y="498"/>
                    <a:pt x="2008" y="498"/>
                    <a:pt x="2000" y="498"/>
                  </a:cubicBezTo>
                  <a:cubicBezTo>
                    <a:pt x="2000" y="498"/>
                    <a:pt x="1984" y="498"/>
                    <a:pt x="1969" y="490"/>
                  </a:cubicBezTo>
                  <a:cubicBezTo>
                    <a:pt x="1969" y="490"/>
                    <a:pt x="1961" y="482"/>
                    <a:pt x="1961" y="474"/>
                  </a:cubicBezTo>
                  <a:cubicBezTo>
                    <a:pt x="1953" y="442"/>
                    <a:pt x="2008" y="387"/>
                    <a:pt x="2016" y="379"/>
                  </a:cubicBezTo>
                  <a:cubicBezTo>
                    <a:pt x="2032" y="363"/>
                    <a:pt x="2032" y="332"/>
                    <a:pt x="2024" y="316"/>
                  </a:cubicBezTo>
                  <a:cubicBezTo>
                    <a:pt x="2024" y="316"/>
                    <a:pt x="2024" y="316"/>
                    <a:pt x="2024" y="308"/>
                  </a:cubicBezTo>
                  <a:cubicBezTo>
                    <a:pt x="2024" y="300"/>
                    <a:pt x="2056" y="268"/>
                    <a:pt x="2079" y="245"/>
                  </a:cubicBezTo>
                  <a:cubicBezTo>
                    <a:pt x="2063" y="237"/>
                    <a:pt x="2056" y="229"/>
                    <a:pt x="2032" y="221"/>
                  </a:cubicBezTo>
                  <a:cubicBezTo>
                    <a:pt x="2024" y="221"/>
                    <a:pt x="2016" y="221"/>
                    <a:pt x="2008" y="221"/>
                  </a:cubicBezTo>
                  <a:cubicBezTo>
                    <a:pt x="2000" y="221"/>
                    <a:pt x="2000" y="221"/>
                    <a:pt x="1992" y="221"/>
                  </a:cubicBezTo>
                  <a:lnTo>
                    <a:pt x="1984" y="221"/>
                  </a:lnTo>
                  <a:cubicBezTo>
                    <a:pt x="1976" y="221"/>
                    <a:pt x="1969" y="221"/>
                    <a:pt x="1961" y="205"/>
                  </a:cubicBezTo>
                  <a:cubicBezTo>
                    <a:pt x="1953" y="197"/>
                    <a:pt x="1945" y="174"/>
                    <a:pt x="1937" y="158"/>
                  </a:cubicBezTo>
                  <a:cubicBezTo>
                    <a:pt x="1921" y="118"/>
                    <a:pt x="1905" y="63"/>
                    <a:pt x="1889" y="63"/>
                  </a:cubicBezTo>
                  <a:lnTo>
                    <a:pt x="1889" y="63"/>
                  </a:lnTo>
                  <a:cubicBezTo>
                    <a:pt x="1858" y="63"/>
                    <a:pt x="1834" y="63"/>
                    <a:pt x="1787" y="23"/>
                  </a:cubicBezTo>
                  <a:cubicBezTo>
                    <a:pt x="1771" y="8"/>
                    <a:pt x="1755" y="8"/>
                    <a:pt x="1747" y="8"/>
                  </a:cubicBezTo>
                  <a:cubicBezTo>
                    <a:pt x="1731" y="8"/>
                    <a:pt x="1716" y="15"/>
                    <a:pt x="1708" y="15"/>
                  </a:cubicBezTo>
                  <a:cubicBezTo>
                    <a:pt x="1700" y="23"/>
                    <a:pt x="1692" y="23"/>
                    <a:pt x="1684" y="31"/>
                  </a:cubicBezTo>
                  <a:cubicBezTo>
                    <a:pt x="1660" y="39"/>
                    <a:pt x="332" y="292"/>
                    <a:pt x="277" y="308"/>
                  </a:cubicBezTo>
                  <a:cubicBezTo>
                    <a:pt x="269" y="308"/>
                    <a:pt x="269" y="308"/>
                    <a:pt x="269" y="308"/>
                  </a:cubicBezTo>
                  <a:cubicBezTo>
                    <a:pt x="245" y="197"/>
                    <a:pt x="245" y="197"/>
                    <a:pt x="245" y="197"/>
                  </a:cubicBezTo>
                  <a:cubicBezTo>
                    <a:pt x="198" y="245"/>
                    <a:pt x="111" y="316"/>
                    <a:pt x="55" y="340"/>
                  </a:cubicBezTo>
                  <a:cubicBezTo>
                    <a:pt x="40" y="347"/>
                    <a:pt x="24" y="355"/>
                    <a:pt x="8" y="363"/>
                  </a:cubicBezTo>
                  <a:close/>
                </a:path>
              </a:pathLst>
            </a:custGeom>
            <a:grpFill/>
            <a:ln>
              <a:solidFill>
                <a:schemeClr val="bg1">
                  <a:lumMod val="95000"/>
                </a:schemeClr>
              </a:solidFill>
            </a:ln>
            <a:effectLst/>
          </p:spPr>
          <p:txBody>
            <a:bodyPr wrap="none" anchor="ctr"/>
            <a:lstStyle/>
            <a:p>
              <a:endParaRPr lang="en-US" sz="900"/>
            </a:p>
          </p:txBody>
        </p:sp>
        <p:sp>
          <p:nvSpPr>
            <p:cNvPr id="107" name="Freeform 775"/>
            <p:cNvSpPr>
              <a:spLocks noChangeArrowheads="1"/>
            </p:cNvSpPr>
            <p:nvPr/>
          </p:nvSpPr>
          <p:spPr bwMode="auto">
            <a:xfrm>
              <a:off x="15493204" y="5556056"/>
              <a:ext cx="906849" cy="637810"/>
            </a:xfrm>
            <a:custGeom>
              <a:avLst/>
              <a:gdLst>
                <a:gd name="T0" fmla="*/ 1660 w 1725"/>
                <a:gd name="T1" fmla="*/ 752 h 1211"/>
                <a:gd name="T2" fmla="*/ 1692 w 1725"/>
                <a:gd name="T3" fmla="*/ 649 h 1211"/>
                <a:gd name="T4" fmla="*/ 1573 w 1725"/>
                <a:gd name="T5" fmla="*/ 570 h 1211"/>
                <a:gd name="T6" fmla="*/ 1407 w 1725"/>
                <a:gd name="T7" fmla="*/ 317 h 1211"/>
                <a:gd name="T8" fmla="*/ 1312 w 1725"/>
                <a:gd name="T9" fmla="*/ 0 h 1211"/>
                <a:gd name="T10" fmla="*/ 40 w 1725"/>
                <a:gd name="T11" fmla="*/ 483 h 1211"/>
                <a:gd name="T12" fmla="*/ 206 w 1725"/>
                <a:gd name="T13" fmla="*/ 340 h 1211"/>
                <a:gd name="T14" fmla="*/ 269 w 1725"/>
                <a:gd name="T15" fmla="*/ 246 h 1211"/>
                <a:gd name="T16" fmla="*/ 380 w 1725"/>
                <a:gd name="T17" fmla="*/ 238 h 1211"/>
                <a:gd name="T18" fmla="*/ 498 w 1725"/>
                <a:gd name="T19" fmla="*/ 190 h 1211"/>
                <a:gd name="T20" fmla="*/ 617 w 1725"/>
                <a:gd name="T21" fmla="*/ 246 h 1211"/>
                <a:gd name="T22" fmla="*/ 743 w 1725"/>
                <a:gd name="T23" fmla="*/ 324 h 1211"/>
                <a:gd name="T24" fmla="*/ 846 w 1725"/>
                <a:gd name="T25" fmla="*/ 419 h 1211"/>
                <a:gd name="T26" fmla="*/ 933 w 1725"/>
                <a:gd name="T27" fmla="*/ 601 h 1211"/>
                <a:gd name="T28" fmla="*/ 981 w 1725"/>
                <a:gd name="T29" fmla="*/ 720 h 1211"/>
                <a:gd name="T30" fmla="*/ 1044 w 1725"/>
                <a:gd name="T31" fmla="*/ 752 h 1211"/>
                <a:gd name="T32" fmla="*/ 1241 w 1725"/>
                <a:gd name="T33" fmla="*/ 775 h 1211"/>
                <a:gd name="T34" fmla="*/ 1225 w 1725"/>
                <a:gd name="T35" fmla="*/ 649 h 1211"/>
                <a:gd name="T36" fmla="*/ 1154 w 1725"/>
                <a:gd name="T37" fmla="*/ 491 h 1211"/>
                <a:gd name="T38" fmla="*/ 1131 w 1725"/>
                <a:gd name="T39" fmla="*/ 301 h 1211"/>
                <a:gd name="T40" fmla="*/ 1131 w 1725"/>
                <a:gd name="T41" fmla="*/ 238 h 1211"/>
                <a:gd name="T42" fmla="*/ 1210 w 1725"/>
                <a:gd name="T43" fmla="*/ 166 h 1211"/>
                <a:gd name="T44" fmla="*/ 1257 w 1725"/>
                <a:gd name="T45" fmla="*/ 119 h 1211"/>
                <a:gd name="T46" fmla="*/ 1273 w 1725"/>
                <a:gd name="T47" fmla="*/ 174 h 1211"/>
                <a:gd name="T48" fmla="*/ 1210 w 1725"/>
                <a:gd name="T49" fmla="*/ 317 h 1211"/>
                <a:gd name="T50" fmla="*/ 1202 w 1725"/>
                <a:gd name="T51" fmla="*/ 372 h 1211"/>
                <a:gd name="T52" fmla="*/ 1234 w 1725"/>
                <a:gd name="T53" fmla="*/ 396 h 1211"/>
                <a:gd name="T54" fmla="*/ 1218 w 1725"/>
                <a:gd name="T55" fmla="*/ 451 h 1211"/>
                <a:gd name="T56" fmla="*/ 1273 w 1725"/>
                <a:gd name="T57" fmla="*/ 483 h 1211"/>
                <a:gd name="T58" fmla="*/ 1249 w 1725"/>
                <a:gd name="T59" fmla="*/ 538 h 1211"/>
                <a:gd name="T60" fmla="*/ 1297 w 1725"/>
                <a:gd name="T61" fmla="*/ 601 h 1211"/>
                <a:gd name="T62" fmla="*/ 1312 w 1725"/>
                <a:gd name="T63" fmla="*/ 696 h 1211"/>
                <a:gd name="T64" fmla="*/ 1415 w 1725"/>
                <a:gd name="T65" fmla="*/ 672 h 1211"/>
                <a:gd name="T66" fmla="*/ 1455 w 1725"/>
                <a:gd name="T67" fmla="*/ 799 h 1211"/>
                <a:gd name="T68" fmla="*/ 1518 w 1725"/>
                <a:gd name="T69" fmla="*/ 846 h 1211"/>
                <a:gd name="T70" fmla="*/ 1478 w 1725"/>
                <a:gd name="T71" fmla="*/ 1083 h 1211"/>
                <a:gd name="T72" fmla="*/ 1534 w 1725"/>
                <a:gd name="T73" fmla="*/ 1155 h 1211"/>
                <a:gd name="T74" fmla="*/ 1558 w 1725"/>
                <a:gd name="T75" fmla="*/ 1004 h 1211"/>
                <a:gd name="T76" fmla="*/ 1605 w 1725"/>
                <a:gd name="T77" fmla="*/ 870 h 1211"/>
                <a:gd name="T78" fmla="*/ 1692 w 1725"/>
                <a:gd name="T79" fmla="*/ 767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5" h="1211">
                  <a:moveTo>
                    <a:pt x="1660" y="752"/>
                  </a:moveTo>
                  <a:lnTo>
                    <a:pt x="1660" y="752"/>
                  </a:lnTo>
                  <a:cubicBezTo>
                    <a:pt x="1645" y="728"/>
                    <a:pt x="1629" y="712"/>
                    <a:pt x="1652" y="696"/>
                  </a:cubicBezTo>
                  <a:cubicBezTo>
                    <a:pt x="1676" y="680"/>
                    <a:pt x="1660" y="680"/>
                    <a:pt x="1692" y="649"/>
                  </a:cubicBezTo>
                  <a:cubicBezTo>
                    <a:pt x="1716" y="625"/>
                    <a:pt x="1716" y="609"/>
                    <a:pt x="1724" y="593"/>
                  </a:cubicBezTo>
                  <a:cubicBezTo>
                    <a:pt x="1684" y="577"/>
                    <a:pt x="1621" y="577"/>
                    <a:pt x="1573" y="570"/>
                  </a:cubicBezTo>
                  <a:cubicBezTo>
                    <a:pt x="1502" y="554"/>
                    <a:pt x="1455" y="554"/>
                    <a:pt x="1447" y="546"/>
                  </a:cubicBezTo>
                  <a:cubicBezTo>
                    <a:pt x="1439" y="530"/>
                    <a:pt x="1407" y="364"/>
                    <a:pt x="1407" y="317"/>
                  </a:cubicBezTo>
                  <a:cubicBezTo>
                    <a:pt x="1400" y="277"/>
                    <a:pt x="1360" y="151"/>
                    <a:pt x="1336" y="87"/>
                  </a:cubicBezTo>
                  <a:cubicBezTo>
                    <a:pt x="1312" y="48"/>
                    <a:pt x="1312" y="16"/>
                    <a:pt x="1312" y="0"/>
                  </a:cubicBezTo>
                  <a:cubicBezTo>
                    <a:pt x="0" y="246"/>
                    <a:pt x="0" y="246"/>
                    <a:pt x="0" y="246"/>
                  </a:cubicBezTo>
                  <a:cubicBezTo>
                    <a:pt x="40" y="483"/>
                    <a:pt x="40" y="483"/>
                    <a:pt x="40" y="483"/>
                  </a:cubicBezTo>
                  <a:cubicBezTo>
                    <a:pt x="158" y="348"/>
                    <a:pt x="158" y="348"/>
                    <a:pt x="158" y="348"/>
                  </a:cubicBezTo>
                  <a:cubicBezTo>
                    <a:pt x="158" y="348"/>
                    <a:pt x="206" y="324"/>
                    <a:pt x="206" y="340"/>
                  </a:cubicBezTo>
                  <a:cubicBezTo>
                    <a:pt x="214" y="364"/>
                    <a:pt x="222" y="340"/>
                    <a:pt x="230" y="333"/>
                  </a:cubicBezTo>
                  <a:cubicBezTo>
                    <a:pt x="230" y="317"/>
                    <a:pt x="253" y="230"/>
                    <a:pt x="269" y="246"/>
                  </a:cubicBezTo>
                  <a:cubicBezTo>
                    <a:pt x="277" y="261"/>
                    <a:pt x="277" y="277"/>
                    <a:pt x="317" y="285"/>
                  </a:cubicBezTo>
                  <a:cubicBezTo>
                    <a:pt x="356" y="285"/>
                    <a:pt x="364" y="246"/>
                    <a:pt x="380" y="238"/>
                  </a:cubicBezTo>
                  <a:cubicBezTo>
                    <a:pt x="403" y="230"/>
                    <a:pt x="427" y="222"/>
                    <a:pt x="443" y="214"/>
                  </a:cubicBezTo>
                  <a:cubicBezTo>
                    <a:pt x="451" y="198"/>
                    <a:pt x="475" y="182"/>
                    <a:pt x="498" y="190"/>
                  </a:cubicBezTo>
                  <a:cubicBezTo>
                    <a:pt x="514" y="206"/>
                    <a:pt x="538" y="206"/>
                    <a:pt x="561" y="206"/>
                  </a:cubicBezTo>
                  <a:cubicBezTo>
                    <a:pt x="593" y="206"/>
                    <a:pt x="617" y="222"/>
                    <a:pt x="617" y="246"/>
                  </a:cubicBezTo>
                  <a:cubicBezTo>
                    <a:pt x="625" y="261"/>
                    <a:pt x="656" y="317"/>
                    <a:pt x="656" y="317"/>
                  </a:cubicBezTo>
                  <a:cubicBezTo>
                    <a:pt x="656" y="317"/>
                    <a:pt x="743" y="301"/>
                    <a:pt x="743" y="324"/>
                  </a:cubicBezTo>
                  <a:cubicBezTo>
                    <a:pt x="751" y="348"/>
                    <a:pt x="751" y="396"/>
                    <a:pt x="767" y="412"/>
                  </a:cubicBezTo>
                  <a:cubicBezTo>
                    <a:pt x="775" y="419"/>
                    <a:pt x="822" y="404"/>
                    <a:pt x="846" y="419"/>
                  </a:cubicBezTo>
                  <a:cubicBezTo>
                    <a:pt x="870" y="435"/>
                    <a:pt x="949" y="467"/>
                    <a:pt x="949" y="499"/>
                  </a:cubicBezTo>
                  <a:cubicBezTo>
                    <a:pt x="949" y="530"/>
                    <a:pt x="957" y="562"/>
                    <a:pt x="933" y="601"/>
                  </a:cubicBezTo>
                  <a:cubicBezTo>
                    <a:pt x="909" y="641"/>
                    <a:pt x="886" y="696"/>
                    <a:pt x="901" y="720"/>
                  </a:cubicBezTo>
                  <a:cubicBezTo>
                    <a:pt x="917" y="744"/>
                    <a:pt x="957" y="736"/>
                    <a:pt x="981" y="720"/>
                  </a:cubicBezTo>
                  <a:cubicBezTo>
                    <a:pt x="996" y="696"/>
                    <a:pt x="1036" y="704"/>
                    <a:pt x="1044" y="720"/>
                  </a:cubicBezTo>
                  <a:cubicBezTo>
                    <a:pt x="1052" y="728"/>
                    <a:pt x="1020" y="736"/>
                    <a:pt x="1044" y="752"/>
                  </a:cubicBezTo>
                  <a:cubicBezTo>
                    <a:pt x="1075" y="759"/>
                    <a:pt x="1115" y="775"/>
                    <a:pt x="1154" y="783"/>
                  </a:cubicBezTo>
                  <a:cubicBezTo>
                    <a:pt x="1186" y="791"/>
                    <a:pt x="1225" y="775"/>
                    <a:pt x="1241" y="775"/>
                  </a:cubicBezTo>
                  <a:cubicBezTo>
                    <a:pt x="1241" y="759"/>
                    <a:pt x="1249" y="752"/>
                    <a:pt x="1241" y="728"/>
                  </a:cubicBezTo>
                  <a:cubicBezTo>
                    <a:pt x="1234" y="688"/>
                    <a:pt x="1241" y="680"/>
                    <a:pt x="1225" y="649"/>
                  </a:cubicBezTo>
                  <a:cubicBezTo>
                    <a:pt x="1210" y="609"/>
                    <a:pt x="1194" y="617"/>
                    <a:pt x="1186" y="593"/>
                  </a:cubicBezTo>
                  <a:cubicBezTo>
                    <a:pt x="1178" y="562"/>
                    <a:pt x="1154" y="530"/>
                    <a:pt x="1154" y="491"/>
                  </a:cubicBezTo>
                  <a:cubicBezTo>
                    <a:pt x="1147" y="443"/>
                    <a:pt x="1147" y="404"/>
                    <a:pt x="1147" y="364"/>
                  </a:cubicBezTo>
                  <a:cubicBezTo>
                    <a:pt x="1139" y="333"/>
                    <a:pt x="1154" y="309"/>
                    <a:pt x="1131" y="301"/>
                  </a:cubicBezTo>
                  <a:cubicBezTo>
                    <a:pt x="1107" y="293"/>
                    <a:pt x="1083" y="230"/>
                    <a:pt x="1099" y="238"/>
                  </a:cubicBezTo>
                  <a:cubicBezTo>
                    <a:pt x="1107" y="246"/>
                    <a:pt x="1123" y="261"/>
                    <a:pt x="1131" y="238"/>
                  </a:cubicBezTo>
                  <a:cubicBezTo>
                    <a:pt x="1139" y="214"/>
                    <a:pt x="1170" y="182"/>
                    <a:pt x="1170" y="182"/>
                  </a:cubicBezTo>
                  <a:cubicBezTo>
                    <a:pt x="1178" y="182"/>
                    <a:pt x="1194" y="174"/>
                    <a:pt x="1210" y="166"/>
                  </a:cubicBezTo>
                  <a:cubicBezTo>
                    <a:pt x="1234" y="151"/>
                    <a:pt x="1249" y="135"/>
                    <a:pt x="1249" y="127"/>
                  </a:cubicBezTo>
                  <a:cubicBezTo>
                    <a:pt x="1241" y="111"/>
                    <a:pt x="1257" y="95"/>
                    <a:pt x="1257" y="119"/>
                  </a:cubicBezTo>
                  <a:cubicBezTo>
                    <a:pt x="1257" y="135"/>
                    <a:pt x="1257" y="166"/>
                    <a:pt x="1265" y="166"/>
                  </a:cubicBezTo>
                  <a:cubicBezTo>
                    <a:pt x="1281" y="166"/>
                    <a:pt x="1297" y="174"/>
                    <a:pt x="1273" y="174"/>
                  </a:cubicBezTo>
                  <a:cubicBezTo>
                    <a:pt x="1257" y="182"/>
                    <a:pt x="1170" y="198"/>
                    <a:pt x="1186" y="222"/>
                  </a:cubicBezTo>
                  <a:cubicBezTo>
                    <a:pt x="1194" y="253"/>
                    <a:pt x="1186" y="317"/>
                    <a:pt x="1210" y="317"/>
                  </a:cubicBezTo>
                  <a:cubicBezTo>
                    <a:pt x="1234" y="309"/>
                    <a:pt x="1241" y="309"/>
                    <a:pt x="1234" y="333"/>
                  </a:cubicBezTo>
                  <a:cubicBezTo>
                    <a:pt x="1234" y="356"/>
                    <a:pt x="1210" y="348"/>
                    <a:pt x="1202" y="372"/>
                  </a:cubicBezTo>
                  <a:cubicBezTo>
                    <a:pt x="1186" y="388"/>
                    <a:pt x="1147" y="412"/>
                    <a:pt x="1178" y="412"/>
                  </a:cubicBezTo>
                  <a:cubicBezTo>
                    <a:pt x="1210" y="419"/>
                    <a:pt x="1234" y="380"/>
                    <a:pt x="1234" y="396"/>
                  </a:cubicBezTo>
                  <a:cubicBezTo>
                    <a:pt x="1241" y="404"/>
                    <a:pt x="1265" y="412"/>
                    <a:pt x="1249" y="427"/>
                  </a:cubicBezTo>
                  <a:cubicBezTo>
                    <a:pt x="1234" y="443"/>
                    <a:pt x="1218" y="435"/>
                    <a:pt x="1218" y="451"/>
                  </a:cubicBezTo>
                  <a:cubicBezTo>
                    <a:pt x="1218" y="467"/>
                    <a:pt x="1202" y="475"/>
                    <a:pt x="1225" y="483"/>
                  </a:cubicBezTo>
                  <a:cubicBezTo>
                    <a:pt x="1249" y="491"/>
                    <a:pt x="1265" y="467"/>
                    <a:pt x="1273" y="483"/>
                  </a:cubicBezTo>
                  <a:cubicBezTo>
                    <a:pt x="1289" y="499"/>
                    <a:pt x="1312" y="506"/>
                    <a:pt x="1289" y="514"/>
                  </a:cubicBezTo>
                  <a:cubicBezTo>
                    <a:pt x="1273" y="530"/>
                    <a:pt x="1257" y="514"/>
                    <a:pt x="1249" y="538"/>
                  </a:cubicBezTo>
                  <a:cubicBezTo>
                    <a:pt x="1241" y="570"/>
                    <a:pt x="1234" y="577"/>
                    <a:pt x="1257" y="577"/>
                  </a:cubicBezTo>
                  <a:cubicBezTo>
                    <a:pt x="1289" y="586"/>
                    <a:pt x="1289" y="577"/>
                    <a:pt x="1297" y="601"/>
                  </a:cubicBezTo>
                  <a:cubicBezTo>
                    <a:pt x="1297" y="625"/>
                    <a:pt x="1297" y="609"/>
                    <a:pt x="1289" y="649"/>
                  </a:cubicBezTo>
                  <a:cubicBezTo>
                    <a:pt x="1289" y="680"/>
                    <a:pt x="1281" y="688"/>
                    <a:pt x="1312" y="696"/>
                  </a:cubicBezTo>
                  <a:cubicBezTo>
                    <a:pt x="1344" y="696"/>
                    <a:pt x="1360" y="672"/>
                    <a:pt x="1368" y="657"/>
                  </a:cubicBezTo>
                  <a:cubicBezTo>
                    <a:pt x="1368" y="649"/>
                    <a:pt x="1384" y="625"/>
                    <a:pt x="1415" y="672"/>
                  </a:cubicBezTo>
                  <a:cubicBezTo>
                    <a:pt x="1439" y="720"/>
                    <a:pt x="1463" y="728"/>
                    <a:pt x="1455" y="759"/>
                  </a:cubicBezTo>
                  <a:cubicBezTo>
                    <a:pt x="1439" y="791"/>
                    <a:pt x="1431" y="783"/>
                    <a:pt x="1455" y="799"/>
                  </a:cubicBezTo>
                  <a:cubicBezTo>
                    <a:pt x="1478" y="815"/>
                    <a:pt x="1494" y="815"/>
                    <a:pt x="1502" y="807"/>
                  </a:cubicBezTo>
                  <a:cubicBezTo>
                    <a:pt x="1510" y="807"/>
                    <a:pt x="1518" y="815"/>
                    <a:pt x="1518" y="846"/>
                  </a:cubicBezTo>
                  <a:cubicBezTo>
                    <a:pt x="1526" y="870"/>
                    <a:pt x="1487" y="941"/>
                    <a:pt x="1487" y="973"/>
                  </a:cubicBezTo>
                  <a:cubicBezTo>
                    <a:pt x="1487" y="1004"/>
                    <a:pt x="1478" y="1036"/>
                    <a:pt x="1478" y="1083"/>
                  </a:cubicBezTo>
                  <a:cubicBezTo>
                    <a:pt x="1487" y="1131"/>
                    <a:pt x="1471" y="1155"/>
                    <a:pt x="1494" y="1178"/>
                  </a:cubicBezTo>
                  <a:cubicBezTo>
                    <a:pt x="1518" y="1202"/>
                    <a:pt x="1534" y="1210"/>
                    <a:pt x="1534" y="1155"/>
                  </a:cubicBezTo>
                  <a:cubicBezTo>
                    <a:pt x="1534" y="1107"/>
                    <a:pt x="1526" y="1068"/>
                    <a:pt x="1542" y="1044"/>
                  </a:cubicBezTo>
                  <a:cubicBezTo>
                    <a:pt x="1550" y="1028"/>
                    <a:pt x="1558" y="1036"/>
                    <a:pt x="1558" y="1004"/>
                  </a:cubicBezTo>
                  <a:cubicBezTo>
                    <a:pt x="1558" y="981"/>
                    <a:pt x="1605" y="1028"/>
                    <a:pt x="1605" y="981"/>
                  </a:cubicBezTo>
                  <a:cubicBezTo>
                    <a:pt x="1597" y="941"/>
                    <a:pt x="1589" y="894"/>
                    <a:pt x="1605" y="870"/>
                  </a:cubicBezTo>
                  <a:cubicBezTo>
                    <a:pt x="1621" y="839"/>
                    <a:pt x="1605" y="815"/>
                    <a:pt x="1645" y="807"/>
                  </a:cubicBezTo>
                  <a:cubicBezTo>
                    <a:pt x="1684" y="791"/>
                    <a:pt x="1692" y="783"/>
                    <a:pt x="1692" y="767"/>
                  </a:cubicBezTo>
                  <a:cubicBezTo>
                    <a:pt x="1692" y="752"/>
                    <a:pt x="1668" y="767"/>
                    <a:pt x="1660" y="752"/>
                  </a:cubicBezTo>
                </a:path>
              </a:pathLst>
            </a:custGeom>
            <a:grpFill/>
            <a:ln>
              <a:solidFill>
                <a:schemeClr val="bg1">
                  <a:lumMod val="95000"/>
                </a:schemeClr>
              </a:solidFill>
            </a:ln>
            <a:effectLst/>
          </p:spPr>
          <p:txBody>
            <a:bodyPr wrap="none" anchor="ctr"/>
            <a:lstStyle/>
            <a:p>
              <a:endParaRPr lang="en-US" sz="900"/>
            </a:p>
          </p:txBody>
        </p:sp>
        <p:sp>
          <p:nvSpPr>
            <p:cNvPr id="108" name="Freeform 776"/>
            <p:cNvSpPr>
              <a:spLocks noChangeArrowheads="1"/>
            </p:cNvSpPr>
            <p:nvPr/>
          </p:nvSpPr>
          <p:spPr bwMode="auto">
            <a:xfrm>
              <a:off x="15490886" y="5553737"/>
              <a:ext cx="911486" cy="635490"/>
            </a:xfrm>
            <a:custGeom>
              <a:avLst/>
              <a:gdLst>
                <a:gd name="T0" fmla="*/ 1486 w 1733"/>
                <a:gd name="T1" fmla="*/ 1011 h 1210"/>
                <a:gd name="T2" fmla="*/ 1463 w 1733"/>
                <a:gd name="T3" fmla="*/ 806 h 1210"/>
                <a:gd name="T4" fmla="*/ 1392 w 1733"/>
                <a:gd name="T5" fmla="*/ 656 h 1210"/>
                <a:gd name="T6" fmla="*/ 1297 w 1733"/>
                <a:gd name="T7" fmla="*/ 624 h 1210"/>
                <a:gd name="T8" fmla="*/ 1257 w 1733"/>
                <a:gd name="T9" fmla="*/ 545 h 1210"/>
                <a:gd name="T10" fmla="*/ 1273 w 1733"/>
                <a:gd name="T11" fmla="*/ 490 h 1210"/>
                <a:gd name="T12" fmla="*/ 1226 w 1733"/>
                <a:gd name="T13" fmla="*/ 458 h 1210"/>
                <a:gd name="T14" fmla="*/ 1233 w 1733"/>
                <a:gd name="T15" fmla="*/ 411 h 1210"/>
                <a:gd name="T16" fmla="*/ 1242 w 1733"/>
                <a:gd name="T17" fmla="*/ 340 h 1210"/>
                <a:gd name="T18" fmla="*/ 1186 w 1733"/>
                <a:gd name="T19" fmla="*/ 221 h 1210"/>
                <a:gd name="T20" fmla="*/ 1265 w 1733"/>
                <a:gd name="T21" fmla="*/ 142 h 1210"/>
                <a:gd name="T22" fmla="*/ 1186 w 1733"/>
                <a:gd name="T23" fmla="*/ 189 h 1210"/>
                <a:gd name="T24" fmla="*/ 1139 w 1733"/>
                <a:gd name="T25" fmla="*/ 300 h 1210"/>
                <a:gd name="T26" fmla="*/ 1202 w 1733"/>
                <a:gd name="T27" fmla="*/ 593 h 1210"/>
                <a:gd name="T28" fmla="*/ 1249 w 1733"/>
                <a:gd name="T29" fmla="*/ 790 h 1210"/>
                <a:gd name="T30" fmla="*/ 1052 w 1733"/>
                <a:gd name="T31" fmla="*/ 759 h 1210"/>
                <a:gd name="T32" fmla="*/ 941 w 1733"/>
                <a:gd name="T33" fmla="*/ 743 h 1210"/>
                <a:gd name="T34" fmla="*/ 854 w 1733"/>
                <a:gd name="T35" fmla="*/ 426 h 1210"/>
                <a:gd name="T36" fmla="*/ 751 w 1733"/>
                <a:gd name="T37" fmla="*/ 331 h 1210"/>
                <a:gd name="T38" fmla="*/ 569 w 1733"/>
                <a:gd name="T39" fmla="*/ 213 h 1210"/>
                <a:gd name="T40" fmla="*/ 372 w 1733"/>
                <a:gd name="T41" fmla="*/ 268 h 1210"/>
                <a:gd name="T42" fmla="*/ 238 w 1733"/>
                <a:gd name="T43" fmla="*/ 340 h 1210"/>
                <a:gd name="T44" fmla="*/ 0 w 1733"/>
                <a:gd name="T45" fmla="*/ 253 h 1210"/>
                <a:gd name="T46" fmla="*/ 1518 w 1733"/>
                <a:gd name="T47" fmla="*/ 561 h 1210"/>
                <a:gd name="T48" fmla="*/ 1700 w 1733"/>
                <a:gd name="T49" fmla="*/ 656 h 1210"/>
                <a:gd name="T50" fmla="*/ 1692 w 1733"/>
                <a:gd name="T51" fmla="*/ 766 h 1210"/>
                <a:gd name="T52" fmla="*/ 1613 w 1733"/>
                <a:gd name="T53" fmla="*/ 988 h 1210"/>
                <a:gd name="T54" fmla="*/ 1558 w 1733"/>
                <a:gd name="T55" fmla="*/ 1051 h 1210"/>
                <a:gd name="T56" fmla="*/ 1510 w 1733"/>
                <a:gd name="T57" fmla="*/ 814 h 1210"/>
                <a:gd name="T58" fmla="*/ 1495 w 1733"/>
                <a:gd name="T59" fmla="*/ 1130 h 1210"/>
                <a:gd name="T60" fmla="*/ 1550 w 1733"/>
                <a:gd name="T61" fmla="*/ 1043 h 1210"/>
                <a:gd name="T62" fmla="*/ 1605 w 1733"/>
                <a:gd name="T63" fmla="*/ 988 h 1210"/>
                <a:gd name="T64" fmla="*/ 1692 w 1733"/>
                <a:gd name="T65" fmla="*/ 774 h 1210"/>
                <a:gd name="T66" fmla="*/ 1724 w 1733"/>
                <a:gd name="T67" fmla="*/ 600 h 1210"/>
                <a:gd name="T68" fmla="*/ 1336 w 1733"/>
                <a:gd name="T69" fmla="*/ 102 h 1210"/>
                <a:gd name="T70" fmla="*/ 206 w 1733"/>
                <a:gd name="T71" fmla="*/ 340 h 1210"/>
                <a:gd name="T72" fmla="*/ 277 w 1733"/>
                <a:gd name="T73" fmla="*/ 253 h 1210"/>
                <a:gd name="T74" fmla="*/ 411 w 1733"/>
                <a:gd name="T75" fmla="*/ 237 h 1210"/>
                <a:gd name="T76" fmla="*/ 672 w 1733"/>
                <a:gd name="T77" fmla="*/ 324 h 1210"/>
                <a:gd name="T78" fmla="*/ 807 w 1733"/>
                <a:gd name="T79" fmla="*/ 411 h 1210"/>
                <a:gd name="T80" fmla="*/ 949 w 1733"/>
                <a:gd name="T81" fmla="*/ 608 h 1210"/>
                <a:gd name="T82" fmla="*/ 1052 w 1733"/>
                <a:gd name="T83" fmla="*/ 743 h 1210"/>
                <a:gd name="T84" fmla="*/ 1242 w 1733"/>
                <a:gd name="T85" fmla="*/ 782 h 1210"/>
                <a:gd name="T86" fmla="*/ 1194 w 1733"/>
                <a:gd name="T87" fmla="*/ 600 h 1210"/>
                <a:gd name="T88" fmla="*/ 1139 w 1733"/>
                <a:gd name="T89" fmla="*/ 308 h 1210"/>
                <a:gd name="T90" fmla="*/ 1139 w 1733"/>
                <a:gd name="T91" fmla="*/ 245 h 1210"/>
                <a:gd name="T92" fmla="*/ 1265 w 1733"/>
                <a:gd name="T93" fmla="*/ 110 h 1210"/>
                <a:gd name="T94" fmla="*/ 1281 w 1733"/>
                <a:gd name="T95" fmla="*/ 189 h 1210"/>
                <a:gd name="T96" fmla="*/ 1218 w 1733"/>
                <a:gd name="T97" fmla="*/ 316 h 1210"/>
                <a:gd name="T98" fmla="*/ 1194 w 1733"/>
                <a:gd name="T99" fmla="*/ 395 h 1210"/>
                <a:gd name="T100" fmla="*/ 1257 w 1733"/>
                <a:gd name="T101" fmla="*/ 403 h 1210"/>
                <a:gd name="T102" fmla="*/ 1226 w 1733"/>
                <a:gd name="T103" fmla="*/ 482 h 1210"/>
                <a:gd name="T104" fmla="*/ 1297 w 1733"/>
                <a:gd name="T105" fmla="*/ 498 h 1210"/>
                <a:gd name="T106" fmla="*/ 1257 w 1733"/>
                <a:gd name="T107" fmla="*/ 577 h 1210"/>
                <a:gd name="T108" fmla="*/ 1305 w 1733"/>
                <a:gd name="T109" fmla="*/ 664 h 1210"/>
                <a:gd name="T110" fmla="*/ 1447 w 1733"/>
                <a:gd name="T111" fmla="*/ 711 h 1210"/>
                <a:gd name="T112" fmla="*/ 1502 w 1733"/>
                <a:gd name="T113" fmla="*/ 814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3" h="1210">
                  <a:moveTo>
                    <a:pt x="1526" y="1209"/>
                  </a:moveTo>
                  <a:lnTo>
                    <a:pt x="1526" y="1209"/>
                  </a:lnTo>
                  <a:cubicBezTo>
                    <a:pt x="1518" y="1209"/>
                    <a:pt x="1510" y="1201"/>
                    <a:pt x="1502" y="1185"/>
                  </a:cubicBezTo>
                  <a:cubicBezTo>
                    <a:pt x="1479" y="1170"/>
                    <a:pt x="1486" y="1154"/>
                    <a:pt x="1486" y="1130"/>
                  </a:cubicBezTo>
                  <a:cubicBezTo>
                    <a:pt x="1486" y="1122"/>
                    <a:pt x="1486" y="1106"/>
                    <a:pt x="1486" y="1090"/>
                  </a:cubicBezTo>
                  <a:cubicBezTo>
                    <a:pt x="1479" y="1059"/>
                    <a:pt x="1486" y="1035"/>
                    <a:pt x="1486" y="1011"/>
                  </a:cubicBezTo>
                  <a:cubicBezTo>
                    <a:pt x="1495" y="1004"/>
                    <a:pt x="1495" y="996"/>
                    <a:pt x="1495" y="980"/>
                  </a:cubicBezTo>
                  <a:cubicBezTo>
                    <a:pt x="1495" y="964"/>
                    <a:pt x="1502" y="940"/>
                    <a:pt x="1510" y="917"/>
                  </a:cubicBezTo>
                  <a:cubicBezTo>
                    <a:pt x="1518" y="893"/>
                    <a:pt x="1526" y="861"/>
                    <a:pt x="1526" y="853"/>
                  </a:cubicBezTo>
                  <a:cubicBezTo>
                    <a:pt x="1526" y="830"/>
                    <a:pt x="1518" y="814"/>
                    <a:pt x="1510" y="814"/>
                  </a:cubicBezTo>
                  <a:cubicBezTo>
                    <a:pt x="1510" y="822"/>
                    <a:pt x="1510" y="822"/>
                    <a:pt x="1510" y="822"/>
                  </a:cubicBezTo>
                  <a:cubicBezTo>
                    <a:pt x="1502" y="822"/>
                    <a:pt x="1486" y="822"/>
                    <a:pt x="1463" y="806"/>
                  </a:cubicBezTo>
                  <a:lnTo>
                    <a:pt x="1455" y="806"/>
                  </a:lnTo>
                  <a:cubicBezTo>
                    <a:pt x="1447" y="798"/>
                    <a:pt x="1447" y="798"/>
                    <a:pt x="1447" y="782"/>
                  </a:cubicBezTo>
                  <a:cubicBezTo>
                    <a:pt x="1447" y="782"/>
                    <a:pt x="1455" y="774"/>
                    <a:pt x="1455" y="766"/>
                  </a:cubicBezTo>
                  <a:cubicBezTo>
                    <a:pt x="1463" y="743"/>
                    <a:pt x="1455" y="735"/>
                    <a:pt x="1439" y="719"/>
                  </a:cubicBezTo>
                  <a:cubicBezTo>
                    <a:pt x="1439" y="703"/>
                    <a:pt x="1423" y="695"/>
                    <a:pt x="1415" y="679"/>
                  </a:cubicBezTo>
                  <a:cubicBezTo>
                    <a:pt x="1408" y="656"/>
                    <a:pt x="1400" y="656"/>
                    <a:pt x="1392" y="656"/>
                  </a:cubicBezTo>
                  <a:cubicBezTo>
                    <a:pt x="1384" y="656"/>
                    <a:pt x="1376" y="664"/>
                    <a:pt x="1376" y="671"/>
                  </a:cubicBezTo>
                  <a:cubicBezTo>
                    <a:pt x="1368" y="679"/>
                    <a:pt x="1352" y="703"/>
                    <a:pt x="1320" y="703"/>
                  </a:cubicBezTo>
                  <a:cubicBezTo>
                    <a:pt x="1313" y="703"/>
                    <a:pt x="1305" y="703"/>
                    <a:pt x="1297" y="695"/>
                  </a:cubicBezTo>
                  <a:cubicBezTo>
                    <a:pt x="1297" y="687"/>
                    <a:pt x="1297" y="679"/>
                    <a:pt x="1297" y="664"/>
                  </a:cubicBezTo>
                  <a:lnTo>
                    <a:pt x="1297" y="656"/>
                  </a:lnTo>
                  <a:cubicBezTo>
                    <a:pt x="1297" y="640"/>
                    <a:pt x="1297" y="632"/>
                    <a:pt x="1297" y="624"/>
                  </a:cubicBezTo>
                  <a:cubicBezTo>
                    <a:pt x="1305" y="624"/>
                    <a:pt x="1305" y="616"/>
                    <a:pt x="1297" y="608"/>
                  </a:cubicBezTo>
                  <a:cubicBezTo>
                    <a:pt x="1297" y="593"/>
                    <a:pt x="1297" y="593"/>
                    <a:pt x="1281" y="593"/>
                  </a:cubicBezTo>
                  <a:cubicBezTo>
                    <a:pt x="1273" y="593"/>
                    <a:pt x="1273" y="593"/>
                    <a:pt x="1265" y="593"/>
                  </a:cubicBezTo>
                  <a:cubicBezTo>
                    <a:pt x="1257" y="593"/>
                    <a:pt x="1249" y="584"/>
                    <a:pt x="1249" y="584"/>
                  </a:cubicBezTo>
                  <a:cubicBezTo>
                    <a:pt x="1242" y="577"/>
                    <a:pt x="1249" y="569"/>
                    <a:pt x="1249" y="561"/>
                  </a:cubicBezTo>
                  <a:cubicBezTo>
                    <a:pt x="1249" y="561"/>
                    <a:pt x="1249" y="553"/>
                    <a:pt x="1257" y="545"/>
                  </a:cubicBezTo>
                  <a:cubicBezTo>
                    <a:pt x="1257" y="529"/>
                    <a:pt x="1273" y="529"/>
                    <a:pt x="1281" y="529"/>
                  </a:cubicBezTo>
                  <a:cubicBezTo>
                    <a:pt x="1289" y="529"/>
                    <a:pt x="1289" y="521"/>
                    <a:pt x="1297" y="521"/>
                  </a:cubicBezTo>
                  <a:cubicBezTo>
                    <a:pt x="1305" y="521"/>
                    <a:pt x="1305" y="513"/>
                    <a:pt x="1305" y="513"/>
                  </a:cubicBezTo>
                  <a:lnTo>
                    <a:pt x="1297" y="506"/>
                  </a:lnTo>
                  <a:cubicBezTo>
                    <a:pt x="1289" y="506"/>
                    <a:pt x="1289" y="498"/>
                    <a:pt x="1281" y="490"/>
                  </a:cubicBezTo>
                  <a:lnTo>
                    <a:pt x="1273" y="490"/>
                  </a:lnTo>
                  <a:lnTo>
                    <a:pt x="1265" y="490"/>
                  </a:lnTo>
                  <a:cubicBezTo>
                    <a:pt x="1257" y="490"/>
                    <a:pt x="1249" y="498"/>
                    <a:pt x="1242" y="498"/>
                  </a:cubicBezTo>
                  <a:cubicBezTo>
                    <a:pt x="1242" y="498"/>
                    <a:pt x="1242" y="498"/>
                    <a:pt x="1233" y="498"/>
                  </a:cubicBezTo>
                  <a:cubicBezTo>
                    <a:pt x="1226" y="490"/>
                    <a:pt x="1218" y="490"/>
                    <a:pt x="1218" y="482"/>
                  </a:cubicBezTo>
                  <a:cubicBezTo>
                    <a:pt x="1218" y="482"/>
                    <a:pt x="1218" y="474"/>
                    <a:pt x="1218" y="466"/>
                  </a:cubicBezTo>
                  <a:cubicBezTo>
                    <a:pt x="1218" y="466"/>
                    <a:pt x="1218" y="458"/>
                    <a:pt x="1226" y="458"/>
                  </a:cubicBezTo>
                  <a:cubicBezTo>
                    <a:pt x="1226" y="442"/>
                    <a:pt x="1233" y="442"/>
                    <a:pt x="1242" y="442"/>
                  </a:cubicBezTo>
                  <a:cubicBezTo>
                    <a:pt x="1242" y="442"/>
                    <a:pt x="1249" y="434"/>
                    <a:pt x="1257" y="434"/>
                  </a:cubicBezTo>
                  <a:cubicBezTo>
                    <a:pt x="1257" y="426"/>
                    <a:pt x="1257" y="426"/>
                    <a:pt x="1257" y="426"/>
                  </a:cubicBezTo>
                  <a:cubicBezTo>
                    <a:pt x="1257" y="419"/>
                    <a:pt x="1257" y="419"/>
                    <a:pt x="1249" y="411"/>
                  </a:cubicBezTo>
                  <a:lnTo>
                    <a:pt x="1242" y="403"/>
                  </a:lnTo>
                  <a:cubicBezTo>
                    <a:pt x="1242" y="403"/>
                    <a:pt x="1233" y="403"/>
                    <a:pt x="1233" y="411"/>
                  </a:cubicBezTo>
                  <a:cubicBezTo>
                    <a:pt x="1218" y="419"/>
                    <a:pt x="1210" y="426"/>
                    <a:pt x="1186" y="426"/>
                  </a:cubicBezTo>
                  <a:cubicBezTo>
                    <a:pt x="1186" y="426"/>
                    <a:pt x="1178" y="426"/>
                    <a:pt x="1170" y="419"/>
                  </a:cubicBezTo>
                  <a:cubicBezTo>
                    <a:pt x="1170" y="411"/>
                    <a:pt x="1178" y="403"/>
                    <a:pt x="1186" y="395"/>
                  </a:cubicBezTo>
                  <a:cubicBezTo>
                    <a:pt x="1194" y="387"/>
                    <a:pt x="1202" y="379"/>
                    <a:pt x="1202" y="371"/>
                  </a:cubicBezTo>
                  <a:cubicBezTo>
                    <a:pt x="1210" y="363"/>
                    <a:pt x="1218" y="355"/>
                    <a:pt x="1226" y="355"/>
                  </a:cubicBezTo>
                  <a:cubicBezTo>
                    <a:pt x="1233" y="347"/>
                    <a:pt x="1242" y="347"/>
                    <a:pt x="1242" y="340"/>
                  </a:cubicBezTo>
                  <a:cubicBezTo>
                    <a:pt x="1242" y="331"/>
                    <a:pt x="1242" y="324"/>
                    <a:pt x="1242" y="324"/>
                  </a:cubicBezTo>
                  <a:cubicBezTo>
                    <a:pt x="1242" y="324"/>
                    <a:pt x="1233" y="324"/>
                    <a:pt x="1226" y="324"/>
                  </a:cubicBezTo>
                  <a:cubicBezTo>
                    <a:pt x="1218" y="324"/>
                    <a:pt x="1218" y="324"/>
                    <a:pt x="1218" y="324"/>
                  </a:cubicBezTo>
                  <a:cubicBezTo>
                    <a:pt x="1202" y="324"/>
                    <a:pt x="1202" y="300"/>
                    <a:pt x="1194" y="276"/>
                  </a:cubicBezTo>
                  <a:cubicBezTo>
                    <a:pt x="1194" y="260"/>
                    <a:pt x="1194" y="245"/>
                    <a:pt x="1186" y="229"/>
                  </a:cubicBezTo>
                  <a:lnTo>
                    <a:pt x="1186" y="221"/>
                  </a:lnTo>
                  <a:cubicBezTo>
                    <a:pt x="1194" y="205"/>
                    <a:pt x="1233" y="189"/>
                    <a:pt x="1265" y="181"/>
                  </a:cubicBezTo>
                  <a:cubicBezTo>
                    <a:pt x="1273" y="181"/>
                    <a:pt x="1281" y="181"/>
                    <a:pt x="1281" y="181"/>
                  </a:cubicBezTo>
                  <a:cubicBezTo>
                    <a:pt x="1289" y="181"/>
                    <a:pt x="1289" y="181"/>
                    <a:pt x="1289" y="181"/>
                  </a:cubicBezTo>
                  <a:cubicBezTo>
                    <a:pt x="1289" y="173"/>
                    <a:pt x="1281" y="173"/>
                    <a:pt x="1273" y="173"/>
                  </a:cubicBezTo>
                  <a:cubicBezTo>
                    <a:pt x="1273" y="173"/>
                    <a:pt x="1273" y="173"/>
                    <a:pt x="1265" y="173"/>
                  </a:cubicBezTo>
                  <a:cubicBezTo>
                    <a:pt x="1265" y="166"/>
                    <a:pt x="1265" y="150"/>
                    <a:pt x="1265" y="142"/>
                  </a:cubicBezTo>
                  <a:cubicBezTo>
                    <a:pt x="1265" y="134"/>
                    <a:pt x="1265" y="126"/>
                    <a:pt x="1265" y="126"/>
                  </a:cubicBezTo>
                  <a:cubicBezTo>
                    <a:pt x="1265" y="118"/>
                    <a:pt x="1265" y="118"/>
                    <a:pt x="1265" y="118"/>
                  </a:cubicBezTo>
                  <a:cubicBezTo>
                    <a:pt x="1265" y="118"/>
                    <a:pt x="1265" y="118"/>
                    <a:pt x="1257" y="118"/>
                  </a:cubicBezTo>
                  <a:cubicBezTo>
                    <a:pt x="1257" y="126"/>
                    <a:pt x="1257" y="126"/>
                    <a:pt x="1257" y="134"/>
                  </a:cubicBezTo>
                  <a:cubicBezTo>
                    <a:pt x="1257" y="150"/>
                    <a:pt x="1242" y="158"/>
                    <a:pt x="1218" y="173"/>
                  </a:cubicBezTo>
                  <a:cubicBezTo>
                    <a:pt x="1202" y="181"/>
                    <a:pt x="1194" y="189"/>
                    <a:pt x="1186" y="189"/>
                  </a:cubicBezTo>
                  <a:lnTo>
                    <a:pt x="1186" y="189"/>
                  </a:lnTo>
                  <a:cubicBezTo>
                    <a:pt x="1178" y="197"/>
                    <a:pt x="1155" y="221"/>
                    <a:pt x="1139" y="245"/>
                  </a:cubicBezTo>
                  <a:cubicBezTo>
                    <a:pt x="1139" y="253"/>
                    <a:pt x="1131" y="260"/>
                    <a:pt x="1123" y="260"/>
                  </a:cubicBezTo>
                  <a:cubicBezTo>
                    <a:pt x="1123" y="260"/>
                    <a:pt x="1115" y="260"/>
                    <a:pt x="1107" y="253"/>
                  </a:cubicBezTo>
                  <a:lnTo>
                    <a:pt x="1107" y="253"/>
                  </a:lnTo>
                  <a:cubicBezTo>
                    <a:pt x="1107" y="260"/>
                    <a:pt x="1123" y="292"/>
                    <a:pt x="1139" y="300"/>
                  </a:cubicBezTo>
                  <a:cubicBezTo>
                    <a:pt x="1155" y="308"/>
                    <a:pt x="1155" y="324"/>
                    <a:pt x="1155" y="347"/>
                  </a:cubicBezTo>
                  <a:cubicBezTo>
                    <a:pt x="1155" y="355"/>
                    <a:pt x="1155" y="363"/>
                    <a:pt x="1155" y="371"/>
                  </a:cubicBezTo>
                  <a:cubicBezTo>
                    <a:pt x="1162" y="395"/>
                    <a:pt x="1162" y="419"/>
                    <a:pt x="1162" y="442"/>
                  </a:cubicBezTo>
                  <a:cubicBezTo>
                    <a:pt x="1162" y="458"/>
                    <a:pt x="1162" y="474"/>
                    <a:pt x="1162" y="490"/>
                  </a:cubicBezTo>
                  <a:cubicBezTo>
                    <a:pt x="1162" y="521"/>
                    <a:pt x="1178" y="545"/>
                    <a:pt x="1186" y="561"/>
                  </a:cubicBezTo>
                  <a:cubicBezTo>
                    <a:pt x="1194" y="577"/>
                    <a:pt x="1194" y="584"/>
                    <a:pt x="1202" y="593"/>
                  </a:cubicBezTo>
                  <a:cubicBezTo>
                    <a:pt x="1202" y="608"/>
                    <a:pt x="1210" y="616"/>
                    <a:pt x="1218" y="624"/>
                  </a:cubicBezTo>
                  <a:cubicBezTo>
                    <a:pt x="1226" y="624"/>
                    <a:pt x="1233" y="632"/>
                    <a:pt x="1242" y="648"/>
                  </a:cubicBezTo>
                  <a:cubicBezTo>
                    <a:pt x="1249" y="671"/>
                    <a:pt x="1249" y="679"/>
                    <a:pt x="1249" y="695"/>
                  </a:cubicBezTo>
                  <a:cubicBezTo>
                    <a:pt x="1249" y="703"/>
                    <a:pt x="1249" y="719"/>
                    <a:pt x="1249" y="727"/>
                  </a:cubicBezTo>
                  <a:cubicBezTo>
                    <a:pt x="1257" y="751"/>
                    <a:pt x="1257" y="766"/>
                    <a:pt x="1257" y="774"/>
                  </a:cubicBezTo>
                  <a:cubicBezTo>
                    <a:pt x="1249" y="782"/>
                    <a:pt x="1249" y="782"/>
                    <a:pt x="1249" y="790"/>
                  </a:cubicBezTo>
                  <a:lnTo>
                    <a:pt x="1249" y="790"/>
                  </a:lnTo>
                  <a:lnTo>
                    <a:pt x="1249" y="790"/>
                  </a:lnTo>
                  <a:cubicBezTo>
                    <a:pt x="1242" y="790"/>
                    <a:pt x="1226" y="790"/>
                    <a:pt x="1218" y="790"/>
                  </a:cubicBezTo>
                  <a:cubicBezTo>
                    <a:pt x="1202" y="790"/>
                    <a:pt x="1186" y="798"/>
                    <a:pt x="1178" y="798"/>
                  </a:cubicBezTo>
                  <a:cubicBezTo>
                    <a:pt x="1170" y="798"/>
                    <a:pt x="1162" y="798"/>
                    <a:pt x="1162" y="798"/>
                  </a:cubicBezTo>
                  <a:cubicBezTo>
                    <a:pt x="1123" y="790"/>
                    <a:pt x="1083" y="774"/>
                    <a:pt x="1052" y="759"/>
                  </a:cubicBezTo>
                  <a:cubicBezTo>
                    <a:pt x="1044" y="759"/>
                    <a:pt x="1044" y="751"/>
                    <a:pt x="1044" y="751"/>
                  </a:cubicBezTo>
                  <a:cubicBezTo>
                    <a:pt x="1036" y="743"/>
                    <a:pt x="1044" y="743"/>
                    <a:pt x="1044" y="735"/>
                  </a:cubicBezTo>
                  <a:cubicBezTo>
                    <a:pt x="1044" y="735"/>
                    <a:pt x="1052" y="727"/>
                    <a:pt x="1044" y="727"/>
                  </a:cubicBezTo>
                  <a:cubicBezTo>
                    <a:pt x="1044" y="719"/>
                    <a:pt x="1028" y="719"/>
                    <a:pt x="1020" y="719"/>
                  </a:cubicBezTo>
                  <a:cubicBezTo>
                    <a:pt x="1012" y="719"/>
                    <a:pt x="996" y="719"/>
                    <a:pt x="989" y="727"/>
                  </a:cubicBezTo>
                  <a:cubicBezTo>
                    <a:pt x="980" y="735"/>
                    <a:pt x="957" y="743"/>
                    <a:pt x="941" y="743"/>
                  </a:cubicBezTo>
                  <a:cubicBezTo>
                    <a:pt x="925" y="743"/>
                    <a:pt x="917" y="735"/>
                    <a:pt x="909" y="727"/>
                  </a:cubicBezTo>
                  <a:cubicBezTo>
                    <a:pt x="894" y="703"/>
                    <a:pt x="925" y="632"/>
                    <a:pt x="941" y="608"/>
                  </a:cubicBezTo>
                  <a:cubicBezTo>
                    <a:pt x="965" y="577"/>
                    <a:pt x="957" y="553"/>
                    <a:pt x="957" y="521"/>
                  </a:cubicBezTo>
                  <a:cubicBezTo>
                    <a:pt x="957" y="521"/>
                    <a:pt x="957" y="513"/>
                    <a:pt x="957" y="506"/>
                  </a:cubicBezTo>
                  <a:cubicBezTo>
                    <a:pt x="949" y="482"/>
                    <a:pt x="909" y="458"/>
                    <a:pt x="878" y="442"/>
                  </a:cubicBezTo>
                  <a:cubicBezTo>
                    <a:pt x="870" y="442"/>
                    <a:pt x="862" y="434"/>
                    <a:pt x="854" y="426"/>
                  </a:cubicBezTo>
                  <a:cubicBezTo>
                    <a:pt x="846" y="419"/>
                    <a:pt x="830" y="419"/>
                    <a:pt x="822" y="419"/>
                  </a:cubicBezTo>
                  <a:cubicBezTo>
                    <a:pt x="815" y="419"/>
                    <a:pt x="807" y="419"/>
                    <a:pt x="807" y="419"/>
                  </a:cubicBezTo>
                  <a:cubicBezTo>
                    <a:pt x="799" y="419"/>
                    <a:pt x="791" y="419"/>
                    <a:pt x="791" y="419"/>
                  </a:cubicBezTo>
                  <a:cubicBezTo>
                    <a:pt x="783" y="419"/>
                    <a:pt x="775" y="419"/>
                    <a:pt x="767" y="419"/>
                  </a:cubicBezTo>
                  <a:cubicBezTo>
                    <a:pt x="759" y="411"/>
                    <a:pt x="759" y="387"/>
                    <a:pt x="751" y="355"/>
                  </a:cubicBezTo>
                  <a:cubicBezTo>
                    <a:pt x="751" y="347"/>
                    <a:pt x="751" y="340"/>
                    <a:pt x="751" y="331"/>
                  </a:cubicBezTo>
                  <a:cubicBezTo>
                    <a:pt x="751" y="331"/>
                    <a:pt x="743" y="324"/>
                    <a:pt x="712" y="324"/>
                  </a:cubicBezTo>
                  <a:cubicBezTo>
                    <a:pt x="696" y="324"/>
                    <a:pt x="672" y="331"/>
                    <a:pt x="672" y="331"/>
                  </a:cubicBezTo>
                  <a:cubicBezTo>
                    <a:pt x="664" y="331"/>
                    <a:pt x="664" y="331"/>
                    <a:pt x="664" y="331"/>
                  </a:cubicBezTo>
                  <a:cubicBezTo>
                    <a:pt x="664" y="324"/>
                    <a:pt x="664" y="324"/>
                    <a:pt x="664" y="324"/>
                  </a:cubicBezTo>
                  <a:cubicBezTo>
                    <a:pt x="664" y="324"/>
                    <a:pt x="633" y="268"/>
                    <a:pt x="625" y="253"/>
                  </a:cubicBezTo>
                  <a:cubicBezTo>
                    <a:pt x="617" y="229"/>
                    <a:pt x="601" y="213"/>
                    <a:pt x="569" y="213"/>
                  </a:cubicBezTo>
                  <a:cubicBezTo>
                    <a:pt x="546" y="213"/>
                    <a:pt x="522" y="213"/>
                    <a:pt x="498" y="205"/>
                  </a:cubicBezTo>
                  <a:cubicBezTo>
                    <a:pt x="498" y="205"/>
                    <a:pt x="498" y="197"/>
                    <a:pt x="490" y="197"/>
                  </a:cubicBezTo>
                  <a:cubicBezTo>
                    <a:pt x="475" y="197"/>
                    <a:pt x="459" y="213"/>
                    <a:pt x="451" y="221"/>
                  </a:cubicBezTo>
                  <a:cubicBezTo>
                    <a:pt x="443" y="229"/>
                    <a:pt x="427" y="237"/>
                    <a:pt x="411" y="237"/>
                  </a:cubicBezTo>
                  <a:cubicBezTo>
                    <a:pt x="403" y="245"/>
                    <a:pt x="403" y="245"/>
                    <a:pt x="396" y="245"/>
                  </a:cubicBezTo>
                  <a:cubicBezTo>
                    <a:pt x="388" y="253"/>
                    <a:pt x="380" y="260"/>
                    <a:pt x="372" y="268"/>
                  </a:cubicBezTo>
                  <a:cubicBezTo>
                    <a:pt x="364" y="284"/>
                    <a:pt x="356" y="300"/>
                    <a:pt x="325" y="292"/>
                  </a:cubicBezTo>
                  <a:cubicBezTo>
                    <a:pt x="293" y="292"/>
                    <a:pt x="285" y="276"/>
                    <a:pt x="277" y="268"/>
                  </a:cubicBezTo>
                  <a:cubicBezTo>
                    <a:pt x="277" y="260"/>
                    <a:pt x="277" y="260"/>
                    <a:pt x="277" y="260"/>
                  </a:cubicBezTo>
                  <a:cubicBezTo>
                    <a:pt x="269" y="260"/>
                    <a:pt x="253" y="300"/>
                    <a:pt x="245" y="324"/>
                  </a:cubicBezTo>
                  <a:cubicBezTo>
                    <a:pt x="238" y="331"/>
                    <a:pt x="238" y="340"/>
                    <a:pt x="238" y="340"/>
                  </a:cubicBezTo>
                  <a:lnTo>
                    <a:pt x="238" y="340"/>
                  </a:lnTo>
                  <a:cubicBezTo>
                    <a:pt x="230" y="355"/>
                    <a:pt x="230" y="363"/>
                    <a:pt x="222" y="363"/>
                  </a:cubicBezTo>
                  <a:cubicBezTo>
                    <a:pt x="214" y="363"/>
                    <a:pt x="214" y="355"/>
                    <a:pt x="214" y="355"/>
                  </a:cubicBezTo>
                  <a:cubicBezTo>
                    <a:pt x="214" y="347"/>
                    <a:pt x="214" y="347"/>
                    <a:pt x="206" y="347"/>
                  </a:cubicBezTo>
                  <a:cubicBezTo>
                    <a:pt x="190" y="347"/>
                    <a:pt x="174" y="355"/>
                    <a:pt x="174" y="355"/>
                  </a:cubicBezTo>
                  <a:cubicBezTo>
                    <a:pt x="48" y="498"/>
                    <a:pt x="48" y="498"/>
                    <a:pt x="48" y="498"/>
                  </a:cubicBezTo>
                  <a:cubicBezTo>
                    <a:pt x="0" y="253"/>
                    <a:pt x="0" y="253"/>
                    <a:pt x="0" y="253"/>
                  </a:cubicBezTo>
                  <a:cubicBezTo>
                    <a:pt x="1320" y="0"/>
                    <a:pt x="1320" y="0"/>
                    <a:pt x="1320" y="0"/>
                  </a:cubicBezTo>
                  <a:cubicBezTo>
                    <a:pt x="1320" y="7"/>
                    <a:pt x="1320" y="7"/>
                    <a:pt x="1320" y="7"/>
                  </a:cubicBezTo>
                  <a:cubicBezTo>
                    <a:pt x="1320" y="15"/>
                    <a:pt x="1320" y="47"/>
                    <a:pt x="1344" y="94"/>
                  </a:cubicBezTo>
                  <a:cubicBezTo>
                    <a:pt x="1376" y="158"/>
                    <a:pt x="1415" y="284"/>
                    <a:pt x="1415" y="324"/>
                  </a:cubicBezTo>
                  <a:cubicBezTo>
                    <a:pt x="1415" y="371"/>
                    <a:pt x="1455" y="537"/>
                    <a:pt x="1455" y="553"/>
                  </a:cubicBezTo>
                  <a:cubicBezTo>
                    <a:pt x="1463" y="561"/>
                    <a:pt x="1486" y="561"/>
                    <a:pt x="1518" y="561"/>
                  </a:cubicBezTo>
                  <a:cubicBezTo>
                    <a:pt x="1542" y="569"/>
                    <a:pt x="1558" y="569"/>
                    <a:pt x="1581" y="569"/>
                  </a:cubicBezTo>
                  <a:cubicBezTo>
                    <a:pt x="1597" y="577"/>
                    <a:pt x="1613" y="577"/>
                    <a:pt x="1629" y="577"/>
                  </a:cubicBezTo>
                  <a:cubicBezTo>
                    <a:pt x="1660" y="584"/>
                    <a:pt x="1700" y="584"/>
                    <a:pt x="1732" y="600"/>
                  </a:cubicBezTo>
                  <a:lnTo>
                    <a:pt x="1732" y="600"/>
                  </a:lnTo>
                  <a:lnTo>
                    <a:pt x="1732" y="600"/>
                  </a:lnTo>
                  <a:cubicBezTo>
                    <a:pt x="1732" y="616"/>
                    <a:pt x="1724" y="632"/>
                    <a:pt x="1700" y="656"/>
                  </a:cubicBezTo>
                  <a:cubicBezTo>
                    <a:pt x="1692" y="671"/>
                    <a:pt x="1684" y="679"/>
                    <a:pt x="1684" y="687"/>
                  </a:cubicBezTo>
                  <a:cubicBezTo>
                    <a:pt x="1676" y="695"/>
                    <a:pt x="1676" y="695"/>
                    <a:pt x="1660" y="703"/>
                  </a:cubicBezTo>
                  <a:cubicBezTo>
                    <a:pt x="1645" y="719"/>
                    <a:pt x="1653" y="727"/>
                    <a:pt x="1660" y="743"/>
                  </a:cubicBezTo>
                  <a:cubicBezTo>
                    <a:pt x="1660" y="751"/>
                    <a:pt x="1668" y="751"/>
                    <a:pt x="1668" y="759"/>
                  </a:cubicBezTo>
                  <a:cubicBezTo>
                    <a:pt x="1676" y="766"/>
                    <a:pt x="1676" y="766"/>
                    <a:pt x="1684" y="766"/>
                  </a:cubicBezTo>
                  <a:cubicBezTo>
                    <a:pt x="1684" y="766"/>
                    <a:pt x="1684" y="766"/>
                    <a:pt x="1692" y="766"/>
                  </a:cubicBezTo>
                  <a:lnTo>
                    <a:pt x="1692" y="766"/>
                  </a:lnTo>
                  <a:cubicBezTo>
                    <a:pt x="1692" y="766"/>
                    <a:pt x="1700" y="766"/>
                    <a:pt x="1708" y="774"/>
                  </a:cubicBezTo>
                  <a:cubicBezTo>
                    <a:pt x="1708" y="790"/>
                    <a:pt x="1692" y="798"/>
                    <a:pt x="1653" y="814"/>
                  </a:cubicBezTo>
                  <a:cubicBezTo>
                    <a:pt x="1637" y="822"/>
                    <a:pt x="1629" y="830"/>
                    <a:pt x="1629" y="846"/>
                  </a:cubicBezTo>
                  <a:cubicBezTo>
                    <a:pt x="1629" y="853"/>
                    <a:pt x="1629" y="869"/>
                    <a:pt x="1621" y="877"/>
                  </a:cubicBezTo>
                  <a:cubicBezTo>
                    <a:pt x="1605" y="909"/>
                    <a:pt x="1605" y="948"/>
                    <a:pt x="1613" y="988"/>
                  </a:cubicBezTo>
                  <a:cubicBezTo>
                    <a:pt x="1613" y="996"/>
                    <a:pt x="1613" y="1004"/>
                    <a:pt x="1613" y="1011"/>
                  </a:cubicBezTo>
                  <a:cubicBezTo>
                    <a:pt x="1605" y="1011"/>
                    <a:pt x="1605" y="1011"/>
                    <a:pt x="1597" y="1011"/>
                  </a:cubicBezTo>
                  <a:cubicBezTo>
                    <a:pt x="1597" y="1011"/>
                    <a:pt x="1589" y="1011"/>
                    <a:pt x="1581" y="1011"/>
                  </a:cubicBezTo>
                  <a:lnTo>
                    <a:pt x="1573" y="1011"/>
                  </a:lnTo>
                  <a:lnTo>
                    <a:pt x="1573" y="1011"/>
                  </a:lnTo>
                  <a:cubicBezTo>
                    <a:pt x="1573" y="1035"/>
                    <a:pt x="1566" y="1035"/>
                    <a:pt x="1558" y="1051"/>
                  </a:cubicBezTo>
                  <a:cubicBezTo>
                    <a:pt x="1558" y="1051"/>
                    <a:pt x="1550" y="1051"/>
                    <a:pt x="1550" y="1059"/>
                  </a:cubicBezTo>
                  <a:cubicBezTo>
                    <a:pt x="1542" y="1067"/>
                    <a:pt x="1542" y="1090"/>
                    <a:pt x="1542" y="1114"/>
                  </a:cubicBezTo>
                  <a:cubicBezTo>
                    <a:pt x="1542" y="1130"/>
                    <a:pt x="1542" y="1146"/>
                    <a:pt x="1542" y="1162"/>
                  </a:cubicBezTo>
                  <a:cubicBezTo>
                    <a:pt x="1542" y="1193"/>
                    <a:pt x="1542" y="1209"/>
                    <a:pt x="1526" y="1209"/>
                  </a:cubicBezTo>
                  <a:close/>
                  <a:moveTo>
                    <a:pt x="1510" y="814"/>
                  </a:moveTo>
                  <a:lnTo>
                    <a:pt x="1510" y="814"/>
                  </a:lnTo>
                  <a:cubicBezTo>
                    <a:pt x="1526" y="814"/>
                    <a:pt x="1534" y="822"/>
                    <a:pt x="1534" y="853"/>
                  </a:cubicBezTo>
                  <a:cubicBezTo>
                    <a:pt x="1534" y="869"/>
                    <a:pt x="1526" y="893"/>
                    <a:pt x="1518" y="917"/>
                  </a:cubicBezTo>
                  <a:cubicBezTo>
                    <a:pt x="1510" y="940"/>
                    <a:pt x="1502" y="964"/>
                    <a:pt x="1502" y="980"/>
                  </a:cubicBezTo>
                  <a:cubicBezTo>
                    <a:pt x="1502" y="996"/>
                    <a:pt x="1495" y="1004"/>
                    <a:pt x="1495" y="1011"/>
                  </a:cubicBezTo>
                  <a:cubicBezTo>
                    <a:pt x="1495" y="1035"/>
                    <a:pt x="1486" y="1059"/>
                    <a:pt x="1495" y="1090"/>
                  </a:cubicBezTo>
                  <a:cubicBezTo>
                    <a:pt x="1495" y="1106"/>
                    <a:pt x="1495" y="1122"/>
                    <a:pt x="1495" y="1130"/>
                  </a:cubicBezTo>
                  <a:cubicBezTo>
                    <a:pt x="1495" y="1154"/>
                    <a:pt x="1486" y="1170"/>
                    <a:pt x="1502" y="1177"/>
                  </a:cubicBezTo>
                  <a:cubicBezTo>
                    <a:pt x="1510" y="1185"/>
                    <a:pt x="1526" y="1201"/>
                    <a:pt x="1526" y="1201"/>
                  </a:cubicBezTo>
                  <a:cubicBezTo>
                    <a:pt x="1534" y="1201"/>
                    <a:pt x="1534" y="1193"/>
                    <a:pt x="1534" y="1162"/>
                  </a:cubicBezTo>
                  <a:cubicBezTo>
                    <a:pt x="1534" y="1146"/>
                    <a:pt x="1534" y="1130"/>
                    <a:pt x="1534" y="1114"/>
                  </a:cubicBezTo>
                  <a:cubicBezTo>
                    <a:pt x="1534" y="1083"/>
                    <a:pt x="1534" y="1067"/>
                    <a:pt x="1542" y="1051"/>
                  </a:cubicBezTo>
                  <a:cubicBezTo>
                    <a:pt x="1550" y="1051"/>
                    <a:pt x="1550" y="1043"/>
                    <a:pt x="1550" y="1043"/>
                  </a:cubicBezTo>
                  <a:cubicBezTo>
                    <a:pt x="1558" y="1035"/>
                    <a:pt x="1566" y="1035"/>
                    <a:pt x="1566" y="1011"/>
                  </a:cubicBezTo>
                  <a:cubicBezTo>
                    <a:pt x="1566" y="1004"/>
                    <a:pt x="1566" y="1004"/>
                    <a:pt x="1573" y="1004"/>
                  </a:cubicBezTo>
                  <a:cubicBezTo>
                    <a:pt x="1581" y="1004"/>
                    <a:pt x="1581" y="1004"/>
                    <a:pt x="1589" y="1004"/>
                  </a:cubicBezTo>
                  <a:lnTo>
                    <a:pt x="1597" y="1004"/>
                  </a:lnTo>
                  <a:cubicBezTo>
                    <a:pt x="1605" y="1004"/>
                    <a:pt x="1605" y="1004"/>
                    <a:pt x="1605" y="1004"/>
                  </a:cubicBezTo>
                  <a:cubicBezTo>
                    <a:pt x="1605" y="1004"/>
                    <a:pt x="1605" y="1004"/>
                    <a:pt x="1605" y="988"/>
                  </a:cubicBezTo>
                  <a:cubicBezTo>
                    <a:pt x="1597" y="948"/>
                    <a:pt x="1597" y="901"/>
                    <a:pt x="1613" y="877"/>
                  </a:cubicBezTo>
                  <a:cubicBezTo>
                    <a:pt x="1621" y="861"/>
                    <a:pt x="1621" y="853"/>
                    <a:pt x="1621" y="846"/>
                  </a:cubicBezTo>
                  <a:cubicBezTo>
                    <a:pt x="1621" y="830"/>
                    <a:pt x="1629" y="814"/>
                    <a:pt x="1653" y="806"/>
                  </a:cubicBezTo>
                  <a:cubicBezTo>
                    <a:pt x="1692" y="790"/>
                    <a:pt x="1700" y="782"/>
                    <a:pt x="1700" y="774"/>
                  </a:cubicBezTo>
                  <a:lnTo>
                    <a:pt x="1692" y="774"/>
                  </a:lnTo>
                  <a:lnTo>
                    <a:pt x="1692" y="774"/>
                  </a:lnTo>
                  <a:cubicBezTo>
                    <a:pt x="1684" y="774"/>
                    <a:pt x="1668" y="774"/>
                    <a:pt x="1660" y="759"/>
                  </a:cubicBezTo>
                  <a:cubicBezTo>
                    <a:pt x="1660" y="759"/>
                    <a:pt x="1660" y="751"/>
                    <a:pt x="1653" y="751"/>
                  </a:cubicBezTo>
                  <a:cubicBezTo>
                    <a:pt x="1645" y="735"/>
                    <a:pt x="1637" y="719"/>
                    <a:pt x="1653" y="703"/>
                  </a:cubicBezTo>
                  <a:cubicBezTo>
                    <a:pt x="1668" y="695"/>
                    <a:pt x="1668" y="687"/>
                    <a:pt x="1676" y="679"/>
                  </a:cubicBezTo>
                  <a:cubicBezTo>
                    <a:pt x="1676" y="679"/>
                    <a:pt x="1684" y="671"/>
                    <a:pt x="1700" y="656"/>
                  </a:cubicBezTo>
                  <a:cubicBezTo>
                    <a:pt x="1716" y="632"/>
                    <a:pt x="1724" y="616"/>
                    <a:pt x="1724" y="600"/>
                  </a:cubicBezTo>
                  <a:cubicBezTo>
                    <a:pt x="1700" y="593"/>
                    <a:pt x="1660" y="593"/>
                    <a:pt x="1629" y="584"/>
                  </a:cubicBezTo>
                  <a:cubicBezTo>
                    <a:pt x="1613" y="584"/>
                    <a:pt x="1597" y="584"/>
                    <a:pt x="1581" y="577"/>
                  </a:cubicBezTo>
                  <a:cubicBezTo>
                    <a:pt x="1558" y="577"/>
                    <a:pt x="1534" y="577"/>
                    <a:pt x="1518" y="569"/>
                  </a:cubicBezTo>
                  <a:cubicBezTo>
                    <a:pt x="1479" y="569"/>
                    <a:pt x="1455" y="561"/>
                    <a:pt x="1455" y="553"/>
                  </a:cubicBezTo>
                  <a:cubicBezTo>
                    <a:pt x="1447" y="537"/>
                    <a:pt x="1415" y="371"/>
                    <a:pt x="1408" y="324"/>
                  </a:cubicBezTo>
                  <a:cubicBezTo>
                    <a:pt x="1408" y="284"/>
                    <a:pt x="1368" y="158"/>
                    <a:pt x="1336" y="102"/>
                  </a:cubicBezTo>
                  <a:cubicBezTo>
                    <a:pt x="1320" y="55"/>
                    <a:pt x="1313" y="23"/>
                    <a:pt x="1313" y="7"/>
                  </a:cubicBezTo>
                  <a:cubicBezTo>
                    <a:pt x="8" y="260"/>
                    <a:pt x="8" y="260"/>
                    <a:pt x="8" y="260"/>
                  </a:cubicBezTo>
                  <a:cubicBezTo>
                    <a:pt x="48" y="482"/>
                    <a:pt x="48" y="482"/>
                    <a:pt x="48" y="482"/>
                  </a:cubicBezTo>
                  <a:cubicBezTo>
                    <a:pt x="166" y="347"/>
                    <a:pt x="166" y="347"/>
                    <a:pt x="166" y="347"/>
                  </a:cubicBezTo>
                  <a:lnTo>
                    <a:pt x="166" y="347"/>
                  </a:lnTo>
                  <a:cubicBezTo>
                    <a:pt x="166" y="347"/>
                    <a:pt x="190" y="340"/>
                    <a:pt x="206" y="340"/>
                  </a:cubicBezTo>
                  <a:cubicBezTo>
                    <a:pt x="214" y="340"/>
                    <a:pt x="214" y="347"/>
                    <a:pt x="222" y="347"/>
                  </a:cubicBezTo>
                  <a:cubicBezTo>
                    <a:pt x="222" y="355"/>
                    <a:pt x="222" y="355"/>
                    <a:pt x="222" y="355"/>
                  </a:cubicBezTo>
                  <a:lnTo>
                    <a:pt x="230" y="340"/>
                  </a:lnTo>
                  <a:lnTo>
                    <a:pt x="230" y="340"/>
                  </a:lnTo>
                  <a:cubicBezTo>
                    <a:pt x="230" y="331"/>
                    <a:pt x="238" y="324"/>
                    <a:pt x="238" y="316"/>
                  </a:cubicBezTo>
                  <a:cubicBezTo>
                    <a:pt x="253" y="268"/>
                    <a:pt x="261" y="253"/>
                    <a:pt x="277" y="253"/>
                  </a:cubicBezTo>
                  <a:lnTo>
                    <a:pt x="277" y="253"/>
                  </a:lnTo>
                  <a:cubicBezTo>
                    <a:pt x="285" y="253"/>
                    <a:pt x="285" y="260"/>
                    <a:pt x="285" y="260"/>
                  </a:cubicBezTo>
                  <a:cubicBezTo>
                    <a:pt x="293" y="276"/>
                    <a:pt x="301" y="284"/>
                    <a:pt x="325" y="284"/>
                  </a:cubicBezTo>
                  <a:cubicBezTo>
                    <a:pt x="348" y="292"/>
                    <a:pt x="356" y="276"/>
                    <a:pt x="372" y="260"/>
                  </a:cubicBezTo>
                  <a:cubicBezTo>
                    <a:pt x="372" y="253"/>
                    <a:pt x="380" y="245"/>
                    <a:pt x="388" y="245"/>
                  </a:cubicBezTo>
                  <a:cubicBezTo>
                    <a:pt x="396" y="237"/>
                    <a:pt x="403" y="237"/>
                    <a:pt x="411" y="237"/>
                  </a:cubicBezTo>
                  <a:cubicBezTo>
                    <a:pt x="427" y="229"/>
                    <a:pt x="435" y="221"/>
                    <a:pt x="443" y="213"/>
                  </a:cubicBezTo>
                  <a:cubicBezTo>
                    <a:pt x="451" y="205"/>
                    <a:pt x="475" y="197"/>
                    <a:pt x="490" y="197"/>
                  </a:cubicBezTo>
                  <a:cubicBezTo>
                    <a:pt x="498" y="197"/>
                    <a:pt x="498" y="197"/>
                    <a:pt x="506" y="197"/>
                  </a:cubicBezTo>
                  <a:cubicBezTo>
                    <a:pt x="522" y="205"/>
                    <a:pt x="546" y="205"/>
                    <a:pt x="569" y="205"/>
                  </a:cubicBezTo>
                  <a:cubicBezTo>
                    <a:pt x="601" y="205"/>
                    <a:pt x="625" y="229"/>
                    <a:pt x="633" y="245"/>
                  </a:cubicBezTo>
                  <a:cubicBezTo>
                    <a:pt x="633" y="268"/>
                    <a:pt x="664" y="308"/>
                    <a:pt x="672" y="324"/>
                  </a:cubicBezTo>
                  <a:cubicBezTo>
                    <a:pt x="680" y="316"/>
                    <a:pt x="696" y="316"/>
                    <a:pt x="712" y="316"/>
                  </a:cubicBezTo>
                  <a:cubicBezTo>
                    <a:pt x="743" y="316"/>
                    <a:pt x="759" y="324"/>
                    <a:pt x="759" y="331"/>
                  </a:cubicBezTo>
                  <a:cubicBezTo>
                    <a:pt x="759" y="340"/>
                    <a:pt x="759" y="347"/>
                    <a:pt x="759" y="355"/>
                  </a:cubicBezTo>
                  <a:cubicBezTo>
                    <a:pt x="767" y="379"/>
                    <a:pt x="767" y="403"/>
                    <a:pt x="775" y="411"/>
                  </a:cubicBezTo>
                  <a:cubicBezTo>
                    <a:pt x="775" y="411"/>
                    <a:pt x="783" y="419"/>
                    <a:pt x="791" y="419"/>
                  </a:cubicBezTo>
                  <a:cubicBezTo>
                    <a:pt x="791" y="419"/>
                    <a:pt x="799" y="411"/>
                    <a:pt x="807" y="411"/>
                  </a:cubicBezTo>
                  <a:cubicBezTo>
                    <a:pt x="807" y="411"/>
                    <a:pt x="815" y="411"/>
                    <a:pt x="822" y="411"/>
                  </a:cubicBezTo>
                  <a:cubicBezTo>
                    <a:pt x="830" y="411"/>
                    <a:pt x="846" y="419"/>
                    <a:pt x="862" y="426"/>
                  </a:cubicBezTo>
                  <a:cubicBezTo>
                    <a:pt x="862" y="426"/>
                    <a:pt x="870" y="434"/>
                    <a:pt x="886" y="434"/>
                  </a:cubicBezTo>
                  <a:cubicBezTo>
                    <a:pt x="917" y="458"/>
                    <a:pt x="957" y="482"/>
                    <a:pt x="965" y="506"/>
                  </a:cubicBezTo>
                  <a:cubicBezTo>
                    <a:pt x="965" y="513"/>
                    <a:pt x="965" y="513"/>
                    <a:pt x="965" y="521"/>
                  </a:cubicBezTo>
                  <a:cubicBezTo>
                    <a:pt x="965" y="553"/>
                    <a:pt x="965" y="577"/>
                    <a:pt x="949" y="608"/>
                  </a:cubicBezTo>
                  <a:cubicBezTo>
                    <a:pt x="917" y="664"/>
                    <a:pt x="902" y="711"/>
                    <a:pt x="917" y="727"/>
                  </a:cubicBezTo>
                  <a:cubicBezTo>
                    <a:pt x="917" y="735"/>
                    <a:pt x="933" y="735"/>
                    <a:pt x="941" y="735"/>
                  </a:cubicBezTo>
                  <a:cubicBezTo>
                    <a:pt x="957" y="735"/>
                    <a:pt x="973" y="735"/>
                    <a:pt x="980" y="719"/>
                  </a:cubicBezTo>
                  <a:cubicBezTo>
                    <a:pt x="989" y="711"/>
                    <a:pt x="1004" y="711"/>
                    <a:pt x="1020" y="711"/>
                  </a:cubicBezTo>
                  <a:cubicBezTo>
                    <a:pt x="1028" y="711"/>
                    <a:pt x="1044" y="711"/>
                    <a:pt x="1052" y="727"/>
                  </a:cubicBezTo>
                  <a:cubicBezTo>
                    <a:pt x="1060" y="735"/>
                    <a:pt x="1052" y="735"/>
                    <a:pt x="1052" y="743"/>
                  </a:cubicBezTo>
                  <a:cubicBezTo>
                    <a:pt x="1052" y="743"/>
                    <a:pt x="1044" y="743"/>
                    <a:pt x="1044" y="751"/>
                  </a:cubicBezTo>
                  <a:cubicBezTo>
                    <a:pt x="1044" y="751"/>
                    <a:pt x="1052" y="751"/>
                    <a:pt x="1060" y="751"/>
                  </a:cubicBezTo>
                  <a:cubicBezTo>
                    <a:pt x="1083" y="766"/>
                    <a:pt x="1131" y="782"/>
                    <a:pt x="1162" y="790"/>
                  </a:cubicBezTo>
                  <a:cubicBezTo>
                    <a:pt x="1162" y="790"/>
                    <a:pt x="1170" y="790"/>
                    <a:pt x="1178" y="790"/>
                  </a:cubicBezTo>
                  <a:cubicBezTo>
                    <a:pt x="1186" y="790"/>
                    <a:pt x="1202" y="790"/>
                    <a:pt x="1210" y="782"/>
                  </a:cubicBezTo>
                  <a:cubicBezTo>
                    <a:pt x="1226" y="782"/>
                    <a:pt x="1242" y="782"/>
                    <a:pt x="1242" y="782"/>
                  </a:cubicBezTo>
                  <a:cubicBezTo>
                    <a:pt x="1249" y="782"/>
                    <a:pt x="1249" y="774"/>
                    <a:pt x="1249" y="774"/>
                  </a:cubicBezTo>
                  <a:cubicBezTo>
                    <a:pt x="1249" y="759"/>
                    <a:pt x="1249" y="751"/>
                    <a:pt x="1249" y="735"/>
                  </a:cubicBezTo>
                  <a:cubicBezTo>
                    <a:pt x="1242" y="719"/>
                    <a:pt x="1242" y="703"/>
                    <a:pt x="1242" y="695"/>
                  </a:cubicBezTo>
                  <a:cubicBezTo>
                    <a:pt x="1242" y="679"/>
                    <a:pt x="1242" y="671"/>
                    <a:pt x="1233" y="656"/>
                  </a:cubicBezTo>
                  <a:cubicBezTo>
                    <a:pt x="1226" y="640"/>
                    <a:pt x="1218" y="632"/>
                    <a:pt x="1210" y="624"/>
                  </a:cubicBezTo>
                  <a:cubicBezTo>
                    <a:pt x="1202" y="616"/>
                    <a:pt x="1194" y="616"/>
                    <a:pt x="1194" y="600"/>
                  </a:cubicBezTo>
                  <a:cubicBezTo>
                    <a:pt x="1186" y="584"/>
                    <a:pt x="1186" y="577"/>
                    <a:pt x="1178" y="569"/>
                  </a:cubicBezTo>
                  <a:cubicBezTo>
                    <a:pt x="1170" y="545"/>
                    <a:pt x="1155" y="521"/>
                    <a:pt x="1155" y="498"/>
                  </a:cubicBezTo>
                  <a:cubicBezTo>
                    <a:pt x="1155" y="474"/>
                    <a:pt x="1155" y="458"/>
                    <a:pt x="1155" y="442"/>
                  </a:cubicBezTo>
                  <a:cubicBezTo>
                    <a:pt x="1155" y="419"/>
                    <a:pt x="1155" y="395"/>
                    <a:pt x="1147" y="371"/>
                  </a:cubicBezTo>
                  <a:cubicBezTo>
                    <a:pt x="1147" y="363"/>
                    <a:pt x="1147" y="355"/>
                    <a:pt x="1147" y="347"/>
                  </a:cubicBezTo>
                  <a:cubicBezTo>
                    <a:pt x="1147" y="324"/>
                    <a:pt x="1147" y="316"/>
                    <a:pt x="1139" y="308"/>
                  </a:cubicBezTo>
                  <a:cubicBezTo>
                    <a:pt x="1115" y="300"/>
                    <a:pt x="1091" y="260"/>
                    <a:pt x="1099" y="245"/>
                  </a:cubicBezTo>
                  <a:lnTo>
                    <a:pt x="1099" y="245"/>
                  </a:lnTo>
                  <a:lnTo>
                    <a:pt x="1107" y="245"/>
                  </a:lnTo>
                  <a:lnTo>
                    <a:pt x="1115" y="245"/>
                  </a:lnTo>
                  <a:cubicBezTo>
                    <a:pt x="1115" y="253"/>
                    <a:pt x="1123" y="253"/>
                    <a:pt x="1123" y="253"/>
                  </a:cubicBezTo>
                  <a:cubicBezTo>
                    <a:pt x="1123" y="253"/>
                    <a:pt x="1131" y="253"/>
                    <a:pt x="1139" y="245"/>
                  </a:cubicBezTo>
                  <a:cubicBezTo>
                    <a:pt x="1147" y="221"/>
                    <a:pt x="1170" y="189"/>
                    <a:pt x="1178" y="189"/>
                  </a:cubicBezTo>
                  <a:cubicBezTo>
                    <a:pt x="1186" y="181"/>
                    <a:pt x="1186" y="181"/>
                    <a:pt x="1186" y="181"/>
                  </a:cubicBezTo>
                  <a:cubicBezTo>
                    <a:pt x="1194" y="181"/>
                    <a:pt x="1202" y="181"/>
                    <a:pt x="1218" y="166"/>
                  </a:cubicBezTo>
                  <a:cubicBezTo>
                    <a:pt x="1233" y="158"/>
                    <a:pt x="1249" y="142"/>
                    <a:pt x="1249" y="134"/>
                  </a:cubicBezTo>
                  <a:cubicBezTo>
                    <a:pt x="1249" y="126"/>
                    <a:pt x="1249" y="118"/>
                    <a:pt x="1257" y="118"/>
                  </a:cubicBezTo>
                  <a:cubicBezTo>
                    <a:pt x="1257" y="110"/>
                    <a:pt x="1257" y="110"/>
                    <a:pt x="1265" y="110"/>
                  </a:cubicBezTo>
                  <a:cubicBezTo>
                    <a:pt x="1265" y="110"/>
                    <a:pt x="1273" y="110"/>
                    <a:pt x="1273" y="126"/>
                  </a:cubicBezTo>
                  <a:cubicBezTo>
                    <a:pt x="1273" y="134"/>
                    <a:pt x="1273" y="134"/>
                    <a:pt x="1273" y="142"/>
                  </a:cubicBezTo>
                  <a:cubicBezTo>
                    <a:pt x="1273" y="150"/>
                    <a:pt x="1273" y="166"/>
                    <a:pt x="1273" y="166"/>
                  </a:cubicBezTo>
                  <a:lnTo>
                    <a:pt x="1273" y="166"/>
                  </a:lnTo>
                  <a:cubicBezTo>
                    <a:pt x="1281" y="166"/>
                    <a:pt x="1297" y="173"/>
                    <a:pt x="1297" y="173"/>
                  </a:cubicBezTo>
                  <a:cubicBezTo>
                    <a:pt x="1297" y="181"/>
                    <a:pt x="1289" y="189"/>
                    <a:pt x="1281" y="189"/>
                  </a:cubicBezTo>
                  <a:lnTo>
                    <a:pt x="1273" y="189"/>
                  </a:lnTo>
                  <a:cubicBezTo>
                    <a:pt x="1249" y="197"/>
                    <a:pt x="1202" y="205"/>
                    <a:pt x="1194" y="221"/>
                  </a:cubicBezTo>
                  <a:lnTo>
                    <a:pt x="1194" y="229"/>
                  </a:lnTo>
                  <a:cubicBezTo>
                    <a:pt x="1202" y="245"/>
                    <a:pt x="1202" y="260"/>
                    <a:pt x="1202" y="276"/>
                  </a:cubicBezTo>
                  <a:cubicBezTo>
                    <a:pt x="1210" y="300"/>
                    <a:pt x="1210" y="316"/>
                    <a:pt x="1218" y="316"/>
                  </a:cubicBezTo>
                  <a:lnTo>
                    <a:pt x="1218" y="316"/>
                  </a:lnTo>
                  <a:cubicBezTo>
                    <a:pt x="1226" y="316"/>
                    <a:pt x="1233" y="316"/>
                    <a:pt x="1233" y="316"/>
                  </a:cubicBezTo>
                  <a:cubicBezTo>
                    <a:pt x="1242" y="316"/>
                    <a:pt x="1242" y="316"/>
                    <a:pt x="1249" y="324"/>
                  </a:cubicBezTo>
                  <a:cubicBezTo>
                    <a:pt x="1249" y="324"/>
                    <a:pt x="1249" y="331"/>
                    <a:pt x="1249" y="340"/>
                  </a:cubicBezTo>
                  <a:cubicBezTo>
                    <a:pt x="1249" y="355"/>
                    <a:pt x="1242" y="355"/>
                    <a:pt x="1226" y="363"/>
                  </a:cubicBezTo>
                  <a:cubicBezTo>
                    <a:pt x="1226" y="363"/>
                    <a:pt x="1218" y="371"/>
                    <a:pt x="1210" y="379"/>
                  </a:cubicBezTo>
                  <a:cubicBezTo>
                    <a:pt x="1210" y="387"/>
                    <a:pt x="1202" y="387"/>
                    <a:pt x="1194" y="395"/>
                  </a:cubicBezTo>
                  <a:cubicBezTo>
                    <a:pt x="1186" y="403"/>
                    <a:pt x="1178" y="411"/>
                    <a:pt x="1178" y="419"/>
                  </a:cubicBezTo>
                  <a:lnTo>
                    <a:pt x="1186" y="419"/>
                  </a:lnTo>
                  <a:cubicBezTo>
                    <a:pt x="1202" y="419"/>
                    <a:pt x="1218" y="411"/>
                    <a:pt x="1226" y="403"/>
                  </a:cubicBezTo>
                  <a:cubicBezTo>
                    <a:pt x="1233" y="395"/>
                    <a:pt x="1233" y="395"/>
                    <a:pt x="1242" y="395"/>
                  </a:cubicBezTo>
                  <a:lnTo>
                    <a:pt x="1249" y="395"/>
                  </a:lnTo>
                  <a:cubicBezTo>
                    <a:pt x="1249" y="403"/>
                    <a:pt x="1257" y="403"/>
                    <a:pt x="1257" y="403"/>
                  </a:cubicBezTo>
                  <a:cubicBezTo>
                    <a:pt x="1265" y="411"/>
                    <a:pt x="1265" y="419"/>
                    <a:pt x="1265" y="426"/>
                  </a:cubicBezTo>
                  <a:lnTo>
                    <a:pt x="1265" y="434"/>
                  </a:lnTo>
                  <a:cubicBezTo>
                    <a:pt x="1257" y="442"/>
                    <a:pt x="1249" y="442"/>
                    <a:pt x="1242" y="450"/>
                  </a:cubicBezTo>
                  <a:cubicBezTo>
                    <a:pt x="1233" y="450"/>
                    <a:pt x="1226" y="450"/>
                    <a:pt x="1226" y="458"/>
                  </a:cubicBezTo>
                  <a:lnTo>
                    <a:pt x="1226" y="466"/>
                  </a:lnTo>
                  <a:cubicBezTo>
                    <a:pt x="1226" y="474"/>
                    <a:pt x="1226" y="482"/>
                    <a:pt x="1226" y="482"/>
                  </a:cubicBezTo>
                  <a:lnTo>
                    <a:pt x="1233" y="490"/>
                  </a:lnTo>
                  <a:cubicBezTo>
                    <a:pt x="1242" y="490"/>
                    <a:pt x="1242" y="490"/>
                    <a:pt x="1242" y="490"/>
                  </a:cubicBezTo>
                  <a:cubicBezTo>
                    <a:pt x="1249" y="490"/>
                    <a:pt x="1257" y="490"/>
                    <a:pt x="1257" y="482"/>
                  </a:cubicBezTo>
                  <a:cubicBezTo>
                    <a:pt x="1265" y="482"/>
                    <a:pt x="1265" y="482"/>
                    <a:pt x="1273" y="482"/>
                  </a:cubicBezTo>
                  <a:cubicBezTo>
                    <a:pt x="1281" y="482"/>
                    <a:pt x="1281" y="482"/>
                    <a:pt x="1289" y="490"/>
                  </a:cubicBezTo>
                  <a:lnTo>
                    <a:pt x="1297" y="498"/>
                  </a:lnTo>
                  <a:cubicBezTo>
                    <a:pt x="1305" y="506"/>
                    <a:pt x="1313" y="506"/>
                    <a:pt x="1313" y="513"/>
                  </a:cubicBezTo>
                  <a:cubicBezTo>
                    <a:pt x="1313" y="521"/>
                    <a:pt x="1305" y="521"/>
                    <a:pt x="1305" y="529"/>
                  </a:cubicBezTo>
                  <a:cubicBezTo>
                    <a:pt x="1297" y="529"/>
                    <a:pt x="1289" y="529"/>
                    <a:pt x="1281" y="537"/>
                  </a:cubicBezTo>
                  <a:cubicBezTo>
                    <a:pt x="1273" y="537"/>
                    <a:pt x="1265" y="537"/>
                    <a:pt x="1265" y="545"/>
                  </a:cubicBezTo>
                  <a:cubicBezTo>
                    <a:pt x="1257" y="553"/>
                    <a:pt x="1257" y="561"/>
                    <a:pt x="1257" y="569"/>
                  </a:cubicBezTo>
                  <a:cubicBezTo>
                    <a:pt x="1257" y="569"/>
                    <a:pt x="1249" y="577"/>
                    <a:pt x="1257" y="577"/>
                  </a:cubicBezTo>
                  <a:cubicBezTo>
                    <a:pt x="1257" y="584"/>
                    <a:pt x="1257" y="584"/>
                    <a:pt x="1265" y="584"/>
                  </a:cubicBezTo>
                  <a:cubicBezTo>
                    <a:pt x="1273" y="584"/>
                    <a:pt x="1281" y="584"/>
                    <a:pt x="1281" y="584"/>
                  </a:cubicBezTo>
                  <a:cubicBezTo>
                    <a:pt x="1297" y="584"/>
                    <a:pt x="1305" y="584"/>
                    <a:pt x="1305" y="608"/>
                  </a:cubicBezTo>
                  <a:cubicBezTo>
                    <a:pt x="1313" y="616"/>
                    <a:pt x="1305" y="624"/>
                    <a:pt x="1305" y="632"/>
                  </a:cubicBezTo>
                  <a:cubicBezTo>
                    <a:pt x="1305" y="632"/>
                    <a:pt x="1305" y="640"/>
                    <a:pt x="1305" y="656"/>
                  </a:cubicBezTo>
                  <a:lnTo>
                    <a:pt x="1305" y="664"/>
                  </a:lnTo>
                  <a:cubicBezTo>
                    <a:pt x="1305" y="679"/>
                    <a:pt x="1305" y="687"/>
                    <a:pt x="1305" y="687"/>
                  </a:cubicBezTo>
                  <a:cubicBezTo>
                    <a:pt x="1305" y="695"/>
                    <a:pt x="1313" y="695"/>
                    <a:pt x="1320" y="695"/>
                  </a:cubicBezTo>
                  <a:cubicBezTo>
                    <a:pt x="1352" y="703"/>
                    <a:pt x="1368" y="671"/>
                    <a:pt x="1368" y="664"/>
                  </a:cubicBezTo>
                  <a:cubicBezTo>
                    <a:pt x="1376" y="656"/>
                    <a:pt x="1384" y="648"/>
                    <a:pt x="1392" y="648"/>
                  </a:cubicBezTo>
                  <a:cubicBezTo>
                    <a:pt x="1400" y="648"/>
                    <a:pt x="1415" y="656"/>
                    <a:pt x="1423" y="679"/>
                  </a:cubicBezTo>
                  <a:cubicBezTo>
                    <a:pt x="1431" y="695"/>
                    <a:pt x="1439" y="703"/>
                    <a:pt x="1447" y="711"/>
                  </a:cubicBezTo>
                  <a:cubicBezTo>
                    <a:pt x="1463" y="735"/>
                    <a:pt x="1471" y="743"/>
                    <a:pt x="1463" y="766"/>
                  </a:cubicBezTo>
                  <a:cubicBezTo>
                    <a:pt x="1463" y="774"/>
                    <a:pt x="1455" y="782"/>
                    <a:pt x="1455" y="790"/>
                  </a:cubicBezTo>
                  <a:lnTo>
                    <a:pt x="1455" y="790"/>
                  </a:lnTo>
                  <a:lnTo>
                    <a:pt x="1455" y="798"/>
                  </a:lnTo>
                  <a:cubicBezTo>
                    <a:pt x="1463" y="798"/>
                    <a:pt x="1463" y="798"/>
                    <a:pt x="1471" y="798"/>
                  </a:cubicBezTo>
                  <a:cubicBezTo>
                    <a:pt x="1479" y="806"/>
                    <a:pt x="1486" y="814"/>
                    <a:pt x="1502" y="814"/>
                  </a:cubicBezTo>
                  <a:cubicBezTo>
                    <a:pt x="1502" y="814"/>
                    <a:pt x="1502" y="814"/>
                    <a:pt x="1510" y="814"/>
                  </a:cubicBezTo>
                  <a:close/>
                </a:path>
              </a:pathLst>
            </a:custGeom>
            <a:grpFill/>
            <a:ln>
              <a:solidFill>
                <a:schemeClr val="bg1">
                  <a:lumMod val="95000"/>
                </a:schemeClr>
              </a:solidFill>
            </a:ln>
            <a:effectLst/>
          </p:spPr>
          <p:txBody>
            <a:bodyPr wrap="none" anchor="ctr"/>
            <a:lstStyle/>
            <a:p>
              <a:endParaRPr lang="en-US" sz="900"/>
            </a:p>
          </p:txBody>
        </p:sp>
        <p:sp>
          <p:nvSpPr>
            <p:cNvPr id="109" name="Freeform 777"/>
            <p:cNvSpPr>
              <a:spLocks noChangeArrowheads="1"/>
            </p:cNvSpPr>
            <p:nvPr/>
          </p:nvSpPr>
          <p:spPr bwMode="auto">
            <a:xfrm>
              <a:off x="14962084" y="5502712"/>
              <a:ext cx="881336" cy="897571"/>
            </a:xfrm>
            <a:custGeom>
              <a:avLst/>
              <a:gdLst>
                <a:gd name="T0" fmla="*/ 538 w 1677"/>
                <a:gd name="T1" fmla="*/ 15 h 1707"/>
                <a:gd name="T2" fmla="*/ 561 w 1677"/>
                <a:gd name="T3" fmla="*/ 166 h 1707"/>
                <a:gd name="T4" fmla="*/ 546 w 1677"/>
                <a:gd name="T5" fmla="*/ 324 h 1707"/>
                <a:gd name="T6" fmla="*/ 498 w 1677"/>
                <a:gd name="T7" fmla="*/ 521 h 1707"/>
                <a:gd name="T8" fmla="*/ 356 w 1677"/>
                <a:gd name="T9" fmla="*/ 632 h 1707"/>
                <a:gd name="T10" fmla="*/ 277 w 1677"/>
                <a:gd name="T11" fmla="*/ 695 h 1707"/>
                <a:gd name="T12" fmla="*/ 222 w 1677"/>
                <a:gd name="T13" fmla="*/ 877 h 1707"/>
                <a:gd name="T14" fmla="*/ 119 w 1677"/>
                <a:gd name="T15" fmla="*/ 917 h 1707"/>
                <a:gd name="T16" fmla="*/ 119 w 1677"/>
                <a:gd name="T17" fmla="*/ 1075 h 1707"/>
                <a:gd name="T18" fmla="*/ 56 w 1677"/>
                <a:gd name="T19" fmla="*/ 1154 h 1707"/>
                <a:gd name="T20" fmla="*/ 32 w 1677"/>
                <a:gd name="T21" fmla="*/ 1304 h 1707"/>
                <a:gd name="T22" fmla="*/ 182 w 1677"/>
                <a:gd name="T23" fmla="*/ 1501 h 1707"/>
                <a:gd name="T24" fmla="*/ 348 w 1677"/>
                <a:gd name="T25" fmla="*/ 1619 h 1707"/>
                <a:gd name="T26" fmla="*/ 530 w 1677"/>
                <a:gd name="T27" fmla="*/ 1611 h 1707"/>
                <a:gd name="T28" fmla="*/ 696 w 1677"/>
                <a:gd name="T29" fmla="*/ 1532 h 1707"/>
                <a:gd name="T30" fmla="*/ 854 w 1677"/>
                <a:gd name="T31" fmla="*/ 1478 h 1707"/>
                <a:gd name="T32" fmla="*/ 925 w 1677"/>
                <a:gd name="T33" fmla="*/ 1367 h 1707"/>
                <a:gd name="T34" fmla="*/ 941 w 1677"/>
                <a:gd name="T35" fmla="*/ 1217 h 1707"/>
                <a:gd name="T36" fmla="*/ 1012 w 1677"/>
                <a:gd name="T37" fmla="*/ 1051 h 1707"/>
                <a:gd name="T38" fmla="*/ 1115 w 1677"/>
                <a:gd name="T39" fmla="*/ 901 h 1707"/>
                <a:gd name="T40" fmla="*/ 1194 w 1677"/>
                <a:gd name="T41" fmla="*/ 893 h 1707"/>
                <a:gd name="T42" fmla="*/ 1257 w 1677"/>
                <a:gd name="T43" fmla="*/ 822 h 1707"/>
                <a:gd name="T44" fmla="*/ 1336 w 1677"/>
                <a:gd name="T45" fmla="*/ 751 h 1707"/>
                <a:gd name="T46" fmla="*/ 1423 w 1677"/>
                <a:gd name="T47" fmla="*/ 624 h 1707"/>
                <a:gd name="T48" fmla="*/ 1471 w 1677"/>
                <a:gd name="T49" fmla="*/ 411 h 1707"/>
                <a:gd name="T50" fmla="*/ 1676 w 1677"/>
                <a:gd name="T51" fmla="*/ 419 h 1707"/>
                <a:gd name="T52" fmla="*/ 1629 w 1677"/>
                <a:gd name="T53" fmla="*/ 348 h 1707"/>
                <a:gd name="T54" fmla="*/ 1510 w 1677"/>
                <a:gd name="T55" fmla="*/ 292 h 1707"/>
                <a:gd name="T56" fmla="*/ 1392 w 1677"/>
                <a:gd name="T57" fmla="*/ 340 h 1707"/>
                <a:gd name="T58" fmla="*/ 1281 w 1677"/>
                <a:gd name="T59" fmla="*/ 348 h 1707"/>
                <a:gd name="T60" fmla="*/ 1218 w 1677"/>
                <a:gd name="T61" fmla="*/ 442 h 1707"/>
                <a:gd name="T62" fmla="*/ 1052 w 1677"/>
                <a:gd name="T63" fmla="*/ 585 h 1707"/>
                <a:gd name="T64" fmla="*/ 641 w 1677"/>
                <a:gd name="T65" fmla="*/ 419 h 1707"/>
                <a:gd name="T66" fmla="*/ 538 w 1677"/>
                <a:gd name="T67" fmla="*/ 15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7" h="1707">
                  <a:moveTo>
                    <a:pt x="538" y="15"/>
                  </a:moveTo>
                  <a:lnTo>
                    <a:pt x="538" y="15"/>
                  </a:lnTo>
                  <a:cubicBezTo>
                    <a:pt x="538" y="31"/>
                    <a:pt x="546" y="63"/>
                    <a:pt x="546" y="87"/>
                  </a:cubicBezTo>
                  <a:cubicBezTo>
                    <a:pt x="554" y="118"/>
                    <a:pt x="577" y="158"/>
                    <a:pt x="561" y="166"/>
                  </a:cubicBezTo>
                  <a:cubicBezTo>
                    <a:pt x="546" y="174"/>
                    <a:pt x="538" y="158"/>
                    <a:pt x="546" y="197"/>
                  </a:cubicBezTo>
                  <a:cubicBezTo>
                    <a:pt x="546" y="237"/>
                    <a:pt x="561" y="316"/>
                    <a:pt x="546" y="324"/>
                  </a:cubicBezTo>
                  <a:cubicBezTo>
                    <a:pt x="538" y="340"/>
                    <a:pt x="506" y="316"/>
                    <a:pt x="506" y="379"/>
                  </a:cubicBezTo>
                  <a:cubicBezTo>
                    <a:pt x="514" y="435"/>
                    <a:pt x="522" y="498"/>
                    <a:pt x="498" y="521"/>
                  </a:cubicBezTo>
                  <a:cubicBezTo>
                    <a:pt x="483" y="553"/>
                    <a:pt x="443" y="624"/>
                    <a:pt x="419" y="624"/>
                  </a:cubicBezTo>
                  <a:cubicBezTo>
                    <a:pt x="388" y="632"/>
                    <a:pt x="388" y="648"/>
                    <a:pt x="356" y="632"/>
                  </a:cubicBezTo>
                  <a:cubicBezTo>
                    <a:pt x="332" y="616"/>
                    <a:pt x="309" y="593"/>
                    <a:pt x="301" y="624"/>
                  </a:cubicBezTo>
                  <a:cubicBezTo>
                    <a:pt x="293" y="656"/>
                    <a:pt x="301" y="688"/>
                    <a:pt x="277" y="695"/>
                  </a:cubicBezTo>
                  <a:cubicBezTo>
                    <a:pt x="253" y="703"/>
                    <a:pt x="206" y="711"/>
                    <a:pt x="214" y="743"/>
                  </a:cubicBezTo>
                  <a:cubicBezTo>
                    <a:pt x="222" y="782"/>
                    <a:pt x="237" y="893"/>
                    <a:pt x="222" y="877"/>
                  </a:cubicBezTo>
                  <a:cubicBezTo>
                    <a:pt x="198" y="861"/>
                    <a:pt x="166" y="830"/>
                    <a:pt x="159" y="846"/>
                  </a:cubicBezTo>
                  <a:cubicBezTo>
                    <a:pt x="143" y="854"/>
                    <a:pt x="119" y="893"/>
                    <a:pt x="119" y="917"/>
                  </a:cubicBezTo>
                  <a:cubicBezTo>
                    <a:pt x="127" y="948"/>
                    <a:pt x="103" y="980"/>
                    <a:pt x="119" y="1004"/>
                  </a:cubicBezTo>
                  <a:cubicBezTo>
                    <a:pt x="127" y="1027"/>
                    <a:pt x="135" y="1067"/>
                    <a:pt x="119" y="1075"/>
                  </a:cubicBezTo>
                  <a:cubicBezTo>
                    <a:pt x="95" y="1083"/>
                    <a:pt x="79" y="1075"/>
                    <a:pt x="79" y="1106"/>
                  </a:cubicBezTo>
                  <a:cubicBezTo>
                    <a:pt x="79" y="1146"/>
                    <a:pt x="87" y="1154"/>
                    <a:pt x="56" y="1154"/>
                  </a:cubicBezTo>
                  <a:cubicBezTo>
                    <a:pt x="32" y="1162"/>
                    <a:pt x="0" y="1170"/>
                    <a:pt x="0" y="1178"/>
                  </a:cubicBezTo>
                  <a:cubicBezTo>
                    <a:pt x="0" y="1185"/>
                    <a:pt x="8" y="1280"/>
                    <a:pt x="32" y="1304"/>
                  </a:cubicBezTo>
                  <a:cubicBezTo>
                    <a:pt x="64" y="1328"/>
                    <a:pt x="79" y="1359"/>
                    <a:pt x="95" y="1391"/>
                  </a:cubicBezTo>
                  <a:cubicBezTo>
                    <a:pt x="119" y="1431"/>
                    <a:pt x="119" y="1470"/>
                    <a:pt x="182" y="1501"/>
                  </a:cubicBezTo>
                  <a:cubicBezTo>
                    <a:pt x="237" y="1532"/>
                    <a:pt x="261" y="1509"/>
                    <a:pt x="285" y="1548"/>
                  </a:cubicBezTo>
                  <a:cubicBezTo>
                    <a:pt x="309" y="1580"/>
                    <a:pt x="253" y="1595"/>
                    <a:pt x="348" y="1619"/>
                  </a:cubicBezTo>
                  <a:cubicBezTo>
                    <a:pt x="443" y="1635"/>
                    <a:pt x="435" y="1706"/>
                    <a:pt x="475" y="1659"/>
                  </a:cubicBezTo>
                  <a:cubicBezTo>
                    <a:pt x="506" y="1611"/>
                    <a:pt x="467" y="1588"/>
                    <a:pt x="530" y="1611"/>
                  </a:cubicBezTo>
                  <a:cubicBezTo>
                    <a:pt x="593" y="1627"/>
                    <a:pt x="656" y="1588"/>
                    <a:pt x="672" y="1580"/>
                  </a:cubicBezTo>
                  <a:cubicBezTo>
                    <a:pt x="680" y="1564"/>
                    <a:pt x="625" y="1548"/>
                    <a:pt x="696" y="1532"/>
                  </a:cubicBezTo>
                  <a:cubicBezTo>
                    <a:pt x="767" y="1524"/>
                    <a:pt x="814" y="1509"/>
                    <a:pt x="814" y="1493"/>
                  </a:cubicBezTo>
                  <a:cubicBezTo>
                    <a:pt x="807" y="1470"/>
                    <a:pt x="823" y="1493"/>
                    <a:pt x="854" y="1478"/>
                  </a:cubicBezTo>
                  <a:cubicBezTo>
                    <a:pt x="886" y="1462"/>
                    <a:pt x="894" y="1399"/>
                    <a:pt x="917" y="1399"/>
                  </a:cubicBezTo>
                  <a:cubicBezTo>
                    <a:pt x="933" y="1399"/>
                    <a:pt x="965" y="1383"/>
                    <a:pt x="925" y="1367"/>
                  </a:cubicBezTo>
                  <a:cubicBezTo>
                    <a:pt x="886" y="1352"/>
                    <a:pt x="854" y="1375"/>
                    <a:pt x="886" y="1328"/>
                  </a:cubicBezTo>
                  <a:cubicBezTo>
                    <a:pt x="917" y="1272"/>
                    <a:pt x="917" y="1257"/>
                    <a:pt x="941" y="1217"/>
                  </a:cubicBezTo>
                  <a:cubicBezTo>
                    <a:pt x="973" y="1178"/>
                    <a:pt x="973" y="1178"/>
                    <a:pt x="981" y="1138"/>
                  </a:cubicBezTo>
                  <a:cubicBezTo>
                    <a:pt x="989" y="1091"/>
                    <a:pt x="996" y="1114"/>
                    <a:pt x="1012" y="1051"/>
                  </a:cubicBezTo>
                  <a:cubicBezTo>
                    <a:pt x="1028" y="988"/>
                    <a:pt x="996" y="948"/>
                    <a:pt x="1036" y="925"/>
                  </a:cubicBezTo>
                  <a:cubicBezTo>
                    <a:pt x="1083" y="901"/>
                    <a:pt x="1091" y="877"/>
                    <a:pt x="1115" y="901"/>
                  </a:cubicBezTo>
                  <a:cubicBezTo>
                    <a:pt x="1139" y="925"/>
                    <a:pt x="1170" y="956"/>
                    <a:pt x="1186" y="941"/>
                  </a:cubicBezTo>
                  <a:cubicBezTo>
                    <a:pt x="1194" y="932"/>
                    <a:pt x="1194" y="917"/>
                    <a:pt x="1194" y="893"/>
                  </a:cubicBezTo>
                  <a:cubicBezTo>
                    <a:pt x="1186" y="877"/>
                    <a:pt x="1210" y="830"/>
                    <a:pt x="1234" y="846"/>
                  </a:cubicBezTo>
                  <a:cubicBezTo>
                    <a:pt x="1249" y="854"/>
                    <a:pt x="1257" y="854"/>
                    <a:pt x="1257" y="822"/>
                  </a:cubicBezTo>
                  <a:cubicBezTo>
                    <a:pt x="1257" y="790"/>
                    <a:pt x="1226" y="759"/>
                    <a:pt x="1257" y="759"/>
                  </a:cubicBezTo>
                  <a:cubicBezTo>
                    <a:pt x="1289" y="759"/>
                    <a:pt x="1329" y="774"/>
                    <a:pt x="1336" y="751"/>
                  </a:cubicBezTo>
                  <a:cubicBezTo>
                    <a:pt x="1344" y="719"/>
                    <a:pt x="1336" y="679"/>
                    <a:pt x="1368" y="672"/>
                  </a:cubicBezTo>
                  <a:cubicBezTo>
                    <a:pt x="1400" y="664"/>
                    <a:pt x="1407" y="688"/>
                    <a:pt x="1423" y="624"/>
                  </a:cubicBezTo>
                  <a:cubicBezTo>
                    <a:pt x="1431" y="569"/>
                    <a:pt x="1439" y="521"/>
                    <a:pt x="1431" y="482"/>
                  </a:cubicBezTo>
                  <a:cubicBezTo>
                    <a:pt x="1431" y="442"/>
                    <a:pt x="1447" y="395"/>
                    <a:pt x="1471" y="411"/>
                  </a:cubicBezTo>
                  <a:cubicBezTo>
                    <a:pt x="1494" y="419"/>
                    <a:pt x="1566" y="490"/>
                    <a:pt x="1605" y="498"/>
                  </a:cubicBezTo>
                  <a:cubicBezTo>
                    <a:pt x="1637" y="498"/>
                    <a:pt x="1660" y="466"/>
                    <a:pt x="1676" y="419"/>
                  </a:cubicBezTo>
                  <a:lnTo>
                    <a:pt x="1668" y="419"/>
                  </a:lnTo>
                  <a:cubicBezTo>
                    <a:pt x="1668" y="419"/>
                    <a:pt x="1637" y="363"/>
                    <a:pt x="1629" y="348"/>
                  </a:cubicBezTo>
                  <a:cubicBezTo>
                    <a:pt x="1629" y="324"/>
                    <a:pt x="1605" y="308"/>
                    <a:pt x="1573" y="308"/>
                  </a:cubicBezTo>
                  <a:cubicBezTo>
                    <a:pt x="1550" y="308"/>
                    <a:pt x="1526" y="308"/>
                    <a:pt x="1510" y="292"/>
                  </a:cubicBezTo>
                  <a:cubicBezTo>
                    <a:pt x="1487" y="284"/>
                    <a:pt x="1463" y="300"/>
                    <a:pt x="1455" y="316"/>
                  </a:cubicBezTo>
                  <a:cubicBezTo>
                    <a:pt x="1439" y="324"/>
                    <a:pt x="1415" y="332"/>
                    <a:pt x="1392" y="340"/>
                  </a:cubicBezTo>
                  <a:cubicBezTo>
                    <a:pt x="1376" y="348"/>
                    <a:pt x="1368" y="387"/>
                    <a:pt x="1329" y="387"/>
                  </a:cubicBezTo>
                  <a:cubicBezTo>
                    <a:pt x="1289" y="379"/>
                    <a:pt x="1289" y="363"/>
                    <a:pt x="1281" y="348"/>
                  </a:cubicBezTo>
                  <a:cubicBezTo>
                    <a:pt x="1265" y="332"/>
                    <a:pt x="1242" y="419"/>
                    <a:pt x="1242" y="435"/>
                  </a:cubicBezTo>
                  <a:cubicBezTo>
                    <a:pt x="1234" y="442"/>
                    <a:pt x="1226" y="466"/>
                    <a:pt x="1218" y="442"/>
                  </a:cubicBezTo>
                  <a:cubicBezTo>
                    <a:pt x="1218" y="426"/>
                    <a:pt x="1170" y="450"/>
                    <a:pt x="1170" y="450"/>
                  </a:cubicBezTo>
                  <a:cubicBezTo>
                    <a:pt x="1052" y="585"/>
                    <a:pt x="1052" y="585"/>
                    <a:pt x="1052" y="585"/>
                  </a:cubicBezTo>
                  <a:cubicBezTo>
                    <a:pt x="1012" y="348"/>
                    <a:pt x="1012" y="348"/>
                    <a:pt x="1012" y="348"/>
                  </a:cubicBezTo>
                  <a:cubicBezTo>
                    <a:pt x="641" y="419"/>
                    <a:pt x="641" y="419"/>
                    <a:pt x="641" y="419"/>
                  </a:cubicBezTo>
                  <a:cubicBezTo>
                    <a:pt x="561" y="8"/>
                    <a:pt x="561" y="8"/>
                    <a:pt x="561" y="8"/>
                  </a:cubicBezTo>
                  <a:cubicBezTo>
                    <a:pt x="546" y="0"/>
                    <a:pt x="530" y="8"/>
                    <a:pt x="538" y="15"/>
                  </a:cubicBezTo>
                </a:path>
              </a:pathLst>
            </a:custGeom>
            <a:grpFill/>
            <a:ln>
              <a:solidFill>
                <a:schemeClr val="bg1">
                  <a:lumMod val="95000"/>
                </a:schemeClr>
              </a:solidFill>
            </a:ln>
            <a:effectLst/>
          </p:spPr>
          <p:txBody>
            <a:bodyPr wrap="none" anchor="ctr"/>
            <a:lstStyle/>
            <a:p>
              <a:endParaRPr lang="en-US" sz="900"/>
            </a:p>
          </p:txBody>
        </p:sp>
        <p:sp>
          <p:nvSpPr>
            <p:cNvPr id="110" name="Freeform 778"/>
            <p:cNvSpPr>
              <a:spLocks noChangeArrowheads="1"/>
            </p:cNvSpPr>
            <p:nvPr/>
          </p:nvSpPr>
          <p:spPr bwMode="auto">
            <a:xfrm>
              <a:off x="14957445" y="5502712"/>
              <a:ext cx="890613" cy="885975"/>
            </a:xfrm>
            <a:custGeom>
              <a:avLst/>
              <a:gdLst>
                <a:gd name="T0" fmla="*/ 301 w 1693"/>
                <a:gd name="T1" fmla="*/ 1595 h 1683"/>
                <a:gd name="T2" fmla="*/ 111 w 1693"/>
                <a:gd name="T3" fmla="*/ 1423 h 1683"/>
                <a:gd name="T4" fmla="*/ 64 w 1693"/>
                <a:gd name="T5" fmla="*/ 1154 h 1683"/>
                <a:gd name="T6" fmla="*/ 127 w 1693"/>
                <a:gd name="T7" fmla="*/ 1067 h 1683"/>
                <a:gd name="T8" fmla="*/ 174 w 1693"/>
                <a:gd name="T9" fmla="*/ 838 h 1683"/>
                <a:gd name="T10" fmla="*/ 269 w 1693"/>
                <a:gd name="T11" fmla="*/ 695 h 1683"/>
                <a:gd name="T12" fmla="*/ 356 w 1693"/>
                <a:gd name="T13" fmla="*/ 624 h 1683"/>
                <a:gd name="T14" fmla="*/ 483 w 1693"/>
                <a:gd name="T15" fmla="*/ 553 h 1683"/>
                <a:gd name="T16" fmla="*/ 554 w 1693"/>
                <a:gd name="T17" fmla="*/ 237 h 1683"/>
                <a:gd name="T18" fmla="*/ 554 w 1693"/>
                <a:gd name="T19" fmla="*/ 87 h 1683"/>
                <a:gd name="T20" fmla="*/ 569 w 1693"/>
                <a:gd name="T21" fmla="*/ 0 h 1683"/>
                <a:gd name="T22" fmla="*/ 1178 w 1693"/>
                <a:gd name="T23" fmla="*/ 442 h 1683"/>
                <a:gd name="T24" fmla="*/ 1242 w 1693"/>
                <a:gd name="T25" fmla="*/ 435 h 1683"/>
                <a:gd name="T26" fmla="*/ 1297 w 1693"/>
                <a:gd name="T27" fmla="*/ 355 h 1683"/>
                <a:gd name="T28" fmla="*/ 1455 w 1693"/>
                <a:gd name="T29" fmla="*/ 308 h 1683"/>
                <a:gd name="T30" fmla="*/ 1684 w 1693"/>
                <a:gd name="T31" fmla="*/ 419 h 1683"/>
                <a:gd name="T32" fmla="*/ 1510 w 1693"/>
                <a:gd name="T33" fmla="*/ 435 h 1683"/>
                <a:gd name="T34" fmla="*/ 1392 w 1693"/>
                <a:gd name="T35" fmla="*/ 672 h 1683"/>
                <a:gd name="T36" fmla="*/ 1297 w 1693"/>
                <a:gd name="T37" fmla="*/ 766 h 1683"/>
                <a:gd name="T38" fmla="*/ 1257 w 1693"/>
                <a:gd name="T39" fmla="*/ 854 h 1683"/>
                <a:gd name="T40" fmla="*/ 1194 w 1693"/>
                <a:gd name="T41" fmla="*/ 941 h 1683"/>
                <a:gd name="T42" fmla="*/ 1052 w 1693"/>
                <a:gd name="T43" fmla="*/ 925 h 1683"/>
                <a:gd name="T44" fmla="*/ 965 w 1693"/>
                <a:gd name="T45" fmla="*/ 1201 h 1683"/>
                <a:gd name="T46" fmla="*/ 902 w 1693"/>
                <a:gd name="T47" fmla="*/ 1359 h 1683"/>
                <a:gd name="T48" fmla="*/ 862 w 1693"/>
                <a:gd name="T49" fmla="*/ 1478 h 1683"/>
                <a:gd name="T50" fmla="*/ 712 w 1693"/>
                <a:gd name="T51" fmla="*/ 1540 h 1683"/>
                <a:gd name="T52" fmla="*/ 569 w 1693"/>
                <a:gd name="T53" fmla="*/ 1619 h 1683"/>
                <a:gd name="T54" fmla="*/ 459 w 1693"/>
                <a:gd name="T55" fmla="*/ 1682 h 1683"/>
                <a:gd name="T56" fmla="*/ 127 w 1693"/>
                <a:gd name="T57" fmla="*/ 956 h 1683"/>
                <a:gd name="T58" fmla="*/ 95 w 1693"/>
                <a:gd name="T59" fmla="*/ 1106 h 1683"/>
                <a:gd name="T60" fmla="*/ 103 w 1693"/>
                <a:gd name="T61" fmla="*/ 1383 h 1683"/>
                <a:gd name="T62" fmla="*/ 301 w 1693"/>
                <a:gd name="T63" fmla="*/ 1548 h 1683"/>
                <a:gd name="T64" fmla="*/ 459 w 1693"/>
                <a:gd name="T65" fmla="*/ 1675 h 1683"/>
                <a:gd name="T66" fmla="*/ 569 w 1693"/>
                <a:gd name="T67" fmla="*/ 1611 h 1683"/>
                <a:gd name="T68" fmla="*/ 712 w 1693"/>
                <a:gd name="T69" fmla="*/ 1532 h 1683"/>
                <a:gd name="T70" fmla="*/ 862 w 1693"/>
                <a:gd name="T71" fmla="*/ 1478 h 1683"/>
                <a:gd name="T72" fmla="*/ 902 w 1693"/>
                <a:gd name="T73" fmla="*/ 1367 h 1683"/>
                <a:gd name="T74" fmla="*/ 965 w 1693"/>
                <a:gd name="T75" fmla="*/ 1193 h 1683"/>
                <a:gd name="T76" fmla="*/ 1044 w 1693"/>
                <a:gd name="T77" fmla="*/ 917 h 1683"/>
                <a:gd name="T78" fmla="*/ 1186 w 1693"/>
                <a:gd name="T79" fmla="*/ 941 h 1683"/>
                <a:gd name="T80" fmla="*/ 1242 w 1693"/>
                <a:gd name="T81" fmla="*/ 838 h 1683"/>
                <a:gd name="T82" fmla="*/ 1265 w 1693"/>
                <a:gd name="T83" fmla="*/ 759 h 1683"/>
                <a:gd name="T84" fmla="*/ 1376 w 1693"/>
                <a:gd name="T85" fmla="*/ 672 h 1683"/>
                <a:gd name="T86" fmla="*/ 1479 w 1693"/>
                <a:gd name="T87" fmla="*/ 403 h 1683"/>
                <a:gd name="T88" fmla="*/ 1676 w 1693"/>
                <a:gd name="T89" fmla="*/ 426 h 1683"/>
                <a:gd name="T90" fmla="*/ 1502 w 1693"/>
                <a:gd name="T91" fmla="*/ 292 h 1683"/>
                <a:gd name="T92" fmla="*/ 1337 w 1693"/>
                <a:gd name="T93" fmla="*/ 387 h 1683"/>
                <a:gd name="T94" fmla="*/ 1250 w 1693"/>
                <a:gd name="T95" fmla="*/ 435 h 1683"/>
                <a:gd name="T96" fmla="*/ 1060 w 1693"/>
                <a:gd name="T97" fmla="*/ 593 h 1683"/>
                <a:gd name="T98" fmla="*/ 546 w 1693"/>
                <a:gd name="T99" fmla="*/ 15 h 1683"/>
                <a:gd name="T100" fmla="*/ 569 w 1693"/>
                <a:gd name="T101" fmla="*/ 166 h 1683"/>
                <a:gd name="T102" fmla="*/ 538 w 1693"/>
                <a:gd name="T103" fmla="*/ 340 h 1683"/>
                <a:gd name="T104" fmla="*/ 404 w 1693"/>
                <a:gd name="T105" fmla="*/ 640 h 1683"/>
                <a:gd name="T106" fmla="*/ 317 w 1693"/>
                <a:gd name="T107" fmla="*/ 624 h 1683"/>
                <a:gd name="T108" fmla="*/ 238 w 1693"/>
                <a:gd name="T109" fmla="*/ 877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3" h="1683">
                  <a:moveTo>
                    <a:pt x="459" y="1682"/>
                  </a:moveTo>
                  <a:lnTo>
                    <a:pt x="459" y="1682"/>
                  </a:lnTo>
                  <a:cubicBezTo>
                    <a:pt x="451" y="1682"/>
                    <a:pt x="443" y="1675"/>
                    <a:pt x="435" y="1667"/>
                  </a:cubicBezTo>
                  <a:cubicBezTo>
                    <a:pt x="427" y="1651"/>
                    <a:pt x="404" y="1627"/>
                    <a:pt x="356" y="1619"/>
                  </a:cubicBezTo>
                  <a:cubicBezTo>
                    <a:pt x="325" y="1611"/>
                    <a:pt x="309" y="1604"/>
                    <a:pt x="301" y="1595"/>
                  </a:cubicBezTo>
                  <a:cubicBezTo>
                    <a:pt x="293" y="1588"/>
                    <a:pt x="293" y="1580"/>
                    <a:pt x="293" y="1572"/>
                  </a:cubicBezTo>
                  <a:cubicBezTo>
                    <a:pt x="293" y="1564"/>
                    <a:pt x="301" y="1556"/>
                    <a:pt x="293" y="1548"/>
                  </a:cubicBezTo>
                  <a:cubicBezTo>
                    <a:pt x="277" y="1532"/>
                    <a:pt x="269" y="1532"/>
                    <a:pt x="253" y="1524"/>
                  </a:cubicBezTo>
                  <a:cubicBezTo>
                    <a:pt x="238" y="1524"/>
                    <a:pt x="214" y="1524"/>
                    <a:pt x="182" y="1509"/>
                  </a:cubicBezTo>
                  <a:cubicBezTo>
                    <a:pt x="135" y="1485"/>
                    <a:pt x="127" y="1446"/>
                    <a:pt x="111" y="1423"/>
                  </a:cubicBezTo>
                  <a:cubicBezTo>
                    <a:pt x="111" y="1415"/>
                    <a:pt x="103" y="1399"/>
                    <a:pt x="103" y="1391"/>
                  </a:cubicBezTo>
                  <a:cubicBezTo>
                    <a:pt x="95" y="1383"/>
                    <a:pt x="95" y="1383"/>
                    <a:pt x="95" y="1383"/>
                  </a:cubicBezTo>
                  <a:cubicBezTo>
                    <a:pt x="79" y="1352"/>
                    <a:pt x="64" y="1328"/>
                    <a:pt x="40" y="1304"/>
                  </a:cubicBezTo>
                  <a:cubicBezTo>
                    <a:pt x="8" y="1280"/>
                    <a:pt x="0" y="1185"/>
                    <a:pt x="0" y="1178"/>
                  </a:cubicBezTo>
                  <a:cubicBezTo>
                    <a:pt x="0" y="1162"/>
                    <a:pt x="48" y="1154"/>
                    <a:pt x="64" y="1154"/>
                  </a:cubicBezTo>
                  <a:cubicBezTo>
                    <a:pt x="87" y="1146"/>
                    <a:pt x="87" y="1146"/>
                    <a:pt x="87" y="1114"/>
                  </a:cubicBezTo>
                  <a:cubicBezTo>
                    <a:pt x="87" y="1106"/>
                    <a:pt x="87" y="1106"/>
                    <a:pt x="87" y="1106"/>
                  </a:cubicBezTo>
                  <a:cubicBezTo>
                    <a:pt x="87" y="1083"/>
                    <a:pt x="95" y="1075"/>
                    <a:pt x="111" y="1075"/>
                  </a:cubicBezTo>
                  <a:lnTo>
                    <a:pt x="119" y="1075"/>
                  </a:lnTo>
                  <a:cubicBezTo>
                    <a:pt x="127" y="1067"/>
                    <a:pt x="127" y="1067"/>
                    <a:pt x="127" y="1067"/>
                  </a:cubicBezTo>
                  <a:cubicBezTo>
                    <a:pt x="135" y="1051"/>
                    <a:pt x="127" y="1027"/>
                    <a:pt x="119" y="1004"/>
                  </a:cubicBezTo>
                  <a:cubicBezTo>
                    <a:pt x="111" y="988"/>
                    <a:pt x="119" y="972"/>
                    <a:pt x="119" y="956"/>
                  </a:cubicBezTo>
                  <a:cubicBezTo>
                    <a:pt x="127" y="941"/>
                    <a:pt x="127" y="932"/>
                    <a:pt x="127" y="917"/>
                  </a:cubicBezTo>
                  <a:cubicBezTo>
                    <a:pt x="127" y="893"/>
                    <a:pt x="151" y="854"/>
                    <a:pt x="158" y="838"/>
                  </a:cubicBezTo>
                  <a:cubicBezTo>
                    <a:pt x="167" y="838"/>
                    <a:pt x="167" y="838"/>
                    <a:pt x="174" y="838"/>
                  </a:cubicBezTo>
                  <a:cubicBezTo>
                    <a:pt x="182" y="838"/>
                    <a:pt x="198" y="846"/>
                    <a:pt x="206" y="861"/>
                  </a:cubicBezTo>
                  <a:cubicBezTo>
                    <a:pt x="214" y="861"/>
                    <a:pt x="222" y="869"/>
                    <a:pt x="230" y="877"/>
                  </a:cubicBezTo>
                  <a:lnTo>
                    <a:pt x="230" y="877"/>
                  </a:lnTo>
                  <a:cubicBezTo>
                    <a:pt x="238" y="869"/>
                    <a:pt x="230" y="790"/>
                    <a:pt x="222" y="751"/>
                  </a:cubicBezTo>
                  <a:cubicBezTo>
                    <a:pt x="214" y="719"/>
                    <a:pt x="245" y="703"/>
                    <a:pt x="269" y="695"/>
                  </a:cubicBezTo>
                  <a:cubicBezTo>
                    <a:pt x="269" y="695"/>
                    <a:pt x="277" y="695"/>
                    <a:pt x="285" y="695"/>
                  </a:cubicBezTo>
                  <a:cubicBezTo>
                    <a:pt x="301" y="688"/>
                    <a:pt x="301" y="664"/>
                    <a:pt x="301" y="648"/>
                  </a:cubicBezTo>
                  <a:cubicBezTo>
                    <a:pt x="301" y="640"/>
                    <a:pt x="309" y="632"/>
                    <a:pt x="309" y="624"/>
                  </a:cubicBezTo>
                  <a:cubicBezTo>
                    <a:pt x="309" y="608"/>
                    <a:pt x="317" y="601"/>
                    <a:pt x="325" y="601"/>
                  </a:cubicBezTo>
                  <a:cubicBezTo>
                    <a:pt x="332" y="601"/>
                    <a:pt x="340" y="608"/>
                    <a:pt x="356" y="624"/>
                  </a:cubicBezTo>
                  <a:cubicBezTo>
                    <a:pt x="364" y="624"/>
                    <a:pt x="364" y="624"/>
                    <a:pt x="372" y="632"/>
                  </a:cubicBezTo>
                  <a:cubicBezTo>
                    <a:pt x="372" y="632"/>
                    <a:pt x="380" y="640"/>
                    <a:pt x="388" y="640"/>
                  </a:cubicBezTo>
                  <a:cubicBezTo>
                    <a:pt x="396" y="640"/>
                    <a:pt x="396" y="632"/>
                    <a:pt x="404" y="632"/>
                  </a:cubicBezTo>
                  <a:cubicBezTo>
                    <a:pt x="411" y="632"/>
                    <a:pt x="419" y="624"/>
                    <a:pt x="427" y="624"/>
                  </a:cubicBezTo>
                  <a:cubicBezTo>
                    <a:pt x="443" y="616"/>
                    <a:pt x="467" y="585"/>
                    <a:pt x="483" y="553"/>
                  </a:cubicBezTo>
                  <a:cubicBezTo>
                    <a:pt x="491" y="545"/>
                    <a:pt x="498" y="529"/>
                    <a:pt x="506" y="521"/>
                  </a:cubicBezTo>
                  <a:cubicBezTo>
                    <a:pt x="530" y="498"/>
                    <a:pt x="522" y="435"/>
                    <a:pt x="514" y="379"/>
                  </a:cubicBezTo>
                  <a:cubicBezTo>
                    <a:pt x="506" y="340"/>
                    <a:pt x="522" y="332"/>
                    <a:pt x="538" y="332"/>
                  </a:cubicBezTo>
                  <a:cubicBezTo>
                    <a:pt x="546" y="332"/>
                    <a:pt x="554" y="324"/>
                    <a:pt x="554" y="324"/>
                  </a:cubicBezTo>
                  <a:cubicBezTo>
                    <a:pt x="562" y="316"/>
                    <a:pt x="554" y="268"/>
                    <a:pt x="554" y="237"/>
                  </a:cubicBezTo>
                  <a:cubicBezTo>
                    <a:pt x="554" y="221"/>
                    <a:pt x="546" y="205"/>
                    <a:pt x="546" y="197"/>
                  </a:cubicBezTo>
                  <a:cubicBezTo>
                    <a:pt x="546" y="166"/>
                    <a:pt x="546" y="166"/>
                    <a:pt x="562" y="166"/>
                  </a:cubicBezTo>
                  <a:lnTo>
                    <a:pt x="569" y="158"/>
                  </a:lnTo>
                  <a:cubicBezTo>
                    <a:pt x="578" y="158"/>
                    <a:pt x="569" y="134"/>
                    <a:pt x="562" y="118"/>
                  </a:cubicBezTo>
                  <a:cubicBezTo>
                    <a:pt x="562" y="110"/>
                    <a:pt x="554" y="102"/>
                    <a:pt x="554" y="87"/>
                  </a:cubicBezTo>
                  <a:cubicBezTo>
                    <a:pt x="554" y="79"/>
                    <a:pt x="546" y="63"/>
                    <a:pt x="546" y="47"/>
                  </a:cubicBezTo>
                  <a:cubicBezTo>
                    <a:pt x="546" y="39"/>
                    <a:pt x="538" y="24"/>
                    <a:pt x="538" y="15"/>
                  </a:cubicBezTo>
                  <a:lnTo>
                    <a:pt x="538" y="8"/>
                  </a:lnTo>
                  <a:cubicBezTo>
                    <a:pt x="546" y="0"/>
                    <a:pt x="554" y="0"/>
                    <a:pt x="562" y="0"/>
                  </a:cubicBezTo>
                  <a:cubicBezTo>
                    <a:pt x="569" y="0"/>
                    <a:pt x="569" y="0"/>
                    <a:pt x="569" y="0"/>
                  </a:cubicBezTo>
                  <a:cubicBezTo>
                    <a:pt x="578" y="0"/>
                    <a:pt x="578" y="0"/>
                    <a:pt x="578" y="0"/>
                  </a:cubicBezTo>
                  <a:cubicBezTo>
                    <a:pt x="657" y="419"/>
                    <a:pt x="657" y="419"/>
                    <a:pt x="657" y="419"/>
                  </a:cubicBezTo>
                  <a:cubicBezTo>
                    <a:pt x="1020" y="348"/>
                    <a:pt x="1020" y="348"/>
                    <a:pt x="1020" y="348"/>
                  </a:cubicBezTo>
                  <a:cubicBezTo>
                    <a:pt x="1060" y="577"/>
                    <a:pt x="1060" y="577"/>
                    <a:pt x="1060" y="577"/>
                  </a:cubicBezTo>
                  <a:cubicBezTo>
                    <a:pt x="1178" y="442"/>
                    <a:pt x="1178" y="442"/>
                    <a:pt x="1178" y="442"/>
                  </a:cubicBezTo>
                  <a:lnTo>
                    <a:pt x="1178" y="442"/>
                  </a:lnTo>
                  <a:cubicBezTo>
                    <a:pt x="1178" y="442"/>
                    <a:pt x="1202" y="435"/>
                    <a:pt x="1218" y="435"/>
                  </a:cubicBezTo>
                  <a:cubicBezTo>
                    <a:pt x="1226" y="435"/>
                    <a:pt x="1226" y="442"/>
                    <a:pt x="1234" y="442"/>
                  </a:cubicBezTo>
                  <a:cubicBezTo>
                    <a:pt x="1234" y="450"/>
                    <a:pt x="1234" y="450"/>
                    <a:pt x="1234" y="450"/>
                  </a:cubicBezTo>
                  <a:lnTo>
                    <a:pt x="1242" y="435"/>
                  </a:lnTo>
                  <a:lnTo>
                    <a:pt x="1242" y="435"/>
                  </a:lnTo>
                  <a:cubicBezTo>
                    <a:pt x="1242" y="426"/>
                    <a:pt x="1250" y="419"/>
                    <a:pt x="1250" y="411"/>
                  </a:cubicBezTo>
                  <a:cubicBezTo>
                    <a:pt x="1265" y="363"/>
                    <a:pt x="1273" y="348"/>
                    <a:pt x="1289" y="348"/>
                  </a:cubicBezTo>
                  <a:lnTo>
                    <a:pt x="1289" y="348"/>
                  </a:lnTo>
                  <a:cubicBezTo>
                    <a:pt x="1297" y="348"/>
                    <a:pt x="1297" y="355"/>
                    <a:pt x="1297" y="355"/>
                  </a:cubicBezTo>
                  <a:cubicBezTo>
                    <a:pt x="1305" y="371"/>
                    <a:pt x="1313" y="379"/>
                    <a:pt x="1337" y="379"/>
                  </a:cubicBezTo>
                  <a:cubicBezTo>
                    <a:pt x="1360" y="387"/>
                    <a:pt x="1368" y="371"/>
                    <a:pt x="1384" y="355"/>
                  </a:cubicBezTo>
                  <a:cubicBezTo>
                    <a:pt x="1384" y="348"/>
                    <a:pt x="1392" y="340"/>
                    <a:pt x="1400" y="340"/>
                  </a:cubicBezTo>
                  <a:cubicBezTo>
                    <a:pt x="1408" y="332"/>
                    <a:pt x="1415" y="332"/>
                    <a:pt x="1423" y="332"/>
                  </a:cubicBezTo>
                  <a:cubicBezTo>
                    <a:pt x="1439" y="324"/>
                    <a:pt x="1447" y="316"/>
                    <a:pt x="1455" y="308"/>
                  </a:cubicBezTo>
                  <a:cubicBezTo>
                    <a:pt x="1463" y="300"/>
                    <a:pt x="1487" y="292"/>
                    <a:pt x="1502" y="292"/>
                  </a:cubicBezTo>
                  <a:cubicBezTo>
                    <a:pt x="1510" y="292"/>
                    <a:pt x="1510" y="292"/>
                    <a:pt x="1518" y="292"/>
                  </a:cubicBezTo>
                  <a:cubicBezTo>
                    <a:pt x="1534" y="300"/>
                    <a:pt x="1558" y="300"/>
                    <a:pt x="1581" y="300"/>
                  </a:cubicBezTo>
                  <a:cubicBezTo>
                    <a:pt x="1613" y="300"/>
                    <a:pt x="1637" y="324"/>
                    <a:pt x="1645" y="340"/>
                  </a:cubicBezTo>
                  <a:cubicBezTo>
                    <a:pt x="1645" y="363"/>
                    <a:pt x="1676" y="403"/>
                    <a:pt x="1684" y="419"/>
                  </a:cubicBezTo>
                  <a:lnTo>
                    <a:pt x="1684" y="419"/>
                  </a:lnTo>
                  <a:cubicBezTo>
                    <a:pt x="1692" y="411"/>
                    <a:pt x="1692" y="411"/>
                    <a:pt x="1692" y="411"/>
                  </a:cubicBezTo>
                  <a:cubicBezTo>
                    <a:pt x="1692" y="419"/>
                    <a:pt x="1692" y="419"/>
                    <a:pt x="1692" y="419"/>
                  </a:cubicBezTo>
                  <a:cubicBezTo>
                    <a:pt x="1668" y="474"/>
                    <a:pt x="1637" y="506"/>
                    <a:pt x="1613" y="498"/>
                  </a:cubicBezTo>
                  <a:cubicBezTo>
                    <a:pt x="1590" y="490"/>
                    <a:pt x="1542" y="458"/>
                    <a:pt x="1510" y="435"/>
                  </a:cubicBezTo>
                  <a:cubicBezTo>
                    <a:pt x="1495" y="426"/>
                    <a:pt x="1479" y="411"/>
                    <a:pt x="1479" y="411"/>
                  </a:cubicBezTo>
                  <a:cubicBezTo>
                    <a:pt x="1471" y="411"/>
                    <a:pt x="1463" y="411"/>
                    <a:pt x="1463" y="411"/>
                  </a:cubicBezTo>
                  <a:cubicBezTo>
                    <a:pt x="1455" y="426"/>
                    <a:pt x="1447" y="450"/>
                    <a:pt x="1447" y="482"/>
                  </a:cubicBezTo>
                  <a:cubicBezTo>
                    <a:pt x="1447" y="529"/>
                    <a:pt x="1447" y="577"/>
                    <a:pt x="1431" y="624"/>
                  </a:cubicBezTo>
                  <a:cubicBezTo>
                    <a:pt x="1423" y="672"/>
                    <a:pt x="1415" y="672"/>
                    <a:pt x="1392" y="672"/>
                  </a:cubicBezTo>
                  <a:cubicBezTo>
                    <a:pt x="1392" y="672"/>
                    <a:pt x="1384" y="679"/>
                    <a:pt x="1376" y="679"/>
                  </a:cubicBezTo>
                  <a:cubicBezTo>
                    <a:pt x="1352" y="679"/>
                    <a:pt x="1352" y="703"/>
                    <a:pt x="1352" y="719"/>
                  </a:cubicBezTo>
                  <a:cubicBezTo>
                    <a:pt x="1352" y="735"/>
                    <a:pt x="1352" y="743"/>
                    <a:pt x="1344" y="751"/>
                  </a:cubicBezTo>
                  <a:cubicBezTo>
                    <a:pt x="1344" y="766"/>
                    <a:pt x="1328" y="766"/>
                    <a:pt x="1321" y="766"/>
                  </a:cubicBezTo>
                  <a:cubicBezTo>
                    <a:pt x="1313" y="766"/>
                    <a:pt x="1305" y="766"/>
                    <a:pt x="1297" y="766"/>
                  </a:cubicBezTo>
                  <a:cubicBezTo>
                    <a:pt x="1289" y="766"/>
                    <a:pt x="1273" y="759"/>
                    <a:pt x="1265" y="766"/>
                  </a:cubicBezTo>
                  <a:cubicBezTo>
                    <a:pt x="1257" y="766"/>
                    <a:pt x="1257" y="766"/>
                    <a:pt x="1257" y="766"/>
                  </a:cubicBezTo>
                  <a:cubicBezTo>
                    <a:pt x="1257" y="766"/>
                    <a:pt x="1257" y="774"/>
                    <a:pt x="1257" y="782"/>
                  </a:cubicBezTo>
                  <a:cubicBezTo>
                    <a:pt x="1265" y="790"/>
                    <a:pt x="1265" y="806"/>
                    <a:pt x="1265" y="822"/>
                  </a:cubicBezTo>
                  <a:cubicBezTo>
                    <a:pt x="1265" y="838"/>
                    <a:pt x="1265" y="854"/>
                    <a:pt x="1257" y="854"/>
                  </a:cubicBezTo>
                  <a:cubicBezTo>
                    <a:pt x="1250" y="854"/>
                    <a:pt x="1242" y="854"/>
                    <a:pt x="1234" y="846"/>
                  </a:cubicBezTo>
                  <a:cubicBezTo>
                    <a:pt x="1234" y="838"/>
                    <a:pt x="1226" y="846"/>
                    <a:pt x="1218" y="854"/>
                  </a:cubicBezTo>
                  <a:cubicBezTo>
                    <a:pt x="1210" y="861"/>
                    <a:pt x="1202" y="885"/>
                    <a:pt x="1202" y="893"/>
                  </a:cubicBezTo>
                  <a:lnTo>
                    <a:pt x="1202" y="893"/>
                  </a:lnTo>
                  <a:cubicBezTo>
                    <a:pt x="1202" y="917"/>
                    <a:pt x="1202" y="932"/>
                    <a:pt x="1194" y="941"/>
                  </a:cubicBezTo>
                  <a:cubicBezTo>
                    <a:pt x="1194" y="948"/>
                    <a:pt x="1186" y="948"/>
                    <a:pt x="1186" y="948"/>
                  </a:cubicBezTo>
                  <a:cubicBezTo>
                    <a:pt x="1170" y="948"/>
                    <a:pt x="1147" y="925"/>
                    <a:pt x="1123" y="909"/>
                  </a:cubicBezTo>
                  <a:cubicBezTo>
                    <a:pt x="1123" y="901"/>
                    <a:pt x="1123" y="901"/>
                    <a:pt x="1123" y="901"/>
                  </a:cubicBezTo>
                  <a:cubicBezTo>
                    <a:pt x="1107" y="893"/>
                    <a:pt x="1099" y="893"/>
                    <a:pt x="1075" y="909"/>
                  </a:cubicBezTo>
                  <a:cubicBezTo>
                    <a:pt x="1068" y="917"/>
                    <a:pt x="1060" y="917"/>
                    <a:pt x="1052" y="925"/>
                  </a:cubicBezTo>
                  <a:cubicBezTo>
                    <a:pt x="1028" y="941"/>
                    <a:pt x="1028" y="956"/>
                    <a:pt x="1028" y="988"/>
                  </a:cubicBezTo>
                  <a:cubicBezTo>
                    <a:pt x="1028" y="1004"/>
                    <a:pt x="1028" y="1027"/>
                    <a:pt x="1020" y="1051"/>
                  </a:cubicBezTo>
                  <a:cubicBezTo>
                    <a:pt x="1012" y="1083"/>
                    <a:pt x="1004" y="1099"/>
                    <a:pt x="1004" y="1106"/>
                  </a:cubicBezTo>
                  <a:cubicBezTo>
                    <a:pt x="997" y="1114"/>
                    <a:pt x="997" y="1114"/>
                    <a:pt x="997" y="1138"/>
                  </a:cubicBezTo>
                  <a:cubicBezTo>
                    <a:pt x="989" y="1170"/>
                    <a:pt x="989" y="1178"/>
                    <a:pt x="965" y="1201"/>
                  </a:cubicBezTo>
                  <a:cubicBezTo>
                    <a:pt x="965" y="1201"/>
                    <a:pt x="957" y="1209"/>
                    <a:pt x="957" y="1217"/>
                  </a:cubicBezTo>
                  <a:cubicBezTo>
                    <a:pt x="941" y="1241"/>
                    <a:pt x="933" y="1249"/>
                    <a:pt x="925" y="1272"/>
                  </a:cubicBezTo>
                  <a:cubicBezTo>
                    <a:pt x="917" y="1288"/>
                    <a:pt x="910" y="1304"/>
                    <a:pt x="894" y="1328"/>
                  </a:cubicBezTo>
                  <a:cubicBezTo>
                    <a:pt x="886" y="1344"/>
                    <a:pt x="886" y="1352"/>
                    <a:pt x="886" y="1359"/>
                  </a:cubicBezTo>
                  <a:cubicBezTo>
                    <a:pt x="886" y="1359"/>
                    <a:pt x="894" y="1359"/>
                    <a:pt x="902" y="1359"/>
                  </a:cubicBezTo>
                  <a:cubicBezTo>
                    <a:pt x="910" y="1359"/>
                    <a:pt x="925" y="1359"/>
                    <a:pt x="933" y="1367"/>
                  </a:cubicBezTo>
                  <a:cubicBezTo>
                    <a:pt x="949" y="1375"/>
                    <a:pt x="957" y="1383"/>
                    <a:pt x="957" y="1391"/>
                  </a:cubicBezTo>
                  <a:cubicBezTo>
                    <a:pt x="957" y="1399"/>
                    <a:pt x="933" y="1399"/>
                    <a:pt x="925" y="1399"/>
                  </a:cubicBezTo>
                  <a:cubicBezTo>
                    <a:pt x="917" y="1399"/>
                    <a:pt x="910" y="1415"/>
                    <a:pt x="902" y="1431"/>
                  </a:cubicBezTo>
                  <a:cubicBezTo>
                    <a:pt x="894" y="1454"/>
                    <a:pt x="886" y="1470"/>
                    <a:pt x="862" y="1478"/>
                  </a:cubicBezTo>
                  <a:cubicBezTo>
                    <a:pt x="854" y="1485"/>
                    <a:pt x="846" y="1485"/>
                    <a:pt x="838" y="1485"/>
                  </a:cubicBezTo>
                  <a:lnTo>
                    <a:pt x="831" y="1485"/>
                  </a:lnTo>
                  <a:cubicBezTo>
                    <a:pt x="822" y="1485"/>
                    <a:pt x="822" y="1485"/>
                    <a:pt x="822" y="1485"/>
                  </a:cubicBezTo>
                  <a:lnTo>
                    <a:pt x="822" y="1485"/>
                  </a:lnTo>
                  <a:cubicBezTo>
                    <a:pt x="831" y="1517"/>
                    <a:pt x="783" y="1524"/>
                    <a:pt x="712" y="1540"/>
                  </a:cubicBezTo>
                  <a:cubicBezTo>
                    <a:pt x="704" y="1540"/>
                    <a:pt x="704" y="1540"/>
                    <a:pt x="704" y="1540"/>
                  </a:cubicBezTo>
                  <a:cubicBezTo>
                    <a:pt x="680" y="1548"/>
                    <a:pt x="672" y="1548"/>
                    <a:pt x="672" y="1548"/>
                  </a:cubicBezTo>
                  <a:cubicBezTo>
                    <a:pt x="672" y="1556"/>
                    <a:pt x="672" y="1556"/>
                    <a:pt x="680" y="1556"/>
                  </a:cubicBezTo>
                  <a:cubicBezTo>
                    <a:pt x="680" y="1564"/>
                    <a:pt x="688" y="1572"/>
                    <a:pt x="680" y="1580"/>
                  </a:cubicBezTo>
                  <a:cubicBezTo>
                    <a:pt x="664" y="1588"/>
                    <a:pt x="625" y="1619"/>
                    <a:pt x="569" y="1619"/>
                  </a:cubicBezTo>
                  <a:cubicBezTo>
                    <a:pt x="562" y="1619"/>
                    <a:pt x="546" y="1611"/>
                    <a:pt x="538" y="1611"/>
                  </a:cubicBezTo>
                  <a:cubicBezTo>
                    <a:pt x="522" y="1611"/>
                    <a:pt x="514" y="1604"/>
                    <a:pt x="506" y="1604"/>
                  </a:cubicBezTo>
                  <a:cubicBezTo>
                    <a:pt x="498" y="1604"/>
                    <a:pt x="498" y="1611"/>
                    <a:pt x="498" y="1619"/>
                  </a:cubicBezTo>
                  <a:cubicBezTo>
                    <a:pt x="498" y="1627"/>
                    <a:pt x="498" y="1643"/>
                    <a:pt x="483" y="1667"/>
                  </a:cubicBezTo>
                  <a:cubicBezTo>
                    <a:pt x="475" y="1675"/>
                    <a:pt x="467" y="1682"/>
                    <a:pt x="459" y="1682"/>
                  </a:cubicBezTo>
                  <a:close/>
                  <a:moveTo>
                    <a:pt x="174" y="846"/>
                  </a:moveTo>
                  <a:lnTo>
                    <a:pt x="174" y="846"/>
                  </a:lnTo>
                  <a:cubicBezTo>
                    <a:pt x="167" y="846"/>
                    <a:pt x="167" y="846"/>
                    <a:pt x="167" y="846"/>
                  </a:cubicBezTo>
                  <a:cubicBezTo>
                    <a:pt x="151" y="854"/>
                    <a:pt x="135" y="893"/>
                    <a:pt x="135" y="917"/>
                  </a:cubicBezTo>
                  <a:cubicBezTo>
                    <a:pt x="135" y="932"/>
                    <a:pt x="135" y="948"/>
                    <a:pt x="127" y="956"/>
                  </a:cubicBezTo>
                  <a:cubicBezTo>
                    <a:pt x="127" y="972"/>
                    <a:pt x="119" y="988"/>
                    <a:pt x="127" y="1004"/>
                  </a:cubicBezTo>
                  <a:cubicBezTo>
                    <a:pt x="135" y="1012"/>
                    <a:pt x="143" y="1043"/>
                    <a:pt x="135" y="1067"/>
                  </a:cubicBezTo>
                  <a:cubicBezTo>
                    <a:pt x="135" y="1075"/>
                    <a:pt x="127" y="1075"/>
                    <a:pt x="127" y="1075"/>
                  </a:cubicBezTo>
                  <a:cubicBezTo>
                    <a:pt x="119" y="1083"/>
                    <a:pt x="111" y="1083"/>
                    <a:pt x="111" y="1083"/>
                  </a:cubicBezTo>
                  <a:cubicBezTo>
                    <a:pt x="95" y="1083"/>
                    <a:pt x="95" y="1083"/>
                    <a:pt x="95" y="1106"/>
                  </a:cubicBezTo>
                  <a:cubicBezTo>
                    <a:pt x="95" y="1114"/>
                    <a:pt x="95" y="1114"/>
                    <a:pt x="95" y="1114"/>
                  </a:cubicBezTo>
                  <a:cubicBezTo>
                    <a:pt x="95" y="1146"/>
                    <a:pt x="95" y="1154"/>
                    <a:pt x="64" y="1162"/>
                  </a:cubicBezTo>
                  <a:cubicBezTo>
                    <a:pt x="32" y="1162"/>
                    <a:pt x="8" y="1178"/>
                    <a:pt x="8" y="1178"/>
                  </a:cubicBezTo>
                  <a:cubicBezTo>
                    <a:pt x="8" y="1193"/>
                    <a:pt x="16" y="1280"/>
                    <a:pt x="48" y="1304"/>
                  </a:cubicBezTo>
                  <a:cubicBezTo>
                    <a:pt x="72" y="1320"/>
                    <a:pt x="87" y="1352"/>
                    <a:pt x="103" y="1383"/>
                  </a:cubicBezTo>
                  <a:cubicBezTo>
                    <a:pt x="111" y="1391"/>
                    <a:pt x="111" y="1391"/>
                    <a:pt x="111" y="1391"/>
                  </a:cubicBezTo>
                  <a:cubicBezTo>
                    <a:pt x="111" y="1399"/>
                    <a:pt x="119" y="1407"/>
                    <a:pt x="119" y="1415"/>
                  </a:cubicBezTo>
                  <a:cubicBezTo>
                    <a:pt x="135" y="1446"/>
                    <a:pt x="143" y="1478"/>
                    <a:pt x="190" y="1501"/>
                  </a:cubicBezTo>
                  <a:cubicBezTo>
                    <a:pt x="214" y="1517"/>
                    <a:pt x="238" y="1517"/>
                    <a:pt x="253" y="1517"/>
                  </a:cubicBezTo>
                  <a:cubicBezTo>
                    <a:pt x="269" y="1524"/>
                    <a:pt x="285" y="1524"/>
                    <a:pt x="301" y="1548"/>
                  </a:cubicBezTo>
                  <a:cubicBezTo>
                    <a:pt x="309" y="1556"/>
                    <a:pt x="301" y="1572"/>
                    <a:pt x="301" y="1580"/>
                  </a:cubicBezTo>
                  <a:cubicBezTo>
                    <a:pt x="301" y="1588"/>
                    <a:pt x="301" y="1588"/>
                    <a:pt x="301" y="1595"/>
                  </a:cubicBezTo>
                  <a:cubicBezTo>
                    <a:pt x="309" y="1604"/>
                    <a:pt x="325" y="1604"/>
                    <a:pt x="356" y="1611"/>
                  </a:cubicBezTo>
                  <a:cubicBezTo>
                    <a:pt x="404" y="1627"/>
                    <a:pt x="427" y="1643"/>
                    <a:pt x="443" y="1659"/>
                  </a:cubicBezTo>
                  <a:cubicBezTo>
                    <a:pt x="451" y="1667"/>
                    <a:pt x="459" y="1675"/>
                    <a:pt x="459" y="1675"/>
                  </a:cubicBezTo>
                  <a:cubicBezTo>
                    <a:pt x="467" y="1675"/>
                    <a:pt x="467" y="1667"/>
                    <a:pt x="475" y="1659"/>
                  </a:cubicBezTo>
                  <a:cubicBezTo>
                    <a:pt x="491" y="1643"/>
                    <a:pt x="491" y="1627"/>
                    <a:pt x="491" y="1619"/>
                  </a:cubicBezTo>
                  <a:cubicBezTo>
                    <a:pt x="491" y="1604"/>
                    <a:pt x="498" y="1595"/>
                    <a:pt x="506" y="1595"/>
                  </a:cubicBezTo>
                  <a:cubicBezTo>
                    <a:pt x="514" y="1595"/>
                    <a:pt x="522" y="1604"/>
                    <a:pt x="538" y="1604"/>
                  </a:cubicBezTo>
                  <a:cubicBezTo>
                    <a:pt x="546" y="1604"/>
                    <a:pt x="562" y="1611"/>
                    <a:pt x="569" y="1611"/>
                  </a:cubicBezTo>
                  <a:cubicBezTo>
                    <a:pt x="617" y="1611"/>
                    <a:pt x="664" y="1588"/>
                    <a:pt x="672" y="1572"/>
                  </a:cubicBezTo>
                  <a:cubicBezTo>
                    <a:pt x="680" y="1572"/>
                    <a:pt x="680" y="1572"/>
                    <a:pt x="672" y="1564"/>
                  </a:cubicBezTo>
                  <a:cubicBezTo>
                    <a:pt x="664" y="1556"/>
                    <a:pt x="664" y="1556"/>
                    <a:pt x="664" y="1548"/>
                  </a:cubicBezTo>
                  <a:cubicBezTo>
                    <a:pt x="672" y="1540"/>
                    <a:pt x="680" y="1540"/>
                    <a:pt x="704" y="1532"/>
                  </a:cubicBezTo>
                  <a:cubicBezTo>
                    <a:pt x="712" y="1532"/>
                    <a:pt x="712" y="1532"/>
                    <a:pt x="712" y="1532"/>
                  </a:cubicBezTo>
                  <a:cubicBezTo>
                    <a:pt x="767" y="1517"/>
                    <a:pt x="822" y="1509"/>
                    <a:pt x="815" y="1493"/>
                  </a:cubicBezTo>
                  <a:cubicBezTo>
                    <a:pt x="815" y="1485"/>
                    <a:pt x="815" y="1485"/>
                    <a:pt x="815" y="1478"/>
                  </a:cubicBezTo>
                  <a:cubicBezTo>
                    <a:pt x="822" y="1478"/>
                    <a:pt x="822" y="1478"/>
                    <a:pt x="831" y="1478"/>
                  </a:cubicBezTo>
                  <a:lnTo>
                    <a:pt x="838" y="1478"/>
                  </a:lnTo>
                  <a:cubicBezTo>
                    <a:pt x="846" y="1478"/>
                    <a:pt x="854" y="1478"/>
                    <a:pt x="862" y="1478"/>
                  </a:cubicBezTo>
                  <a:cubicBezTo>
                    <a:pt x="878" y="1470"/>
                    <a:pt x="886" y="1446"/>
                    <a:pt x="894" y="1431"/>
                  </a:cubicBezTo>
                  <a:cubicBezTo>
                    <a:pt x="902" y="1415"/>
                    <a:pt x="910" y="1399"/>
                    <a:pt x="925" y="1399"/>
                  </a:cubicBezTo>
                  <a:cubicBezTo>
                    <a:pt x="933" y="1399"/>
                    <a:pt x="949" y="1391"/>
                    <a:pt x="949" y="1383"/>
                  </a:cubicBezTo>
                  <a:cubicBezTo>
                    <a:pt x="949" y="1383"/>
                    <a:pt x="949" y="1375"/>
                    <a:pt x="933" y="1375"/>
                  </a:cubicBezTo>
                  <a:cubicBezTo>
                    <a:pt x="917" y="1367"/>
                    <a:pt x="910" y="1367"/>
                    <a:pt x="902" y="1367"/>
                  </a:cubicBezTo>
                  <a:cubicBezTo>
                    <a:pt x="886" y="1367"/>
                    <a:pt x="878" y="1367"/>
                    <a:pt x="878" y="1359"/>
                  </a:cubicBezTo>
                  <a:cubicBezTo>
                    <a:pt x="878" y="1352"/>
                    <a:pt x="878" y="1344"/>
                    <a:pt x="894" y="1328"/>
                  </a:cubicBezTo>
                  <a:cubicBezTo>
                    <a:pt x="910" y="1304"/>
                    <a:pt x="910" y="1280"/>
                    <a:pt x="917" y="1265"/>
                  </a:cubicBezTo>
                  <a:cubicBezTo>
                    <a:pt x="925" y="1249"/>
                    <a:pt x="933" y="1233"/>
                    <a:pt x="949" y="1209"/>
                  </a:cubicBezTo>
                  <a:cubicBezTo>
                    <a:pt x="957" y="1209"/>
                    <a:pt x="957" y="1201"/>
                    <a:pt x="965" y="1193"/>
                  </a:cubicBezTo>
                  <a:cubicBezTo>
                    <a:pt x="981" y="1170"/>
                    <a:pt x="981" y="1170"/>
                    <a:pt x="989" y="1138"/>
                  </a:cubicBezTo>
                  <a:cubicBezTo>
                    <a:pt x="989" y="1114"/>
                    <a:pt x="989" y="1106"/>
                    <a:pt x="997" y="1099"/>
                  </a:cubicBezTo>
                  <a:cubicBezTo>
                    <a:pt x="1004" y="1091"/>
                    <a:pt x="1004" y="1083"/>
                    <a:pt x="1012" y="1051"/>
                  </a:cubicBezTo>
                  <a:cubicBezTo>
                    <a:pt x="1020" y="1027"/>
                    <a:pt x="1020" y="1004"/>
                    <a:pt x="1020" y="988"/>
                  </a:cubicBezTo>
                  <a:cubicBezTo>
                    <a:pt x="1020" y="956"/>
                    <a:pt x="1020" y="932"/>
                    <a:pt x="1044" y="917"/>
                  </a:cubicBezTo>
                  <a:cubicBezTo>
                    <a:pt x="1060" y="917"/>
                    <a:pt x="1068" y="909"/>
                    <a:pt x="1075" y="901"/>
                  </a:cubicBezTo>
                  <a:cubicBezTo>
                    <a:pt x="1084" y="893"/>
                    <a:pt x="1091" y="885"/>
                    <a:pt x="1107" y="885"/>
                  </a:cubicBezTo>
                  <a:cubicBezTo>
                    <a:pt x="1115" y="885"/>
                    <a:pt x="1115" y="893"/>
                    <a:pt x="1123" y="901"/>
                  </a:cubicBezTo>
                  <a:cubicBezTo>
                    <a:pt x="1131" y="901"/>
                    <a:pt x="1131" y="901"/>
                    <a:pt x="1131" y="901"/>
                  </a:cubicBezTo>
                  <a:cubicBezTo>
                    <a:pt x="1147" y="917"/>
                    <a:pt x="1170" y="941"/>
                    <a:pt x="1186" y="941"/>
                  </a:cubicBezTo>
                  <a:lnTo>
                    <a:pt x="1186" y="941"/>
                  </a:lnTo>
                  <a:cubicBezTo>
                    <a:pt x="1202" y="925"/>
                    <a:pt x="1194" y="917"/>
                    <a:pt x="1194" y="901"/>
                  </a:cubicBezTo>
                  <a:cubicBezTo>
                    <a:pt x="1194" y="893"/>
                    <a:pt x="1194" y="893"/>
                    <a:pt x="1194" y="893"/>
                  </a:cubicBezTo>
                  <a:cubicBezTo>
                    <a:pt x="1194" y="885"/>
                    <a:pt x="1202" y="861"/>
                    <a:pt x="1210" y="846"/>
                  </a:cubicBezTo>
                  <a:cubicBezTo>
                    <a:pt x="1226" y="838"/>
                    <a:pt x="1234" y="830"/>
                    <a:pt x="1242" y="838"/>
                  </a:cubicBezTo>
                  <a:cubicBezTo>
                    <a:pt x="1250" y="846"/>
                    <a:pt x="1250" y="846"/>
                    <a:pt x="1257" y="846"/>
                  </a:cubicBezTo>
                  <a:cubicBezTo>
                    <a:pt x="1257" y="846"/>
                    <a:pt x="1257" y="846"/>
                    <a:pt x="1257" y="822"/>
                  </a:cubicBezTo>
                  <a:cubicBezTo>
                    <a:pt x="1257" y="806"/>
                    <a:pt x="1257" y="798"/>
                    <a:pt x="1250" y="790"/>
                  </a:cubicBezTo>
                  <a:cubicBezTo>
                    <a:pt x="1250" y="774"/>
                    <a:pt x="1250" y="766"/>
                    <a:pt x="1250" y="759"/>
                  </a:cubicBezTo>
                  <a:cubicBezTo>
                    <a:pt x="1250" y="759"/>
                    <a:pt x="1257" y="759"/>
                    <a:pt x="1265" y="759"/>
                  </a:cubicBezTo>
                  <a:cubicBezTo>
                    <a:pt x="1273" y="759"/>
                    <a:pt x="1289" y="759"/>
                    <a:pt x="1297" y="759"/>
                  </a:cubicBezTo>
                  <a:cubicBezTo>
                    <a:pt x="1305" y="759"/>
                    <a:pt x="1313" y="759"/>
                    <a:pt x="1321" y="759"/>
                  </a:cubicBezTo>
                  <a:cubicBezTo>
                    <a:pt x="1328" y="759"/>
                    <a:pt x="1337" y="759"/>
                    <a:pt x="1337" y="751"/>
                  </a:cubicBezTo>
                  <a:cubicBezTo>
                    <a:pt x="1344" y="743"/>
                    <a:pt x="1344" y="727"/>
                    <a:pt x="1344" y="719"/>
                  </a:cubicBezTo>
                  <a:cubicBezTo>
                    <a:pt x="1344" y="703"/>
                    <a:pt x="1344" y="679"/>
                    <a:pt x="1376" y="672"/>
                  </a:cubicBezTo>
                  <a:cubicBezTo>
                    <a:pt x="1384" y="672"/>
                    <a:pt x="1392" y="672"/>
                    <a:pt x="1392" y="672"/>
                  </a:cubicBezTo>
                  <a:cubicBezTo>
                    <a:pt x="1408" y="664"/>
                    <a:pt x="1415" y="664"/>
                    <a:pt x="1423" y="624"/>
                  </a:cubicBezTo>
                  <a:cubicBezTo>
                    <a:pt x="1439" y="561"/>
                    <a:pt x="1439" y="514"/>
                    <a:pt x="1439" y="482"/>
                  </a:cubicBezTo>
                  <a:cubicBezTo>
                    <a:pt x="1439" y="458"/>
                    <a:pt x="1439" y="419"/>
                    <a:pt x="1455" y="411"/>
                  </a:cubicBezTo>
                  <a:cubicBezTo>
                    <a:pt x="1463" y="403"/>
                    <a:pt x="1471" y="403"/>
                    <a:pt x="1479" y="403"/>
                  </a:cubicBezTo>
                  <a:cubicBezTo>
                    <a:pt x="1487" y="411"/>
                    <a:pt x="1502" y="419"/>
                    <a:pt x="1518" y="426"/>
                  </a:cubicBezTo>
                  <a:cubicBezTo>
                    <a:pt x="1550" y="450"/>
                    <a:pt x="1590" y="490"/>
                    <a:pt x="1613" y="490"/>
                  </a:cubicBezTo>
                  <a:lnTo>
                    <a:pt x="1621" y="490"/>
                  </a:lnTo>
                  <a:cubicBezTo>
                    <a:pt x="1637" y="490"/>
                    <a:pt x="1661" y="466"/>
                    <a:pt x="1676" y="426"/>
                  </a:cubicBezTo>
                  <a:lnTo>
                    <a:pt x="1676" y="426"/>
                  </a:lnTo>
                  <a:cubicBezTo>
                    <a:pt x="1676" y="419"/>
                    <a:pt x="1676" y="419"/>
                    <a:pt x="1676" y="419"/>
                  </a:cubicBezTo>
                  <a:cubicBezTo>
                    <a:pt x="1676" y="419"/>
                    <a:pt x="1645" y="363"/>
                    <a:pt x="1637" y="348"/>
                  </a:cubicBezTo>
                  <a:cubicBezTo>
                    <a:pt x="1629" y="324"/>
                    <a:pt x="1613" y="308"/>
                    <a:pt x="1581" y="308"/>
                  </a:cubicBezTo>
                  <a:cubicBezTo>
                    <a:pt x="1558" y="308"/>
                    <a:pt x="1534" y="308"/>
                    <a:pt x="1510" y="300"/>
                  </a:cubicBezTo>
                  <a:cubicBezTo>
                    <a:pt x="1510" y="300"/>
                    <a:pt x="1510" y="292"/>
                    <a:pt x="1502" y="292"/>
                  </a:cubicBezTo>
                  <a:cubicBezTo>
                    <a:pt x="1487" y="292"/>
                    <a:pt x="1471" y="308"/>
                    <a:pt x="1463" y="316"/>
                  </a:cubicBezTo>
                  <a:cubicBezTo>
                    <a:pt x="1455" y="324"/>
                    <a:pt x="1439" y="332"/>
                    <a:pt x="1423" y="332"/>
                  </a:cubicBezTo>
                  <a:cubicBezTo>
                    <a:pt x="1415" y="340"/>
                    <a:pt x="1415" y="340"/>
                    <a:pt x="1408" y="340"/>
                  </a:cubicBezTo>
                  <a:cubicBezTo>
                    <a:pt x="1400" y="348"/>
                    <a:pt x="1392" y="355"/>
                    <a:pt x="1384" y="363"/>
                  </a:cubicBezTo>
                  <a:cubicBezTo>
                    <a:pt x="1376" y="379"/>
                    <a:pt x="1368" y="395"/>
                    <a:pt x="1337" y="387"/>
                  </a:cubicBezTo>
                  <a:cubicBezTo>
                    <a:pt x="1305" y="387"/>
                    <a:pt x="1297" y="371"/>
                    <a:pt x="1289" y="363"/>
                  </a:cubicBezTo>
                  <a:cubicBezTo>
                    <a:pt x="1289" y="355"/>
                    <a:pt x="1289" y="355"/>
                    <a:pt x="1289" y="355"/>
                  </a:cubicBezTo>
                  <a:cubicBezTo>
                    <a:pt x="1281" y="355"/>
                    <a:pt x="1265" y="395"/>
                    <a:pt x="1257" y="419"/>
                  </a:cubicBezTo>
                  <a:cubicBezTo>
                    <a:pt x="1250" y="426"/>
                    <a:pt x="1250" y="435"/>
                    <a:pt x="1250" y="435"/>
                  </a:cubicBezTo>
                  <a:lnTo>
                    <a:pt x="1250" y="435"/>
                  </a:lnTo>
                  <a:cubicBezTo>
                    <a:pt x="1242" y="450"/>
                    <a:pt x="1242" y="458"/>
                    <a:pt x="1234" y="458"/>
                  </a:cubicBezTo>
                  <a:cubicBezTo>
                    <a:pt x="1226" y="458"/>
                    <a:pt x="1226" y="450"/>
                    <a:pt x="1226" y="450"/>
                  </a:cubicBezTo>
                  <a:cubicBezTo>
                    <a:pt x="1226" y="442"/>
                    <a:pt x="1226" y="442"/>
                    <a:pt x="1218" y="442"/>
                  </a:cubicBezTo>
                  <a:cubicBezTo>
                    <a:pt x="1202" y="442"/>
                    <a:pt x="1186" y="450"/>
                    <a:pt x="1186" y="450"/>
                  </a:cubicBezTo>
                  <a:cubicBezTo>
                    <a:pt x="1060" y="593"/>
                    <a:pt x="1060" y="593"/>
                    <a:pt x="1060" y="593"/>
                  </a:cubicBezTo>
                  <a:cubicBezTo>
                    <a:pt x="1020" y="355"/>
                    <a:pt x="1020" y="355"/>
                    <a:pt x="1020" y="355"/>
                  </a:cubicBezTo>
                  <a:cubicBezTo>
                    <a:pt x="649" y="426"/>
                    <a:pt x="649" y="426"/>
                    <a:pt x="649" y="426"/>
                  </a:cubicBezTo>
                  <a:cubicBezTo>
                    <a:pt x="569" y="8"/>
                    <a:pt x="569" y="8"/>
                    <a:pt x="569" y="8"/>
                  </a:cubicBezTo>
                  <a:cubicBezTo>
                    <a:pt x="569" y="8"/>
                    <a:pt x="569" y="8"/>
                    <a:pt x="562" y="8"/>
                  </a:cubicBezTo>
                  <a:cubicBezTo>
                    <a:pt x="554" y="8"/>
                    <a:pt x="546" y="8"/>
                    <a:pt x="546" y="15"/>
                  </a:cubicBezTo>
                  <a:lnTo>
                    <a:pt x="546" y="15"/>
                  </a:lnTo>
                  <a:cubicBezTo>
                    <a:pt x="546" y="24"/>
                    <a:pt x="554" y="31"/>
                    <a:pt x="554" y="47"/>
                  </a:cubicBezTo>
                  <a:cubicBezTo>
                    <a:pt x="554" y="63"/>
                    <a:pt x="562" y="71"/>
                    <a:pt x="562" y="87"/>
                  </a:cubicBezTo>
                  <a:cubicBezTo>
                    <a:pt x="562" y="95"/>
                    <a:pt x="569" y="110"/>
                    <a:pt x="569" y="118"/>
                  </a:cubicBezTo>
                  <a:cubicBezTo>
                    <a:pt x="578" y="142"/>
                    <a:pt x="585" y="158"/>
                    <a:pt x="569" y="166"/>
                  </a:cubicBezTo>
                  <a:lnTo>
                    <a:pt x="562" y="166"/>
                  </a:lnTo>
                  <a:cubicBezTo>
                    <a:pt x="554" y="174"/>
                    <a:pt x="554" y="174"/>
                    <a:pt x="554" y="197"/>
                  </a:cubicBezTo>
                  <a:cubicBezTo>
                    <a:pt x="554" y="205"/>
                    <a:pt x="554" y="221"/>
                    <a:pt x="562" y="237"/>
                  </a:cubicBezTo>
                  <a:cubicBezTo>
                    <a:pt x="562" y="284"/>
                    <a:pt x="569" y="316"/>
                    <a:pt x="562" y="332"/>
                  </a:cubicBezTo>
                  <a:cubicBezTo>
                    <a:pt x="554" y="332"/>
                    <a:pt x="546" y="332"/>
                    <a:pt x="538" y="340"/>
                  </a:cubicBezTo>
                  <a:cubicBezTo>
                    <a:pt x="530" y="340"/>
                    <a:pt x="514" y="340"/>
                    <a:pt x="522" y="379"/>
                  </a:cubicBezTo>
                  <a:cubicBezTo>
                    <a:pt x="530" y="442"/>
                    <a:pt x="530" y="498"/>
                    <a:pt x="514" y="529"/>
                  </a:cubicBezTo>
                  <a:cubicBezTo>
                    <a:pt x="506" y="537"/>
                    <a:pt x="498" y="545"/>
                    <a:pt x="491" y="561"/>
                  </a:cubicBezTo>
                  <a:cubicBezTo>
                    <a:pt x="467" y="593"/>
                    <a:pt x="451" y="624"/>
                    <a:pt x="427" y="632"/>
                  </a:cubicBezTo>
                  <a:cubicBezTo>
                    <a:pt x="419" y="632"/>
                    <a:pt x="411" y="632"/>
                    <a:pt x="404" y="640"/>
                  </a:cubicBezTo>
                  <a:cubicBezTo>
                    <a:pt x="404" y="640"/>
                    <a:pt x="396" y="640"/>
                    <a:pt x="388" y="640"/>
                  </a:cubicBezTo>
                  <a:cubicBezTo>
                    <a:pt x="380" y="640"/>
                    <a:pt x="372" y="640"/>
                    <a:pt x="364" y="632"/>
                  </a:cubicBezTo>
                  <a:cubicBezTo>
                    <a:pt x="364" y="632"/>
                    <a:pt x="356" y="632"/>
                    <a:pt x="356" y="624"/>
                  </a:cubicBezTo>
                  <a:cubicBezTo>
                    <a:pt x="340" y="616"/>
                    <a:pt x="332" y="608"/>
                    <a:pt x="325" y="608"/>
                  </a:cubicBezTo>
                  <a:cubicBezTo>
                    <a:pt x="325" y="608"/>
                    <a:pt x="317" y="608"/>
                    <a:pt x="317" y="624"/>
                  </a:cubicBezTo>
                  <a:cubicBezTo>
                    <a:pt x="317" y="632"/>
                    <a:pt x="309" y="640"/>
                    <a:pt x="309" y="648"/>
                  </a:cubicBezTo>
                  <a:cubicBezTo>
                    <a:pt x="309" y="672"/>
                    <a:pt x="309" y="688"/>
                    <a:pt x="285" y="695"/>
                  </a:cubicBezTo>
                  <a:cubicBezTo>
                    <a:pt x="285" y="703"/>
                    <a:pt x="277" y="703"/>
                    <a:pt x="269" y="703"/>
                  </a:cubicBezTo>
                  <a:cubicBezTo>
                    <a:pt x="245" y="719"/>
                    <a:pt x="222" y="727"/>
                    <a:pt x="230" y="743"/>
                  </a:cubicBezTo>
                  <a:cubicBezTo>
                    <a:pt x="238" y="774"/>
                    <a:pt x="245" y="861"/>
                    <a:pt x="238" y="877"/>
                  </a:cubicBezTo>
                  <a:cubicBezTo>
                    <a:pt x="238" y="885"/>
                    <a:pt x="230" y="885"/>
                    <a:pt x="230" y="885"/>
                  </a:cubicBezTo>
                  <a:cubicBezTo>
                    <a:pt x="230" y="885"/>
                    <a:pt x="230" y="885"/>
                    <a:pt x="230" y="877"/>
                  </a:cubicBezTo>
                  <a:cubicBezTo>
                    <a:pt x="222" y="877"/>
                    <a:pt x="214" y="869"/>
                    <a:pt x="206" y="861"/>
                  </a:cubicBezTo>
                  <a:cubicBezTo>
                    <a:pt x="190" y="854"/>
                    <a:pt x="182" y="846"/>
                    <a:pt x="174" y="846"/>
                  </a:cubicBezTo>
                  <a:close/>
                </a:path>
              </a:pathLst>
            </a:custGeom>
            <a:grpFill/>
            <a:ln>
              <a:solidFill>
                <a:schemeClr val="bg1">
                  <a:lumMod val="95000"/>
                </a:schemeClr>
              </a:solidFill>
            </a:ln>
            <a:effectLst/>
          </p:spPr>
          <p:txBody>
            <a:bodyPr wrap="none" anchor="ctr"/>
            <a:lstStyle/>
            <a:p>
              <a:endParaRPr lang="en-US" sz="900"/>
            </a:p>
          </p:txBody>
        </p:sp>
        <p:sp>
          <p:nvSpPr>
            <p:cNvPr id="111" name="Freeform 779"/>
            <p:cNvSpPr>
              <a:spLocks noChangeArrowheads="1"/>
            </p:cNvSpPr>
            <p:nvPr/>
          </p:nvSpPr>
          <p:spPr bwMode="auto">
            <a:xfrm>
              <a:off x="14832203" y="5711450"/>
              <a:ext cx="1514506" cy="876698"/>
            </a:xfrm>
            <a:custGeom>
              <a:avLst/>
              <a:gdLst>
                <a:gd name="T0" fmla="*/ 2846 w 2879"/>
                <a:gd name="T1" fmla="*/ 1122 h 1668"/>
                <a:gd name="T2" fmla="*/ 2744 w 2879"/>
                <a:gd name="T3" fmla="*/ 1012 h 1668"/>
                <a:gd name="T4" fmla="*/ 2664 w 2879"/>
                <a:gd name="T5" fmla="*/ 1043 h 1668"/>
                <a:gd name="T6" fmla="*/ 2562 w 2879"/>
                <a:gd name="T7" fmla="*/ 1012 h 1668"/>
                <a:gd name="T8" fmla="*/ 2522 w 2879"/>
                <a:gd name="T9" fmla="*/ 949 h 1668"/>
                <a:gd name="T10" fmla="*/ 2641 w 2879"/>
                <a:gd name="T11" fmla="*/ 1012 h 1668"/>
                <a:gd name="T12" fmla="*/ 2657 w 2879"/>
                <a:gd name="T13" fmla="*/ 933 h 1668"/>
                <a:gd name="T14" fmla="*/ 2593 w 2879"/>
                <a:gd name="T15" fmla="*/ 901 h 1668"/>
                <a:gd name="T16" fmla="*/ 2562 w 2879"/>
                <a:gd name="T17" fmla="*/ 877 h 1668"/>
                <a:gd name="T18" fmla="*/ 2585 w 2879"/>
                <a:gd name="T19" fmla="*/ 814 h 1668"/>
                <a:gd name="T20" fmla="*/ 2641 w 2879"/>
                <a:gd name="T21" fmla="*/ 790 h 1668"/>
                <a:gd name="T22" fmla="*/ 2538 w 2879"/>
                <a:gd name="T23" fmla="*/ 727 h 1668"/>
                <a:gd name="T24" fmla="*/ 2514 w 2879"/>
                <a:gd name="T25" fmla="*/ 680 h 1668"/>
                <a:gd name="T26" fmla="*/ 2585 w 2879"/>
                <a:gd name="T27" fmla="*/ 680 h 1668"/>
                <a:gd name="T28" fmla="*/ 2609 w 2879"/>
                <a:gd name="T29" fmla="*/ 593 h 1668"/>
                <a:gd name="T30" fmla="*/ 2498 w 2879"/>
                <a:gd name="T31" fmla="*/ 506 h 1668"/>
                <a:gd name="T32" fmla="*/ 2411 w 2879"/>
                <a:gd name="T33" fmla="*/ 490 h 1668"/>
                <a:gd name="T34" fmla="*/ 2301 w 2879"/>
                <a:gd name="T35" fmla="*/ 427 h 1668"/>
                <a:gd name="T36" fmla="*/ 2158 w 2879"/>
                <a:gd name="T37" fmla="*/ 427 h 1668"/>
                <a:gd name="T38" fmla="*/ 2206 w 2879"/>
                <a:gd name="T39" fmla="*/ 206 h 1668"/>
                <a:gd name="T40" fmla="*/ 2024 w 2879"/>
                <a:gd name="T41" fmla="*/ 119 h 1668"/>
                <a:gd name="T42" fmla="*/ 1921 w 2879"/>
                <a:gd name="T43" fmla="*/ 24 h 1668"/>
                <a:gd name="T44" fmla="*/ 1716 w 2879"/>
                <a:gd name="T45" fmla="*/ 16 h 1668"/>
                <a:gd name="T46" fmla="*/ 1668 w 2879"/>
                <a:gd name="T47" fmla="*/ 229 h 1668"/>
                <a:gd name="T48" fmla="*/ 1581 w 2879"/>
                <a:gd name="T49" fmla="*/ 356 h 1668"/>
                <a:gd name="T50" fmla="*/ 1502 w 2879"/>
                <a:gd name="T51" fmla="*/ 427 h 1668"/>
                <a:gd name="T52" fmla="*/ 1439 w 2879"/>
                <a:gd name="T53" fmla="*/ 498 h 1668"/>
                <a:gd name="T54" fmla="*/ 1360 w 2879"/>
                <a:gd name="T55" fmla="*/ 506 h 1668"/>
                <a:gd name="T56" fmla="*/ 1257 w 2879"/>
                <a:gd name="T57" fmla="*/ 656 h 1668"/>
                <a:gd name="T58" fmla="*/ 1186 w 2879"/>
                <a:gd name="T59" fmla="*/ 822 h 1668"/>
                <a:gd name="T60" fmla="*/ 1170 w 2879"/>
                <a:gd name="T61" fmla="*/ 972 h 1668"/>
                <a:gd name="T62" fmla="*/ 1099 w 2879"/>
                <a:gd name="T63" fmla="*/ 1083 h 1668"/>
                <a:gd name="T64" fmla="*/ 941 w 2879"/>
                <a:gd name="T65" fmla="*/ 1137 h 1668"/>
                <a:gd name="T66" fmla="*/ 775 w 2879"/>
                <a:gd name="T67" fmla="*/ 1216 h 1668"/>
                <a:gd name="T68" fmla="*/ 593 w 2879"/>
                <a:gd name="T69" fmla="*/ 1224 h 1668"/>
                <a:gd name="T70" fmla="*/ 530 w 2879"/>
                <a:gd name="T71" fmla="*/ 1145 h 1668"/>
                <a:gd name="T72" fmla="*/ 364 w 2879"/>
                <a:gd name="T73" fmla="*/ 1319 h 1668"/>
                <a:gd name="T74" fmla="*/ 269 w 2879"/>
                <a:gd name="T75" fmla="*/ 1430 h 1668"/>
                <a:gd name="T76" fmla="*/ 229 w 2879"/>
                <a:gd name="T77" fmla="*/ 1493 h 1668"/>
                <a:gd name="T78" fmla="*/ 142 w 2879"/>
                <a:gd name="T79" fmla="*/ 1588 h 1668"/>
                <a:gd name="T80" fmla="*/ 0 w 2879"/>
                <a:gd name="T81" fmla="*/ 1667 h 1668"/>
                <a:gd name="T82" fmla="*/ 728 w 2879"/>
                <a:gd name="T83" fmla="*/ 1564 h 1668"/>
                <a:gd name="T84" fmla="*/ 2878 w 2879"/>
                <a:gd name="T85" fmla="*/ 116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79" h="1668">
                  <a:moveTo>
                    <a:pt x="2846" y="1122"/>
                  </a:moveTo>
                  <a:lnTo>
                    <a:pt x="2846" y="1122"/>
                  </a:lnTo>
                  <a:cubicBezTo>
                    <a:pt x="2822" y="1067"/>
                    <a:pt x="2838" y="1059"/>
                    <a:pt x="2807" y="1036"/>
                  </a:cubicBezTo>
                  <a:cubicBezTo>
                    <a:pt x="2775" y="1012"/>
                    <a:pt x="2767" y="1012"/>
                    <a:pt x="2744" y="1012"/>
                  </a:cubicBezTo>
                  <a:cubicBezTo>
                    <a:pt x="2720" y="1012"/>
                    <a:pt x="2680" y="1012"/>
                    <a:pt x="2672" y="1012"/>
                  </a:cubicBezTo>
                  <a:cubicBezTo>
                    <a:pt x="2672" y="1012"/>
                    <a:pt x="2680" y="1036"/>
                    <a:pt x="2664" y="1043"/>
                  </a:cubicBezTo>
                  <a:cubicBezTo>
                    <a:pt x="2649" y="1043"/>
                    <a:pt x="2633" y="1067"/>
                    <a:pt x="2617" y="1051"/>
                  </a:cubicBezTo>
                  <a:cubicBezTo>
                    <a:pt x="2593" y="1036"/>
                    <a:pt x="2601" y="1051"/>
                    <a:pt x="2562" y="1012"/>
                  </a:cubicBezTo>
                  <a:cubicBezTo>
                    <a:pt x="2530" y="972"/>
                    <a:pt x="2514" y="964"/>
                    <a:pt x="2506" y="957"/>
                  </a:cubicBezTo>
                  <a:cubicBezTo>
                    <a:pt x="2491" y="949"/>
                    <a:pt x="2498" y="933"/>
                    <a:pt x="2522" y="949"/>
                  </a:cubicBezTo>
                  <a:cubicBezTo>
                    <a:pt x="2546" y="964"/>
                    <a:pt x="2546" y="972"/>
                    <a:pt x="2585" y="988"/>
                  </a:cubicBezTo>
                  <a:cubicBezTo>
                    <a:pt x="2625" y="1012"/>
                    <a:pt x="2625" y="1028"/>
                    <a:pt x="2641" y="1012"/>
                  </a:cubicBezTo>
                  <a:cubicBezTo>
                    <a:pt x="2664" y="996"/>
                    <a:pt x="2657" y="988"/>
                    <a:pt x="2672" y="972"/>
                  </a:cubicBezTo>
                  <a:cubicBezTo>
                    <a:pt x="2680" y="964"/>
                    <a:pt x="2672" y="933"/>
                    <a:pt x="2657" y="933"/>
                  </a:cubicBezTo>
                  <a:cubicBezTo>
                    <a:pt x="2649" y="933"/>
                    <a:pt x="2649" y="949"/>
                    <a:pt x="2633" y="925"/>
                  </a:cubicBezTo>
                  <a:cubicBezTo>
                    <a:pt x="2617" y="909"/>
                    <a:pt x="2601" y="885"/>
                    <a:pt x="2593" y="901"/>
                  </a:cubicBezTo>
                  <a:cubicBezTo>
                    <a:pt x="2585" y="917"/>
                    <a:pt x="2577" y="917"/>
                    <a:pt x="2554" y="901"/>
                  </a:cubicBezTo>
                  <a:cubicBezTo>
                    <a:pt x="2538" y="885"/>
                    <a:pt x="2546" y="877"/>
                    <a:pt x="2562" y="877"/>
                  </a:cubicBezTo>
                  <a:cubicBezTo>
                    <a:pt x="2569" y="877"/>
                    <a:pt x="2601" y="870"/>
                    <a:pt x="2593" y="854"/>
                  </a:cubicBezTo>
                  <a:cubicBezTo>
                    <a:pt x="2593" y="830"/>
                    <a:pt x="2569" y="814"/>
                    <a:pt x="2585" y="814"/>
                  </a:cubicBezTo>
                  <a:cubicBezTo>
                    <a:pt x="2601" y="822"/>
                    <a:pt x="2601" y="846"/>
                    <a:pt x="2617" y="846"/>
                  </a:cubicBezTo>
                  <a:cubicBezTo>
                    <a:pt x="2641" y="846"/>
                    <a:pt x="2649" y="806"/>
                    <a:pt x="2641" y="790"/>
                  </a:cubicBezTo>
                  <a:cubicBezTo>
                    <a:pt x="2625" y="767"/>
                    <a:pt x="2625" y="759"/>
                    <a:pt x="2609" y="751"/>
                  </a:cubicBezTo>
                  <a:cubicBezTo>
                    <a:pt x="2593" y="743"/>
                    <a:pt x="2562" y="743"/>
                    <a:pt x="2538" y="727"/>
                  </a:cubicBezTo>
                  <a:cubicBezTo>
                    <a:pt x="2514" y="711"/>
                    <a:pt x="2522" y="719"/>
                    <a:pt x="2498" y="696"/>
                  </a:cubicBezTo>
                  <a:cubicBezTo>
                    <a:pt x="2482" y="672"/>
                    <a:pt x="2506" y="672"/>
                    <a:pt x="2514" y="680"/>
                  </a:cubicBezTo>
                  <a:cubicBezTo>
                    <a:pt x="2522" y="688"/>
                    <a:pt x="2530" y="704"/>
                    <a:pt x="2562" y="704"/>
                  </a:cubicBezTo>
                  <a:cubicBezTo>
                    <a:pt x="2585" y="704"/>
                    <a:pt x="2585" y="711"/>
                    <a:pt x="2585" y="680"/>
                  </a:cubicBezTo>
                  <a:cubicBezTo>
                    <a:pt x="2585" y="648"/>
                    <a:pt x="2562" y="624"/>
                    <a:pt x="2585" y="624"/>
                  </a:cubicBezTo>
                  <a:cubicBezTo>
                    <a:pt x="2601" y="624"/>
                    <a:pt x="2617" y="593"/>
                    <a:pt x="2609" y="593"/>
                  </a:cubicBezTo>
                  <a:cubicBezTo>
                    <a:pt x="2601" y="585"/>
                    <a:pt x="2585" y="569"/>
                    <a:pt x="2554" y="561"/>
                  </a:cubicBezTo>
                  <a:cubicBezTo>
                    <a:pt x="2530" y="546"/>
                    <a:pt x="2498" y="537"/>
                    <a:pt x="2498" y="506"/>
                  </a:cubicBezTo>
                  <a:cubicBezTo>
                    <a:pt x="2498" y="498"/>
                    <a:pt x="2498" y="490"/>
                    <a:pt x="2498" y="482"/>
                  </a:cubicBezTo>
                  <a:cubicBezTo>
                    <a:pt x="2482" y="482"/>
                    <a:pt x="2443" y="498"/>
                    <a:pt x="2411" y="490"/>
                  </a:cubicBezTo>
                  <a:cubicBezTo>
                    <a:pt x="2372" y="482"/>
                    <a:pt x="2332" y="466"/>
                    <a:pt x="2301" y="459"/>
                  </a:cubicBezTo>
                  <a:cubicBezTo>
                    <a:pt x="2277" y="443"/>
                    <a:pt x="2309" y="435"/>
                    <a:pt x="2301" y="427"/>
                  </a:cubicBezTo>
                  <a:cubicBezTo>
                    <a:pt x="2293" y="411"/>
                    <a:pt x="2253" y="403"/>
                    <a:pt x="2238" y="427"/>
                  </a:cubicBezTo>
                  <a:cubicBezTo>
                    <a:pt x="2214" y="443"/>
                    <a:pt x="2174" y="451"/>
                    <a:pt x="2158" y="427"/>
                  </a:cubicBezTo>
                  <a:cubicBezTo>
                    <a:pt x="2143" y="403"/>
                    <a:pt x="2166" y="348"/>
                    <a:pt x="2190" y="308"/>
                  </a:cubicBezTo>
                  <a:cubicBezTo>
                    <a:pt x="2214" y="269"/>
                    <a:pt x="2206" y="237"/>
                    <a:pt x="2206" y="206"/>
                  </a:cubicBezTo>
                  <a:cubicBezTo>
                    <a:pt x="2206" y="174"/>
                    <a:pt x="2127" y="142"/>
                    <a:pt x="2103" y="126"/>
                  </a:cubicBezTo>
                  <a:cubicBezTo>
                    <a:pt x="2079" y="111"/>
                    <a:pt x="2032" y="126"/>
                    <a:pt x="2024" y="119"/>
                  </a:cubicBezTo>
                  <a:cubicBezTo>
                    <a:pt x="2008" y="103"/>
                    <a:pt x="2008" y="55"/>
                    <a:pt x="2000" y="31"/>
                  </a:cubicBezTo>
                  <a:cubicBezTo>
                    <a:pt x="2000" y="16"/>
                    <a:pt x="1937" y="24"/>
                    <a:pt x="1921" y="24"/>
                  </a:cubicBezTo>
                  <a:cubicBezTo>
                    <a:pt x="1905" y="71"/>
                    <a:pt x="1882" y="103"/>
                    <a:pt x="1850" y="103"/>
                  </a:cubicBezTo>
                  <a:cubicBezTo>
                    <a:pt x="1811" y="95"/>
                    <a:pt x="1739" y="24"/>
                    <a:pt x="1716" y="16"/>
                  </a:cubicBezTo>
                  <a:cubicBezTo>
                    <a:pt x="1692" y="0"/>
                    <a:pt x="1676" y="47"/>
                    <a:pt x="1676" y="87"/>
                  </a:cubicBezTo>
                  <a:cubicBezTo>
                    <a:pt x="1684" y="126"/>
                    <a:pt x="1676" y="174"/>
                    <a:pt x="1668" y="229"/>
                  </a:cubicBezTo>
                  <a:cubicBezTo>
                    <a:pt x="1652" y="293"/>
                    <a:pt x="1645" y="269"/>
                    <a:pt x="1613" y="277"/>
                  </a:cubicBezTo>
                  <a:cubicBezTo>
                    <a:pt x="1581" y="284"/>
                    <a:pt x="1589" y="324"/>
                    <a:pt x="1581" y="356"/>
                  </a:cubicBezTo>
                  <a:cubicBezTo>
                    <a:pt x="1574" y="379"/>
                    <a:pt x="1534" y="364"/>
                    <a:pt x="1502" y="364"/>
                  </a:cubicBezTo>
                  <a:cubicBezTo>
                    <a:pt x="1471" y="364"/>
                    <a:pt x="1502" y="395"/>
                    <a:pt x="1502" y="427"/>
                  </a:cubicBezTo>
                  <a:cubicBezTo>
                    <a:pt x="1502" y="459"/>
                    <a:pt x="1494" y="459"/>
                    <a:pt x="1479" y="451"/>
                  </a:cubicBezTo>
                  <a:cubicBezTo>
                    <a:pt x="1455" y="435"/>
                    <a:pt x="1431" y="482"/>
                    <a:pt x="1439" y="498"/>
                  </a:cubicBezTo>
                  <a:cubicBezTo>
                    <a:pt x="1439" y="522"/>
                    <a:pt x="1439" y="537"/>
                    <a:pt x="1431" y="546"/>
                  </a:cubicBezTo>
                  <a:cubicBezTo>
                    <a:pt x="1415" y="561"/>
                    <a:pt x="1384" y="530"/>
                    <a:pt x="1360" y="506"/>
                  </a:cubicBezTo>
                  <a:cubicBezTo>
                    <a:pt x="1336" y="482"/>
                    <a:pt x="1328" y="506"/>
                    <a:pt x="1281" y="530"/>
                  </a:cubicBezTo>
                  <a:cubicBezTo>
                    <a:pt x="1241" y="553"/>
                    <a:pt x="1273" y="593"/>
                    <a:pt x="1257" y="656"/>
                  </a:cubicBezTo>
                  <a:cubicBezTo>
                    <a:pt x="1241" y="719"/>
                    <a:pt x="1234" y="696"/>
                    <a:pt x="1226" y="743"/>
                  </a:cubicBezTo>
                  <a:cubicBezTo>
                    <a:pt x="1218" y="783"/>
                    <a:pt x="1218" y="783"/>
                    <a:pt x="1186" y="822"/>
                  </a:cubicBezTo>
                  <a:cubicBezTo>
                    <a:pt x="1162" y="862"/>
                    <a:pt x="1162" y="877"/>
                    <a:pt x="1131" y="933"/>
                  </a:cubicBezTo>
                  <a:cubicBezTo>
                    <a:pt x="1099" y="980"/>
                    <a:pt x="1131" y="957"/>
                    <a:pt x="1170" y="972"/>
                  </a:cubicBezTo>
                  <a:cubicBezTo>
                    <a:pt x="1210" y="988"/>
                    <a:pt x="1178" y="1004"/>
                    <a:pt x="1162" y="1004"/>
                  </a:cubicBezTo>
                  <a:cubicBezTo>
                    <a:pt x="1139" y="1004"/>
                    <a:pt x="1131" y="1067"/>
                    <a:pt x="1099" y="1083"/>
                  </a:cubicBezTo>
                  <a:cubicBezTo>
                    <a:pt x="1068" y="1098"/>
                    <a:pt x="1052" y="1075"/>
                    <a:pt x="1059" y="1098"/>
                  </a:cubicBezTo>
                  <a:cubicBezTo>
                    <a:pt x="1059" y="1114"/>
                    <a:pt x="1012" y="1129"/>
                    <a:pt x="941" y="1137"/>
                  </a:cubicBezTo>
                  <a:cubicBezTo>
                    <a:pt x="870" y="1153"/>
                    <a:pt x="925" y="1169"/>
                    <a:pt x="917" y="1185"/>
                  </a:cubicBezTo>
                  <a:cubicBezTo>
                    <a:pt x="901" y="1193"/>
                    <a:pt x="838" y="1232"/>
                    <a:pt x="775" y="1216"/>
                  </a:cubicBezTo>
                  <a:cubicBezTo>
                    <a:pt x="712" y="1193"/>
                    <a:pt x="751" y="1216"/>
                    <a:pt x="720" y="1264"/>
                  </a:cubicBezTo>
                  <a:cubicBezTo>
                    <a:pt x="680" y="1311"/>
                    <a:pt x="688" y="1240"/>
                    <a:pt x="593" y="1224"/>
                  </a:cubicBezTo>
                  <a:cubicBezTo>
                    <a:pt x="498" y="1200"/>
                    <a:pt x="554" y="1185"/>
                    <a:pt x="530" y="1153"/>
                  </a:cubicBezTo>
                  <a:lnTo>
                    <a:pt x="530" y="1145"/>
                  </a:lnTo>
                  <a:cubicBezTo>
                    <a:pt x="506" y="1177"/>
                    <a:pt x="467" y="1216"/>
                    <a:pt x="459" y="1232"/>
                  </a:cubicBezTo>
                  <a:cubicBezTo>
                    <a:pt x="443" y="1248"/>
                    <a:pt x="380" y="1303"/>
                    <a:pt x="364" y="1319"/>
                  </a:cubicBezTo>
                  <a:cubicBezTo>
                    <a:pt x="340" y="1327"/>
                    <a:pt x="301" y="1351"/>
                    <a:pt x="301" y="1375"/>
                  </a:cubicBezTo>
                  <a:cubicBezTo>
                    <a:pt x="301" y="1398"/>
                    <a:pt x="277" y="1422"/>
                    <a:pt x="269" y="1430"/>
                  </a:cubicBezTo>
                  <a:cubicBezTo>
                    <a:pt x="261" y="1438"/>
                    <a:pt x="253" y="1422"/>
                    <a:pt x="253" y="1453"/>
                  </a:cubicBezTo>
                  <a:cubicBezTo>
                    <a:pt x="245" y="1485"/>
                    <a:pt x="253" y="1485"/>
                    <a:pt x="229" y="1493"/>
                  </a:cubicBezTo>
                  <a:cubicBezTo>
                    <a:pt x="214" y="1509"/>
                    <a:pt x="182" y="1493"/>
                    <a:pt x="174" y="1533"/>
                  </a:cubicBezTo>
                  <a:cubicBezTo>
                    <a:pt x="166" y="1572"/>
                    <a:pt x="158" y="1588"/>
                    <a:pt x="142" y="1588"/>
                  </a:cubicBezTo>
                  <a:cubicBezTo>
                    <a:pt x="119" y="1588"/>
                    <a:pt x="119" y="1564"/>
                    <a:pt x="95" y="1588"/>
                  </a:cubicBezTo>
                  <a:cubicBezTo>
                    <a:pt x="87" y="1604"/>
                    <a:pt x="40" y="1635"/>
                    <a:pt x="0" y="1667"/>
                  </a:cubicBezTo>
                  <a:cubicBezTo>
                    <a:pt x="293" y="1627"/>
                    <a:pt x="514" y="1588"/>
                    <a:pt x="546" y="1588"/>
                  </a:cubicBezTo>
                  <a:cubicBezTo>
                    <a:pt x="617" y="1572"/>
                    <a:pt x="704" y="1556"/>
                    <a:pt x="728" y="1564"/>
                  </a:cubicBezTo>
                  <a:cubicBezTo>
                    <a:pt x="751" y="1572"/>
                    <a:pt x="822" y="1556"/>
                    <a:pt x="822" y="1556"/>
                  </a:cubicBezTo>
                  <a:cubicBezTo>
                    <a:pt x="1700" y="1446"/>
                    <a:pt x="2704" y="1209"/>
                    <a:pt x="2878" y="1169"/>
                  </a:cubicBezTo>
                  <a:cubicBezTo>
                    <a:pt x="2862" y="1153"/>
                    <a:pt x="2862" y="1161"/>
                    <a:pt x="2846" y="1122"/>
                  </a:cubicBezTo>
                </a:path>
              </a:pathLst>
            </a:custGeom>
            <a:grpFill/>
            <a:ln>
              <a:solidFill>
                <a:schemeClr val="bg1">
                  <a:lumMod val="95000"/>
                </a:schemeClr>
              </a:solidFill>
            </a:ln>
            <a:effectLst/>
          </p:spPr>
          <p:txBody>
            <a:bodyPr wrap="none" anchor="ctr"/>
            <a:lstStyle/>
            <a:p>
              <a:endParaRPr lang="en-US" sz="900"/>
            </a:p>
          </p:txBody>
        </p:sp>
        <p:sp>
          <p:nvSpPr>
            <p:cNvPr id="112" name="Freeform 780"/>
            <p:cNvSpPr>
              <a:spLocks noChangeArrowheads="1"/>
            </p:cNvSpPr>
            <p:nvPr/>
          </p:nvSpPr>
          <p:spPr bwMode="auto">
            <a:xfrm>
              <a:off x="14825244" y="5716089"/>
              <a:ext cx="1523785" cy="872059"/>
            </a:xfrm>
            <a:custGeom>
              <a:avLst/>
              <a:gdLst>
                <a:gd name="T0" fmla="*/ 143 w 2895"/>
                <a:gd name="T1" fmla="*/ 1572 h 1660"/>
                <a:gd name="T2" fmla="*/ 261 w 2895"/>
                <a:gd name="T3" fmla="*/ 1469 h 1660"/>
                <a:gd name="T4" fmla="*/ 380 w 2895"/>
                <a:gd name="T5" fmla="*/ 1303 h 1660"/>
                <a:gd name="T6" fmla="*/ 554 w 2895"/>
                <a:gd name="T7" fmla="*/ 1177 h 1660"/>
                <a:gd name="T8" fmla="*/ 744 w 2895"/>
                <a:gd name="T9" fmla="*/ 1216 h 1660"/>
                <a:gd name="T10" fmla="*/ 917 w 2895"/>
                <a:gd name="T11" fmla="*/ 1145 h 1660"/>
                <a:gd name="T12" fmla="*/ 1091 w 2895"/>
                <a:gd name="T13" fmla="*/ 1075 h 1660"/>
                <a:gd name="T14" fmla="*/ 1155 w 2895"/>
                <a:gd name="T15" fmla="*/ 964 h 1660"/>
                <a:gd name="T16" fmla="*/ 1242 w 2895"/>
                <a:gd name="T17" fmla="*/ 735 h 1660"/>
                <a:gd name="T18" fmla="*/ 1360 w 2895"/>
                <a:gd name="T19" fmla="*/ 482 h 1660"/>
                <a:gd name="T20" fmla="*/ 1447 w 2895"/>
                <a:gd name="T21" fmla="*/ 490 h 1660"/>
                <a:gd name="T22" fmla="*/ 1503 w 2895"/>
                <a:gd name="T23" fmla="*/ 356 h 1660"/>
                <a:gd name="T24" fmla="*/ 1629 w 2895"/>
                <a:gd name="T25" fmla="*/ 269 h 1660"/>
                <a:gd name="T26" fmla="*/ 1771 w 2895"/>
                <a:gd name="T27" fmla="*/ 23 h 1660"/>
                <a:gd name="T28" fmla="*/ 2024 w 2895"/>
                <a:gd name="T29" fmla="*/ 23 h 1660"/>
                <a:gd name="T30" fmla="*/ 2127 w 2895"/>
                <a:gd name="T31" fmla="*/ 118 h 1660"/>
                <a:gd name="T32" fmla="*/ 2206 w 2895"/>
                <a:gd name="T33" fmla="*/ 427 h 1660"/>
                <a:gd name="T34" fmla="*/ 2325 w 2895"/>
                <a:gd name="T35" fmla="*/ 443 h 1660"/>
                <a:gd name="T36" fmla="*/ 2514 w 2895"/>
                <a:gd name="T37" fmla="*/ 482 h 1660"/>
                <a:gd name="T38" fmla="*/ 2601 w 2895"/>
                <a:gd name="T39" fmla="*/ 616 h 1660"/>
                <a:gd name="T40" fmla="*/ 2593 w 2895"/>
                <a:gd name="T41" fmla="*/ 703 h 1660"/>
                <a:gd name="T42" fmla="*/ 2514 w 2895"/>
                <a:gd name="T43" fmla="*/ 672 h 1660"/>
                <a:gd name="T44" fmla="*/ 2649 w 2895"/>
                <a:gd name="T45" fmla="*/ 759 h 1660"/>
                <a:gd name="T46" fmla="*/ 2601 w 2895"/>
                <a:gd name="T47" fmla="*/ 814 h 1660"/>
                <a:gd name="T48" fmla="*/ 2578 w 2895"/>
                <a:gd name="T49" fmla="*/ 893 h 1660"/>
                <a:gd name="T50" fmla="*/ 2665 w 2895"/>
                <a:gd name="T51" fmla="*/ 925 h 1660"/>
                <a:gd name="T52" fmla="*/ 2649 w 2895"/>
                <a:gd name="T53" fmla="*/ 1012 h 1660"/>
                <a:gd name="T54" fmla="*/ 2522 w 2895"/>
                <a:gd name="T55" fmla="*/ 941 h 1660"/>
                <a:gd name="T56" fmla="*/ 2649 w 2895"/>
                <a:gd name="T57" fmla="*/ 1043 h 1660"/>
                <a:gd name="T58" fmla="*/ 2736 w 2895"/>
                <a:gd name="T59" fmla="*/ 996 h 1660"/>
                <a:gd name="T60" fmla="*/ 2894 w 2895"/>
                <a:gd name="T61" fmla="*/ 1153 h 1660"/>
                <a:gd name="T62" fmla="*/ 720 w 2895"/>
                <a:gd name="T63" fmla="*/ 1556 h 1660"/>
                <a:gd name="T64" fmla="*/ 119 w 2895"/>
                <a:gd name="T65" fmla="*/ 1588 h 1660"/>
                <a:gd name="T66" fmla="*/ 838 w 2895"/>
                <a:gd name="T67" fmla="*/ 1548 h 1660"/>
                <a:gd name="T68" fmla="*/ 2760 w 2895"/>
                <a:gd name="T69" fmla="*/ 1004 h 1660"/>
                <a:gd name="T70" fmla="*/ 2665 w 2895"/>
                <a:gd name="T71" fmla="*/ 1043 h 1660"/>
                <a:gd name="T72" fmla="*/ 2514 w 2895"/>
                <a:gd name="T73" fmla="*/ 949 h 1660"/>
                <a:gd name="T74" fmla="*/ 2649 w 2895"/>
                <a:gd name="T75" fmla="*/ 1004 h 1660"/>
                <a:gd name="T76" fmla="*/ 2665 w 2895"/>
                <a:gd name="T77" fmla="*/ 933 h 1660"/>
                <a:gd name="T78" fmla="*/ 2570 w 2895"/>
                <a:gd name="T79" fmla="*/ 893 h 1660"/>
                <a:gd name="T80" fmla="*/ 2593 w 2895"/>
                <a:gd name="T81" fmla="*/ 806 h 1660"/>
                <a:gd name="T82" fmla="*/ 2641 w 2895"/>
                <a:gd name="T83" fmla="*/ 767 h 1660"/>
                <a:gd name="T84" fmla="*/ 2507 w 2895"/>
                <a:gd name="T85" fmla="*/ 664 h 1660"/>
                <a:gd name="T86" fmla="*/ 2593 w 2895"/>
                <a:gd name="T87" fmla="*/ 696 h 1660"/>
                <a:gd name="T88" fmla="*/ 2601 w 2895"/>
                <a:gd name="T89" fmla="*/ 616 h 1660"/>
                <a:gd name="T90" fmla="*/ 2507 w 2895"/>
                <a:gd name="T91" fmla="*/ 482 h 1660"/>
                <a:gd name="T92" fmla="*/ 2309 w 2895"/>
                <a:gd name="T93" fmla="*/ 427 h 1660"/>
                <a:gd name="T94" fmla="*/ 2206 w 2895"/>
                <a:gd name="T95" fmla="*/ 300 h 1660"/>
                <a:gd name="T96" fmla="*/ 2072 w 2895"/>
                <a:gd name="T97" fmla="*/ 111 h 1660"/>
                <a:gd name="T98" fmla="*/ 1937 w 2895"/>
                <a:gd name="T99" fmla="*/ 16 h 1660"/>
                <a:gd name="T100" fmla="*/ 1684 w 2895"/>
                <a:gd name="T101" fmla="*/ 221 h 1660"/>
                <a:gd name="T102" fmla="*/ 1550 w 2895"/>
                <a:gd name="T103" fmla="*/ 363 h 1660"/>
                <a:gd name="T104" fmla="*/ 1487 w 2895"/>
                <a:gd name="T105" fmla="*/ 443 h 1660"/>
                <a:gd name="T106" fmla="*/ 1376 w 2895"/>
                <a:gd name="T107" fmla="*/ 506 h 1660"/>
                <a:gd name="T108" fmla="*/ 1257 w 2895"/>
                <a:gd name="T109" fmla="*/ 703 h 1660"/>
                <a:gd name="T110" fmla="*/ 1139 w 2895"/>
                <a:gd name="T111" fmla="*/ 956 h 1660"/>
                <a:gd name="T112" fmla="*/ 1115 w 2895"/>
                <a:gd name="T113" fmla="*/ 1075 h 1660"/>
                <a:gd name="T114" fmla="*/ 957 w 2895"/>
                <a:gd name="T115" fmla="*/ 1137 h 1660"/>
                <a:gd name="T116" fmla="*/ 759 w 2895"/>
                <a:gd name="T117" fmla="*/ 1201 h 1660"/>
                <a:gd name="T118" fmla="*/ 554 w 2895"/>
                <a:gd name="T119" fmla="*/ 1192 h 1660"/>
                <a:gd name="T120" fmla="*/ 293 w 2895"/>
                <a:gd name="T121" fmla="*/ 1422 h 1660"/>
                <a:gd name="T122" fmla="*/ 230 w 2895"/>
                <a:gd name="T123" fmla="*/ 1493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95" h="1660">
                  <a:moveTo>
                    <a:pt x="0" y="1659"/>
                  </a:moveTo>
                  <a:lnTo>
                    <a:pt x="0" y="1659"/>
                  </a:lnTo>
                  <a:cubicBezTo>
                    <a:pt x="8" y="1651"/>
                    <a:pt x="8" y="1651"/>
                    <a:pt x="8" y="1651"/>
                  </a:cubicBezTo>
                  <a:cubicBezTo>
                    <a:pt x="64" y="1619"/>
                    <a:pt x="103" y="1588"/>
                    <a:pt x="111" y="1580"/>
                  </a:cubicBezTo>
                  <a:cubicBezTo>
                    <a:pt x="119" y="1572"/>
                    <a:pt x="127" y="1564"/>
                    <a:pt x="135" y="1564"/>
                  </a:cubicBezTo>
                  <a:lnTo>
                    <a:pt x="143" y="1572"/>
                  </a:lnTo>
                  <a:cubicBezTo>
                    <a:pt x="151" y="1572"/>
                    <a:pt x="151" y="1572"/>
                    <a:pt x="158" y="1572"/>
                  </a:cubicBezTo>
                  <a:cubicBezTo>
                    <a:pt x="174" y="1572"/>
                    <a:pt x="174" y="1564"/>
                    <a:pt x="182" y="1532"/>
                  </a:cubicBezTo>
                  <a:lnTo>
                    <a:pt x="182" y="1525"/>
                  </a:lnTo>
                  <a:cubicBezTo>
                    <a:pt x="190" y="1493"/>
                    <a:pt x="214" y="1493"/>
                    <a:pt x="230" y="1493"/>
                  </a:cubicBezTo>
                  <a:cubicBezTo>
                    <a:pt x="238" y="1485"/>
                    <a:pt x="245" y="1485"/>
                    <a:pt x="245" y="1485"/>
                  </a:cubicBezTo>
                  <a:cubicBezTo>
                    <a:pt x="261" y="1477"/>
                    <a:pt x="261" y="1477"/>
                    <a:pt x="261" y="1469"/>
                  </a:cubicBezTo>
                  <a:cubicBezTo>
                    <a:pt x="261" y="1461"/>
                    <a:pt x="261" y="1454"/>
                    <a:pt x="261" y="1445"/>
                  </a:cubicBezTo>
                  <a:cubicBezTo>
                    <a:pt x="261" y="1430"/>
                    <a:pt x="269" y="1422"/>
                    <a:pt x="277" y="1422"/>
                  </a:cubicBezTo>
                  <a:cubicBezTo>
                    <a:pt x="277" y="1422"/>
                    <a:pt x="277" y="1422"/>
                    <a:pt x="285" y="1422"/>
                  </a:cubicBezTo>
                  <a:lnTo>
                    <a:pt x="285" y="1414"/>
                  </a:lnTo>
                  <a:cubicBezTo>
                    <a:pt x="293" y="1406"/>
                    <a:pt x="317" y="1382"/>
                    <a:pt x="317" y="1367"/>
                  </a:cubicBezTo>
                  <a:cubicBezTo>
                    <a:pt x="317" y="1343"/>
                    <a:pt x="356" y="1319"/>
                    <a:pt x="380" y="1303"/>
                  </a:cubicBezTo>
                  <a:cubicBezTo>
                    <a:pt x="396" y="1295"/>
                    <a:pt x="459" y="1240"/>
                    <a:pt x="467" y="1224"/>
                  </a:cubicBezTo>
                  <a:cubicBezTo>
                    <a:pt x="475" y="1208"/>
                    <a:pt x="522" y="1161"/>
                    <a:pt x="538" y="1137"/>
                  </a:cubicBezTo>
                  <a:cubicBezTo>
                    <a:pt x="546" y="1137"/>
                    <a:pt x="546" y="1137"/>
                    <a:pt x="546" y="1137"/>
                  </a:cubicBezTo>
                  <a:lnTo>
                    <a:pt x="546" y="1137"/>
                  </a:lnTo>
                  <a:cubicBezTo>
                    <a:pt x="546" y="1137"/>
                    <a:pt x="546" y="1137"/>
                    <a:pt x="554" y="1145"/>
                  </a:cubicBezTo>
                  <a:cubicBezTo>
                    <a:pt x="562" y="1153"/>
                    <a:pt x="554" y="1169"/>
                    <a:pt x="554" y="1177"/>
                  </a:cubicBezTo>
                  <a:cubicBezTo>
                    <a:pt x="554" y="1185"/>
                    <a:pt x="554" y="1185"/>
                    <a:pt x="554" y="1192"/>
                  </a:cubicBezTo>
                  <a:cubicBezTo>
                    <a:pt x="562" y="1201"/>
                    <a:pt x="578" y="1201"/>
                    <a:pt x="609" y="1208"/>
                  </a:cubicBezTo>
                  <a:cubicBezTo>
                    <a:pt x="657" y="1224"/>
                    <a:pt x="680" y="1240"/>
                    <a:pt x="696" y="1256"/>
                  </a:cubicBezTo>
                  <a:cubicBezTo>
                    <a:pt x="704" y="1264"/>
                    <a:pt x="712" y="1272"/>
                    <a:pt x="712" y="1272"/>
                  </a:cubicBezTo>
                  <a:cubicBezTo>
                    <a:pt x="720" y="1272"/>
                    <a:pt x="720" y="1264"/>
                    <a:pt x="728" y="1256"/>
                  </a:cubicBezTo>
                  <a:cubicBezTo>
                    <a:pt x="744" y="1240"/>
                    <a:pt x="744" y="1224"/>
                    <a:pt x="744" y="1216"/>
                  </a:cubicBezTo>
                  <a:cubicBezTo>
                    <a:pt x="744" y="1201"/>
                    <a:pt x="751" y="1192"/>
                    <a:pt x="759" y="1192"/>
                  </a:cubicBezTo>
                  <a:cubicBezTo>
                    <a:pt x="767" y="1192"/>
                    <a:pt x="775" y="1201"/>
                    <a:pt x="791" y="1201"/>
                  </a:cubicBezTo>
                  <a:cubicBezTo>
                    <a:pt x="799" y="1201"/>
                    <a:pt x="815" y="1208"/>
                    <a:pt x="822" y="1208"/>
                  </a:cubicBezTo>
                  <a:cubicBezTo>
                    <a:pt x="870" y="1208"/>
                    <a:pt x="917" y="1185"/>
                    <a:pt x="925" y="1169"/>
                  </a:cubicBezTo>
                  <a:cubicBezTo>
                    <a:pt x="933" y="1169"/>
                    <a:pt x="933" y="1169"/>
                    <a:pt x="925" y="1161"/>
                  </a:cubicBezTo>
                  <a:cubicBezTo>
                    <a:pt x="917" y="1153"/>
                    <a:pt x="917" y="1153"/>
                    <a:pt x="917" y="1145"/>
                  </a:cubicBezTo>
                  <a:cubicBezTo>
                    <a:pt x="925" y="1137"/>
                    <a:pt x="933" y="1137"/>
                    <a:pt x="957" y="1129"/>
                  </a:cubicBezTo>
                  <a:cubicBezTo>
                    <a:pt x="965" y="1129"/>
                    <a:pt x="965" y="1129"/>
                    <a:pt x="965" y="1129"/>
                  </a:cubicBezTo>
                  <a:cubicBezTo>
                    <a:pt x="1020" y="1114"/>
                    <a:pt x="1075" y="1106"/>
                    <a:pt x="1068" y="1090"/>
                  </a:cubicBezTo>
                  <a:cubicBezTo>
                    <a:pt x="1068" y="1082"/>
                    <a:pt x="1068" y="1082"/>
                    <a:pt x="1068" y="1075"/>
                  </a:cubicBezTo>
                  <a:cubicBezTo>
                    <a:pt x="1075" y="1075"/>
                    <a:pt x="1075" y="1075"/>
                    <a:pt x="1084" y="1075"/>
                  </a:cubicBezTo>
                  <a:lnTo>
                    <a:pt x="1091" y="1075"/>
                  </a:lnTo>
                  <a:cubicBezTo>
                    <a:pt x="1099" y="1075"/>
                    <a:pt x="1107" y="1075"/>
                    <a:pt x="1115" y="1075"/>
                  </a:cubicBezTo>
                  <a:cubicBezTo>
                    <a:pt x="1131" y="1067"/>
                    <a:pt x="1139" y="1043"/>
                    <a:pt x="1147" y="1028"/>
                  </a:cubicBezTo>
                  <a:cubicBezTo>
                    <a:pt x="1155" y="1012"/>
                    <a:pt x="1163" y="996"/>
                    <a:pt x="1178" y="996"/>
                  </a:cubicBezTo>
                  <a:cubicBezTo>
                    <a:pt x="1186" y="996"/>
                    <a:pt x="1202" y="988"/>
                    <a:pt x="1202" y="980"/>
                  </a:cubicBezTo>
                  <a:cubicBezTo>
                    <a:pt x="1202" y="980"/>
                    <a:pt x="1202" y="972"/>
                    <a:pt x="1186" y="972"/>
                  </a:cubicBezTo>
                  <a:cubicBezTo>
                    <a:pt x="1170" y="964"/>
                    <a:pt x="1163" y="964"/>
                    <a:pt x="1155" y="964"/>
                  </a:cubicBezTo>
                  <a:cubicBezTo>
                    <a:pt x="1139" y="964"/>
                    <a:pt x="1131" y="964"/>
                    <a:pt x="1131" y="956"/>
                  </a:cubicBezTo>
                  <a:cubicBezTo>
                    <a:pt x="1131" y="949"/>
                    <a:pt x="1131" y="941"/>
                    <a:pt x="1147" y="925"/>
                  </a:cubicBezTo>
                  <a:cubicBezTo>
                    <a:pt x="1163" y="901"/>
                    <a:pt x="1163" y="877"/>
                    <a:pt x="1170" y="862"/>
                  </a:cubicBezTo>
                  <a:cubicBezTo>
                    <a:pt x="1178" y="846"/>
                    <a:pt x="1186" y="830"/>
                    <a:pt x="1202" y="806"/>
                  </a:cubicBezTo>
                  <a:cubicBezTo>
                    <a:pt x="1210" y="806"/>
                    <a:pt x="1210" y="798"/>
                    <a:pt x="1218" y="790"/>
                  </a:cubicBezTo>
                  <a:cubicBezTo>
                    <a:pt x="1234" y="767"/>
                    <a:pt x="1234" y="767"/>
                    <a:pt x="1242" y="735"/>
                  </a:cubicBezTo>
                  <a:cubicBezTo>
                    <a:pt x="1242" y="711"/>
                    <a:pt x="1242" y="703"/>
                    <a:pt x="1250" y="696"/>
                  </a:cubicBezTo>
                  <a:cubicBezTo>
                    <a:pt x="1257" y="688"/>
                    <a:pt x="1257" y="680"/>
                    <a:pt x="1265" y="648"/>
                  </a:cubicBezTo>
                  <a:cubicBezTo>
                    <a:pt x="1273" y="624"/>
                    <a:pt x="1273" y="601"/>
                    <a:pt x="1273" y="585"/>
                  </a:cubicBezTo>
                  <a:cubicBezTo>
                    <a:pt x="1273" y="553"/>
                    <a:pt x="1273" y="529"/>
                    <a:pt x="1297" y="514"/>
                  </a:cubicBezTo>
                  <a:cubicBezTo>
                    <a:pt x="1313" y="514"/>
                    <a:pt x="1321" y="506"/>
                    <a:pt x="1328" y="498"/>
                  </a:cubicBezTo>
                  <a:cubicBezTo>
                    <a:pt x="1337" y="490"/>
                    <a:pt x="1344" y="482"/>
                    <a:pt x="1360" y="482"/>
                  </a:cubicBezTo>
                  <a:cubicBezTo>
                    <a:pt x="1368" y="482"/>
                    <a:pt x="1368" y="490"/>
                    <a:pt x="1376" y="498"/>
                  </a:cubicBezTo>
                  <a:cubicBezTo>
                    <a:pt x="1384" y="498"/>
                    <a:pt x="1384" y="498"/>
                    <a:pt x="1384" y="498"/>
                  </a:cubicBezTo>
                  <a:cubicBezTo>
                    <a:pt x="1400" y="514"/>
                    <a:pt x="1423" y="538"/>
                    <a:pt x="1439" y="538"/>
                  </a:cubicBezTo>
                  <a:lnTo>
                    <a:pt x="1439" y="538"/>
                  </a:lnTo>
                  <a:cubicBezTo>
                    <a:pt x="1455" y="522"/>
                    <a:pt x="1447" y="514"/>
                    <a:pt x="1447" y="498"/>
                  </a:cubicBezTo>
                  <a:cubicBezTo>
                    <a:pt x="1447" y="490"/>
                    <a:pt x="1447" y="490"/>
                    <a:pt x="1447" y="490"/>
                  </a:cubicBezTo>
                  <a:cubicBezTo>
                    <a:pt x="1447" y="482"/>
                    <a:pt x="1455" y="458"/>
                    <a:pt x="1463" y="443"/>
                  </a:cubicBezTo>
                  <a:cubicBezTo>
                    <a:pt x="1479" y="435"/>
                    <a:pt x="1487" y="427"/>
                    <a:pt x="1495" y="435"/>
                  </a:cubicBezTo>
                  <a:cubicBezTo>
                    <a:pt x="1503" y="443"/>
                    <a:pt x="1503" y="443"/>
                    <a:pt x="1510" y="443"/>
                  </a:cubicBezTo>
                  <a:cubicBezTo>
                    <a:pt x="1510" y="443"/>
                    <a:pt x="1510" y="443"/>
                    <a:pt x="1510" y="419"/>
                  </a:cubicBezTo>
                  <a:cubicBezTo>
                    <a:pt x="1510" y="403"/>
                    <a:pt x="1510" y="395"/>
                    <a:pt x="1503" y="387"/>
                  </a:cubicBezTo>
                  <a:cubicBezTo>
                    <a:pt x="1503" y="371"/>
                    <a:pt x="1503" y="363"/>
                    <a:pt x="1503" y="356"/>
                  </a:cubicBezTo>
                  <a:cubicBezTo>
                    <a:pt x="1503" y="356"/>
                    <a:pt x="1510" y="356"/>
                    <a:pt x="1518" y="356"/>
                  </a:cubicBezTo>
                  <a:cubicBezTo>
                    <a:pt x="1526" y="356"/>
                    <a:pt x="1542" y="356"/>
                    <a:pt x="1550" y="356"/>
                  </a:cubicBezTo>
                  <a:cubicBezTo>
                    <a:pt x="1558" y="356"/>
                    <a:pt x="1566" y="356"/>
                    <a:pt x="1574" y="356"/>
                  </a:cubicBezTo>
                  <a:cubicBezTo>
                    <a:pt x="1581" y="356"/>
                    <a:pt x="1590" y="356"/>
                    <a:pt x="1590" y="348"/>
                  </a:cubicBezTo>
                  <a:cubicBezTo>
                    <a:pt x="1597" y="340"/>
                    <a:pt x="1597" y="324"/>
                    <a:pt x="1597" y="316"/>
                  </a:cubicBezTo>
                  <a:cubicBezTo>
                    <a:pt x="1597" y="300"/>
                    <a:pt x="1597" y="276"/>
                    <a:pt x="1629" y="269"/>
                  </a:cubicBezTo>
                  <a:cubicBezTo>
                    <a:pt x="1637" y="269"/>
                    <a:pt x="1645" y="269"/>
                    <a:pt x="1645" y="269"/>
                  </a:cubicBezTo>
                  <a:cubicBezTo>
                    <a:pt x="1661" y="261"/>
                    <a:pt x="1668" y="261"/>
                    <a:pt x="1676" y="221"/>
                  </a:cubicBezTo>
                  <a:cubicBezTo>
                    <a:pt x="1692" y="158"/>
                    <a:pt x="1692" y="111"/>
                    <a:pt x="1692" y="79"/>
                  </a:cubicBezTo>
                  <a:cubicBezTo>
                    <a:pt x="1692" y="55"/>
                    <a:pt x="1692" y="16"/>
                    <a:pt x="1708" y="8"/>
                  </a:cubicBezTo>
                  <a:cubicBezTo>
                    <a:pt x="1716" y="0"/>
                    <a:pt x="1724" y="0"/>
                    <a:pt x="1732" y="0"/>
                  </a:cubicBezTo>
                  <a:cubicBezTo>
                    <a:pt x="1740" y="8"/>
                    <a:pt x="1755" y="16"/>
                    <a:pt x="1771" y="23"/>
                  </a:cubicBezTo>
                  <a:cubicBezTo>
                    <a:pt x="1803" y="47"/>
                    <a:pt x="1843" y="87"/>
                    <a:pt x="1866" y="87"/>
                  </a:cubicBezTo>
                  <a:cubicBezTo>
                    <a:pt x="1890" y="95"/>
                    <a:pt x="1914" y="63"/>
                    <a:pt x="1937" y="16"/>
                  </a:cubicBezTo>
                  <a:lnTo>
                    <a:pt x="1937" y="16"/>
                  </a:lnTo>
                  <a:lnTo>
                    <a:pt x="1937" y="16"/>
                  </a:lnTo>
                  <a:cubicBezTo>
                    <a:pt x="1945" y="8"/>
                    <a:pt x="1961" y="8"/>
                    <a:pt x="1977" y="8"/>
                  </a:cubicBezTo>
                  <a:cubicBezTo>
                    <a:pt x="2008" y="8"/>
                    <a:pt x="2024" y="16"/>
                    <a:pt x="2024" y="23"/>
                  </a:cubicBezTo>
                  <a:cubicBezTo>
                    <a:pt x="2024" y="32"/>
                    <a:pt x="2024" y="39"/>
                    <a:pt x="2024" y="47"/>
                  </a:cubicBezTo>
                  <a:cubicBezTo>
                    <a:pt x="2032" y="71"/>
                    <a:pt x="2032" y="95"/>
                    <a:pt x="2040" y="103"/>
                  </a:cubicBezTo>
                  <a:cubicBezTo>
                    <a:pt x="2040" y="103"/>
                    <a:pt x="2048" y="111"/>
                    <a:pt x="2056" y="111"/>
                  </a:cubicBezTo>
                  <a:cubicBezTo>
                    <a:pt x="2056" y="111"/>
                    <a:pt x="2064" y="103"/>
                    <a:pt x="2072" y="103"/>
                  </a:cubicBezTo>
                  <a:cubicBezTo>
                    <a:pt x="2072" y="103"/>
                    <a:pt x="2080" y="103"/>
                    <a:pt x="2087" y="103"/>
                  </a:cubicBezTo>
                  <a:cubicBezTo>
                    <a:pt x="2095" y="103"/>
                    <a:pt x="2111" y="111"/>
                    <a:pt x="2127" y="118"/>
                  </a:cubicBezTo>
                  <a:cubicBezTo>
                    <a:pt x="2127" y="118"/>
                    <a:pt x="2135" y="126"/>
                    <a:pt x="2151" y="126"/>
                  </a:cubicBezTo>
                  <a:cubicBezTo>
                    <a:pt x="2182" y="150"/>
                    <a:pt x="2222" y="174"/>
                    <a:pt x="2230" y="198"/>
                  </a:cubicBezTo>
                  <a:cubicBezTo>
                    <a:pt x="2230" y="205"/>
                    <a:pt x="2230" y="205"/>
                    <a:pt x="2230" y="213"/>
                  </a:cubicBezTo>
                  <a:cubicBezTo>
                    <a:pt x="2230" y="245"/>
                    <a:pt x="2230" y="269"/>
                    <a:pt x="2214" y="300"/>
                  </a:cubicBezTo>
                  <a:cubicBezTo>
                    <a:pt x="2182" y="356"/>
                    <a:pt x="2167" y="403"/>
                    <a:pt x="2182" y="419"/>
                  </a:cubicBezTo>
                  <a:cubicBezTo>
                    <a:pt x="2182" y="427"/>
                    <a:pt x="2198" y="427"/>
                    <a:pt x="2206" y="427"/>
                  </a:cubicBezTo>
                  <a:cubicBezTo>
                    <a:pt x="2222" y="427"/>
                    <a:pt x="2238" y="427"/>
                    <a:pt x="2245" y="411"/>
                  </a:cubicBezTo>
                  <a:cubicBezTo>
                    <a:pt x="2254" y="403"/>
                    <a:pt x="2269" y="403"/>
                    <a:pt x="2285" y="403"/>
                  </a:cubicBezTo>
                  <a:cubicBezTo>
                    <a:pt x="2293" y="403"/>
                    <a:pt x="2309" y="403"/>
                    <a:pt x="2317" y="419"/>
                  </a:cubicBezTo>
                  <a:cubicBezTo>
                    <a:pt x="2325" y="427"/>
                    <a:pt x="2317" y="427"/>
                    <a:pt x="2317" y="435"/>
                  </a:cubicBezTo>
                  <a:cubicBezTo>
                    <a:pt x="2317" y="435"/>
                    <a:pt x="2309" y="435"/>
                    <a:pt x="2309" y="443"/>
                  </a:cubicBezTo>
                  <a:cubicBezTo>
                    <a:pt x="2309" y="443"/>
                    <a:pt x="2317" y="443"/>
                    <a:pt x="2325" y="443"/>
                  </a:cubicBezTo>
                  <a:cubicBezTo>
                    <a:pt x="2348" y="458"/>
                    <a:pt x="2396" y="474"/>
                    <a:pt x="2427" y="482"/>
                  </a:cubicBezTo>
                  <a:cubicBezTo>
                    <a:pt x="2427" y="482"/>
                    <a:pt x="2435" y="482"/>
                    <a:pt x="2443" y="482"/>
                  </a:cubicBezTo>
                  <a:cubicBezTo>
                    <a:pt x="2451" y="482"/>
                    <a:pt x="2467" y="482"/>
                    <a:pt x="2475" y="474"/>
                  </a:cubicBezTo>
                  <a:cubicBezTo>
                    <a:pt x="2491" y="474"/>
                    <a:pt x="2507" y="474"/>
                    <a:pt x="2514" y="474"/>
                  </a:cubicBezTo>
                  <a:lnTo>
                    <a:pt x="2514" y="474"/>
                  </a:lnTo>
                  <a:cubicBezTo>
                    <a:pt x="2514" y="482"/>
                    <a:pt x="2514" y="482"/>
                    <a:pt x="2514" y="482"/>
                  </a:cubicBezTo>
                  <a:cubicBezTo>
                    <a:pt x="2514" y="482"/>
                    <a:pt x="2514" y="490"/>
                    <a:pt x="2514" y="498"/>
                  </a:cubicBezTo>
                  <a:cubicBezTo>
                    <a:pt x="2514" y="522"/>
                    <a:pt x="2546" y="538"/>
                    <a:pt x="2570" y="545"/>
                  </a:cubicBezTo>
                  <a:lnTo>
                    <a:pt x="2570" y="545"/>
                  </a:lnTo>
                  <a:cubicBezTo>
                    <a:pt x="2593" y="553"/>
                    <a:pt x="2625" y="569"/>
                    <a:pt x="2625" y="577"/>
                  </a:cubicBezTo>
                  <a:cubicBezTo>
                    <a:pt x="2633" y="585"/>
                    <a:pt x="2625" y="593"/>
                    <a:pt x="2625" y="601"/>
                  </a:cubicBezTo>
                  <a:cubicBezTo>
                    <a:pt x="2617" y="609"/>
                    <a:pt x="2609" y="616"/>
                    <a:pt x="2601" y="616"/>
                  </a:cubicBezTo>
                  <a:cubicBezTo>
                    <a:pt x="2593" y="624"/>
                    <a:pt x="2593" y="624"/>
                    <a:pt x="2593" y="624"/>
                  </a:cubicBezTo>
                  <a:cubicBezTo>
                    <a:pt x="2593" y="624"/>
                    <a:pt x="2593" y="632"/>
                    <a:pt x="2593" y="640"/>
                  </a:cubicBezTo>
                  <a:cubicBezTo>
                    <a:pt x="2601" y="648"/>
                    <a:pt x="2601" y="664"/>
                    <a:pt x="2601" y="672"/>
                  </a:cubicBezTo>
                  <a:lnTo>
                    <a:pt x="2601" y="672"/>
                  </a:lnTo>
                  <a:cubicBezTo>
                    <a:pt x="2609" y="688"/>
                    <a:pt x="2609" y="696"/>
                    <a:pt x="2601" y="696"/>
                  </a:cubicBezTo>
                  <a:cubicBezTo>
                    <a:pt x="2601" y="703"/>
                    <a:pt x="2601" y="703"/>
                    <a:pt x="2593" y="703"/>
                  </a:cubicBezTo>
                  <a:cubicBezTo>
                    <a:pt x="2593" y="703"/>
                    <a:pt x="2593" y="703"/>
                    <a:pt x="2585" y="703"/>
                  </a:cubicBezTo>
                  <a:lnTo>
                    <a:pt x="2578" y="703"/>
                  </a:lnTo>
                  <a:cubicBezTo>
                    <a:pt x="2546" y="703"/>
                    <a:pt x="2538" y="688"/>
                    <a:pt x="2530" y="680"/>
                  </a:cubicBezTo>
                  <a:lnTo>
                    <a:pt x="2530" y="672"/>
                  </a:lnTo>
                  <a:cubicBezTo>
                    <a:pt x="2522" y="672"/>
                    <a:pt x="2522" y="672"/>
                    <a:pt x="2514" y="672"/>
                  </a:cubicBezTo>
                  <a:lnTo>
                    <a:pt x="2514" y="672"/>
                  </a:lnTo>
                  <a:cubicBezTo>
                    <a:pt x="2514" y="672"/>
                    <a:pt x="2514" y="672"/>
                    <a:pt x="2522" y="688"/>
                  </a:cubicBezTo>
                  <a:cubicBezTo>
                    <a:pt x="2530" y="703"/>
                    <a:pt x="2530" y="703"/>
                    <a:pt x="2538" y="703"/>
                  </a:cubicBezTo>
                  <a:cubicBezTo>
                    <a:pt x="2546" y="703"/>
                    <a:pt x="2546" y="711"/>
                    <a:pt x="2554" y="711"/>
                  </a:cubicBezTo>
                  <a:cubicBezTo>
                    <a:pt x="2570" y="719"/>
                    <a:pt x="2585" y="727"/>
                    <a:pt x="2601" y="727"/>
                  </a:cubicBezTo>
                  <a:cubicBezTo>
                    <a:pt x="2609" y="727"/>
                    <a:pt x="2617" y="735"/>
                    <a:pt x="2625" y="735"/>
                  </a:cubicBezTo>
                  <a:cubicBezTo>
                    <a:pt x="2641" y="743"/>
                    <a:pt x="2641" y="751"/>
                    <a:pt x="2649" y="759"/>
                  </a:cubicBezTo>
                  <a:cubicBezTo>
                    <a:pt x="2649" y="767"/>
                    <a:pt x="2657" y="775"/>
                    <a:pt x="2657" y="775"/>
                  </a:cubicBezTo>
                  <a:cubicBezTo>
                    <a:pt x="2665" y="790"/>
                    <a:pt x="2665" y="806"/>
                    <a:pt x="2657" y="822"/>
                  </a:cubicBezTo>
                  <a:cubicBezTo>
                    <a:pt x="2657" y="830"/>
                    <a:pt x="2641" y="838"/>
                    <a:pt x="2633" y="838"/>
                  </a:cubicBezTo>
                  <a:cubicBezTo>
                    <a:pt x="2625" y="846"/>
                    <a:pt x="2617" y="830"/>
                    <a:pt x="2617" y="822"/>
                  </a:cubicBezTo>
                  <a:cubicBezTo>
                    <a:pt x="2609" y="822"/>
                    <a:pt x="2609" y="814"/>
                    <a:pt x="2601" y="814"/>
                  </a:cubicBezTo>
                  <a:lnTo>
                    <a:pt x="2601" y="814"/>
                  </a:lnTo>
                  <a:cubicBezTo>
                    <a:pt x="2601" y="814"/>
                    <a:pt x="2601" y="814"/>
                    <a:pt x="2601" y="822"/>
                  </a:cubicBezTo>
                  <a:cubicBezTo>
                    <a:pt x="2609" y="822"/>
                    <a:pt x="2609" y="838"/>
                    <a:pt x="2617" y="846"/>
                  </a:cubicBezTo>
                  <a:cubicBezTo>
                    <a:pt x="2617" y="846"/>
                    <a:pt x="2617" y="854"/>
                    <a:pt x="2609" y="862"/>
                  </a:cubicBezTo>
                  <a:cubicBezTo>
                    <a:pt x="2601" y="869"/>
                    <a:pt x="2578" y="869"/>
                    <a:pt x="2578" y="869"/>
                  </a:cubicBezTo>
                  <a:cubicBezTo>
                    <a:pt x="2570" y="869"/>
                    <a:pt x="2562" y="869"/>
                    <a:pt x="2562" y="877"/>
                  </a:cubicBezTo>
                  <a:cubicBezTo>
                    <a:pt x="2562" y="877"/>
                    <a:pt x="2562" y="885"/>
                    <a:pt x="2578" y="893"/>
                  </a:cubicBezTo>
                  <a:cubicBezTo>
                    <a:pt x="2585" y="901"/>
                    <a:pt x="2593" y="901"/>
                    <a:pt x="2593" y="901"/>
                  </a:cubicBezTo>
                  <a:cubicBezTo>
                    <a:pt x="2601" y="901"/>
                    <a:pt x="2601" y="901"/>
                    <a:pt x="2601" y="893"/>
                  </a:cubicBezTo>
                  <a:cubicBezTo>
                    <a:pt x="2609" y="885"/>
                    <a:pt x="2609" y="885"/>
                    <a:pt x="2617" y="885"/>
                  </a:cubicBezTo>
                  <a:cubicBezTo>
                    <a:pt x="2617" y="885"/>
                    <a:pt x="2625" y="885"/>
                    <a:pt x="2649" y="917"/>
                  </a:cubicBezTo>
                  <a:cubicBezTo>
                    <a:pt x="2657" y="925"/>
                    <a:pt x="2665" y="925"/>
                    <a:pt x="2665" y="925"/>
                  </a:cubicBezTo>
                  <a:lnTo>
                    <a:pt x="2665" y="925"/>
                  </a:lnTo>
                  <a:lnTo>
                    <a:pt x="2673" y="925"/>
                  </a:lnTo>
                  <a:cubicBezTo>
                    <a:pt x="2680" y="925"/>
                    <a:pt x="2688" y="933"/>
                    <a:pt x="2688" y="941"/>
                  </a:cubicBezTo>
                  <a:cubicBezTo>
                    <a:pt x="2696" y="949"/>
                    <a:pt x="2696" y="964"/>
                    <a:pt x="2688" y="972"/>
                  </a:cubicBezTo>
                  <a:cubicBezTo>
                    <a:pt x="2680" y="972"/>
                    <a:pt x="2680" y="980"/>
                    <a:pt x="2680" y="980"/>
                  </a:cubicBezTo>
                  <a:cubicBezTo>
                    <a:pt x="2673" y="988"/>
                    <a:pt x="2673" y="996"/>
                    <a:pt x="2665" y="1004"/>
                  </a:cubicBezTo>
                  <a:cubicBezTo>
                    <a:pt x="2657" y="1012"/>
                    <a:pt x="2649" y="1012"/>
                    <a:pt x="2649" y="1012"/>
                  </a:cubicBezTo>
                  <a:cubicBezTo>
                    <a:pt x="2641" y="1012"/>
                    <a:pt x="2633" y="1012"/>
                    <a:pt x="2625" y="1004"/>
                  </a:cubicBezTo>
                  <a:cubicBezTo>
                    <a:pt x="2617" y="996"/>
                    <a:pt x="2609" y="996"/>
                    <a:pt x="2601" y="988"/>
                  </a:cubicBezTo>
                  <a:cubicBezTo>
                    <a:pt x="2578" y="972"/>
                    <a:pt x="2570" y="964"/>
                    <a:pt x="2562" y="964"/>
                  </a:cubicBezTo>
                  <a:cubicBezTo>
                    <a:pt x="2554" y="956"/>
                    <a:pt x="2546" y="949"/>
                    <a:pt x="2538" y="949"/>
                  </a:cubicBezTo>
                  <a:cubicBezTo>
                    <a:pt x="2530" y="941"/>
                    <a:pt x="2522" y="941"/>
                    <a:pt x="2522" y="941"/>
                  </a:cubicBezTo>
                  <a:lnTo>
                    <a:pt x="2522" y="941"/>
                  </a:lnTo>
                  <a:lnTo>
                    <a:pt x="2522" y="941"/>
                  </a:lnTo>
                  <a:lnTo>
                    <a:pt x="2522" y="949"/>
                  </a:lnTo>
                  <a:cubicBezTo>
                    <a:pt x="2538" y="956"/>
                    <a:pt x="2554" y="964"/>
                    <a:pt x="2585" y="1004"/>
                  </a:cubicBezTo>
                  <a:cubicBezTo>
                    <a:pt x="2601" y="1028"/>
                    <a:pt x="2609" y="1028"/>
                    <a:pt x="2617" y="1028"/>
                  </a:cubicBezTo>
                  <a:cubicBezTo>
                    <a:pt x="2625" y="1028"/>
                    <a:pt x="2625" y="1035"/>
                    <a:pt x="2633" y="1035"/>
                  </a:cubicBezTo>
                  <a:cubicBezTo>
                    <a:pt x="2641" y="1043"/>
                    <a:pt x="2641" y="1043"/>
                    <a:pt x="2649" y="1043"/>
                  </a:cubicBezTo>
                  <a:cubicBezTo>
                    <a:pt x="2657" y="1043"/>
                    <a:pt x="2657" y="1043"/>
                    <a:pt x="2665" y="1035"/>
                  </a:cubicBezTo>
                  <a:lnTo>
                    <a:pt x="2673" y="1028"/>
                  </a:lnTo>
                  <a:cubicBezTo>
                    <a:pt x="2680" y="1028"/>
                    <a:pt x="2680" y="1020"/>
                    <a:pt x="2688" y="1012"/>
                  </a:cubicBezTo>
                  <a:lnTo>
                    <a:pt x="2688" y="1004"/>
                  </a:lnTo>
                  <a:cubicBezTo>
                    <a:pt x="2696" y="996"/>
                    <a:pt x="2696" y="996"/>
                    <a:pt x="2704" y="996"/>
                  </a:cubicBezTo>
                  <a:cubicBezTo>
                    <a:pt x="2712" y="996"/>
                    <a:pt x="2728" y="996"/>
                    <a:pt x="2736" y="996"/>
                  </a:cubicBezTo>
                  <a:cubicBezTo>
                    <a:pt x="2744" y="996"/>
                    <a:pt x="2751" y="1004"/>
                    <a:pt x="2760" y="1004"/>
                  </a:cubicBezTo>
                  <a:cubicBezTo>
                    <a:pt x="2783" y="1004"/>
                    <a:pt x="2799" y="1004"/>
                    <a:pt x="2823" y="1028"/>
                  </a:cubicBezTo>
                  <a:cubicBezTo>
                    <a:pt x="2838" y="1043"/>
                    <a:pt x="2846" y="1051"/>
                    <a:pt x="2846" y="1067"/>
                  </a:cubicBezTo>
                  <a:cubicBezTo>
                    <a:pt x="2846" y="1075"/>
                    <a:pt x="2854" y="1090"/>
                    <a:pt x="2862" y="1114"/>
                  </a:cubicBezTo>
                  <a:cubicBezTo>
                    <a:pt x="2878" y="1137"/>
                    <a:pt x="2878" y="1145"/>
                    <a:pt x="2886" y="1145"/>
                  </a:cubicBezTo>
                  <a:cubicBezTo>
                    <a:pt x="2886" y="1153"/>
                    <a:pt x="2886" y="1153"/>
                    <a:pt x="2894" y="1153"/>
                  </a:cubicBezTo>
                  <a:cubicBezTo>
                    <a:pt x="2894" y="1161"/>
                    <a:pt x="2894" y="1161"/>
                    <a:pt x="2894" y="1161"/>
                  </a:cubicBezTo>
                  <a:lnTo>
                    <a:pt x="2894" y="1161"/>
                  </a:lnTo>
                  <a:cubicBezTo>
                    <a:pt x="2704" y="1208"/>
                    <a:pt x="1708" y="1438"/>
                    <a:pt x="838" y="1556"/>
                  </a:cubicBezTo>
                  <a:cubicBezTo>
                    <a:pt x="838" y="1556"/>
                    <a:pt x="791" y="1564"/>
                    <a:pt x="759" y="1564"/>
                  </a:cubicBezTo>
                  <a:cubicBezTo>
                    <a:pt x="751" y="1564"/>
                    <a:pt x="744" y="1564"/>
                    <a:pt x="744" y="1564"/>
                  </a:cubicBezTo>
                  <a:cubicBezTo>
                    <a:pt x="736" y="1556"/>
                    <a:pt x="736" y="1556"/>
                    <a:pt x="720" y="1556"/>
                  </a:cubicBezTo>
                  <a:cubicBezTo>
                    <a:pt x="680" y="1556"/>
                    <a:pt x="609" y="1572"/>
                    <a:pt x="562" y="1580"/>
                  </a:cubicBezTo>
                  <a:cubicBezTo>
                    <a:pt x="530" y="1588"/>
                    <a:pt x="309" y="1619"/>
                    <a:pt x="16" y="1659"/>
                  </a:cubicBezTo>
                  <a:lnTo>
                    <a:pt x="0" y="1659"/>
                  </a:lnTo>
                  <a:close/>
                  <a:moveTo>
                    <a:pt x="135" y="1572"/>
                  </a:moveTo>
                  <a:lnTo>
                    <a:pt x="135" y="1572"/>
                  </a:lnTo>
                  <a:cubicBezTo>
                    <a:pt x="127" y="1572"/>
                    <a:pt x="127" y="1572"/>
                    <a:pt x="119" y="1588"/>
                  </a:cubicBezTo>
                  <a:cubicBezTo>
                    <a:pt x="103" y="1596"/>
                    <a:pt x="64" y="1627"/>
                    <a:pt x="32" y="1651"/>
                  </a:cubicBezTo>
                  <a:cubicBezTo>
                    <a:pt x="317" y="1612"/>
                    <a:pt x="530" y="1580"/>
                    <a:pt x="562" y="1572"/>
                  </a:cubicBezTo>
                  <a:cubicBezTo>
                    <a:pt x="641" y="1556"/>
                    <a:pt x="696" y="1548"/>
                    <a:pt x="720" y="1548"/>
                  </a:cubicBezTo>
                  <a:cubicBezTo>
                    <a:pt x="736" y="1548"/>
                    <a:pt x="744" y="1556"/>
                    <a:pt x="744" y="1556"/>
                  </a:cubicBezTo>
                  <a:cubicBezTo>
                    <a:pt x="751" y="1556"/>
                    <a:pt x="751" y="1556"/>
                    <a:pt x="759" y="1556"/>
                  </a:cubicBezTo>
                  <a:cubicBezTo>
                    <a:pt x="791" y="1556"/>
                    <a:pt x="838" y="1548"/>
                    <a:pt x="838" y="1548"/>
                  </a:cubicBezTo>
                  <a:cubicBezTo>
                    <a:pt x="1700" y="1438"/>
                    <a:pt x="2680" y="1201"/>
                    <a:pt x="2886" y="1153"/>
                  </a:cubicBezTo>
                  <a:cubicBezTo>
                    <a:pt x="2878" y="1153"/>
                    <a:pt x="2878" y="1153"/>
                    <a:pt x="2878" y="1153"/>
                  </a:cubicBezTo>
                  <a:cubicBezTo>
                    <a:pt x="2878" y="1145"/>
                    <a:pt x="2870" y="1145"/>
                    <a:pt x="2854" y="1114"/>
                  </a:cubicBezTo>
                  <a:cubicBezTo>
                    <a:pt x="2846" y="1090"/>
                    <a:pt x="2838" y="1082"/>
                    <a:pt x="2838" y="1067"/>
                  </a:cubicBezTo>
                  <a:cubicBezTo>
                    <a:pt x="2838" y="1051"/>
                    <a:pt x="2838" y="1043"/>
                    <a:pt x="2823" y="1035"/>
                  </a:cubicBezTo>
                  <a:cubicBezTo>
                    <a:pt x="2791" y="1004"/>
                    <a:pt x="2783" y="1004"/>
                    <a:pt x="2760" y="1004"/>
                  </a:cubicBezTo>
                  <a:cubicBezTo>
                    <a:pt x="2751" y="1004"/>
                    <a:pt x="2744" y="1004"/>
                    <a:pt x="2736" y="1004"/>
                  </a:cubicBezTo>
                  <a:cubicBezTo>
                    <a:pt x="2728" y="1004"/>
                    <a:pt x="2712" y="1004"/>
                    <a:pt x="2704" y="1004"/>
                  </a:cubicBezTo>
                  <a:cubicBezTo>
                    <a:pt x="2696" y="1004"/>
                    <a:pt x="2696" y="1004"/>
                    <a:pt x="2696" y="1004"/>
                  </a:cubicBezTo>
                  <a:lnTo>
                    <a:pt x="2688" y="1012"/>
                  </a:lnTo>
                  <a:cubicBezTo>
                    <a:pt x="2688" y="1020"/>
                    <a:pt x="2688" y="1028"/>
                    <a:pt x="2680" y="1035"/>
                  </a:cubicBezTo>
                  <a:cubicBezTo>
                    <a:pt x="2673" y="1035"/>
                    <a:pt x="2673" y="1043"/>
                    <a:pt x="2665" y="1043"/>
                  </a:cubicBezTo>
                  <a:cubicBezTo>
                    <a:pt x="2665" y="1043"/>
                    <a:pt x="2657" y="1051"/>
                    <a:pt x="2649" y="1051"/>
                  </a:cubicBezTo>
                  <a:cubicBezTo>
                    <a:pt x="2641" y="1051"/>
                    <a:pt x="2633" y="1051"/>
                    <a:pt x="2633" y="1043"/>
                  </a:cubicBezTo>
                  <a:cubicBezTo>
                    <a:pt x="2625" y="1043"/>
                    <a:pt x="2617" y="1035"/>
                    <a:pt x="2617" y="1035"/>
                  </a:cubicBezTo>
                  <a:cubicBezTo>
                    <a:pt x="2609" y="1035"/>
                    <a:pt x="2601" y="1035"/>
                    <a:pt x="2578" y="1004"/>
                  </a:cubicBezTo>
                  <a:cubicBezTo>
                    <a:pt x="2546" y="972"/>
                    <a:pt x="2530" y="956"/>
                    <a:pt x="2522" y="949"/>
                  </a:cubicBezTo>
                  <a:lnTo>
                    <a:pt x="2514" y="949"/>
                  </a:lnTo>
                  <a:lnTo>
                    <a:pt x="2514" y="941"/>
                  </a:lnTo>
                  <a:cubicBezTo>
                    <a:pt x="2514" y="933"/>
                    <a:pt x="2530" y="933"/>
                    <a:pt x="2546" y="941"/>
                  </a:cubicBezTo>
                  <a:cubicBezTo>
                    <a:pt x="2554" y="949"/>
                    <a:pt x="2562" y="949"/>
                    <a:pt x="2562" y="956"/>
                  </a:cubicBezTo>
                  <a:cubicBezTo>
                    <a:pt x="2570" y="964"/>
                    <a:pt x="2578" y="972"/>
                    <a:pt x="2601" y="980"/>
                  </a:cubicBezTo>
                  <a:cubicBezTo>
                    <a:pt x="2617" y="988"/>
                    <a:pt x="2625" y="996"/>
                    <a:pt x="2625" y="996"/>
                  </a:cubicBezTo>
                  <a:cubicBezTo>
                    <a:pt x="2633" y="1004"/>
                    <a:pt x="2641" y="1004"/>
                    <a:pt x="2649" y="1004"/>
                  </a:cubicBezTo>
                  <a:cubicBezTo>
                    <a:pt x="2649" y="1004"/>
                    <a:pt x="2649" y="1004"/>
                    <a:pt x="2657" y="1004"/>
                  </a:cubicBezTo>
                  <a:cubicBezTo>
                    <a:pt x="2665" y="996"/>
                    <a:pt x="2673" y="988"/>
                    <a:pt x="2673" y="980"/>
                  </a:cubicBezTo>
                  <a:cubicBezTo>
                    <a:pt x="2673" y="972"/>
                    <a:pt x="2680" y="972"/>
                    <a:pt x="2680" y="964"/>
                  </a:cubicBezTo>
                  <a:cubicBezTo>
                    <a:pt x="2688" y="964"/>
                    <a:pt x="2688" y="949"/>
                    <a:pt x="2688" y="941"/>
                  </a:cubicBezTo>
                  <a:cubicBezTo>
                    <a:pt x="2680" y="933"/>
                    <a:pt x="2680" y="933"/>
                    <a:pt x="2673" y="933"/>
                  </a:cubicBezTo>
                  <a:cubicBezTo>
                    <a:pt x="2673" y="933"/>
                    <a:pt x="2673" y="933"/>
                    <a:pt x="2665" y="933"/>
                  </a:cubicBezTo>
                  <a:lnTo>
                    <a:pt x="2665" y="933"/>
                  </a:lnTo>
                  <a:cubicBezTo>
                    <a:pt x="2657" y="933"/>
                    <a:pt x="2657" y="933"/>
                    <a:pt x="2649" y="925"/>
                  </a:cubicBezTo>
                  <a:cubicBezTo>
                    <a:pt x="2625" y="901"/>
                    <a:pt x="2617" y="893"/>
                    <a:pt x="2617" y="893"/>
                  </a:cubicBezTo>
                  <a:lnTo>
                    <a:pt x="2609" y="893"/>
                  </a:lnTo>
                  <a:cubicBezTo>
                    <a:pt x="2609" y="901"/>
                    <a:pt x="2601" y="909"/>
                    <a:pt x="2593" y="909"/>
                  </a:cubicBezTo>
                  <a:cubicBezTo>
                    <a:pt x="2585" y="909"/>
                    <a:pt x="2578" y="901"/>
                    <a:pt x="2570" y="893"/>
                  </a:cubicBezTo>
                  <a:cubicBezTo>
                    <a:pt x="2562" y="885"/>
                    <a:pt x="2554" y="877"/>
                    <a:pt x="2554" y="869"/>
                  </a:cubicBezTo>
                  <a:cubicBezTo>
                    <a:pt x="2562" y="869"/>
                    <a:pt x="2562" y="862"/>
                    <a:pt x="2578" y="862"/>
                  </a:cubicBezTo>
                  <a:cubicBezTo>
                    <a:pt x="2585" y="862"/>
                    <a:pt x="2601" y="862"/>
                    <a:pt x="2609" y="854"/>
                  </a:cubicBezTo>
                  <a:lnTo>
                    <a:pt x="2609" y="846"/>
                  </a:lnTo>
                  <a:cubicBezTo>
                    <a:pt x="2609" y="838"/>
                    <a:pt x="2601" y="830"/>
                    <a:pt x="2593" y="822"/>
                  </a:cubicBezTo>
                  <a:cubicBezTo>
                    <a:pt x="2593" y="814"/>
                    <a:pt x="2593" y="806"/>
                    <a:pt x="2593" y="806"/>
                  </a:cubicBezTo>
                  <a:cubicBezTo>
                    <a:pt x="2593" y="806"/>
                    <a:pt x="2593" y="798"/>
                    <a:pt x="2601" y="806"/>
                  </a:cubicBezTo>
                  <a:cubicBezTo>
                    <a:pt x="2609" y="806"/>
                    <a:pt x="2617" y="814"/>
                    <a:pt x="2617" y="822"/>
                  </a:cubicBezTo>
                  <a:cubicBezTo>
                    <a:pt x="2625" y="830"/>
                    <a:pt x="2625" y="838"/>
                    <a:pt x="2633" y="830"/>
                  </a:cubicBezTo>
                  <a:cubicBezTo>
                    <a:pt x="2641" y="830"/>
                    <a:pt x="2649" y="830"/>
                    <a:pt x="2649" y="814"/>
                  </a:cubicBezTo>
                  <a:cubicBezTo>
                    <a:pt x="2657" y="806"/>
                    <a:pt x="2657" y="790"/>
                    <a:pt x="2649" y="782"/>
                  </a:cubicBezTo>
                  <a:cubicBezTo>
                    <a:pt x="2649" y="775"/>
                    <a:pt x="2641" y="767"/>
                    <a:pt x="2641" y="767"/>
                  </a:cubicBezTo>
                  <a:cubicBezTo>
                    <a:pt x="2641" y="751"/>
                    <a:pt x="2633" y="751"/>
                    <a:pt x="2625" y="743"/>
                  </a:cubicBezTo>
                  <a:cubicBezTo>
                    <a:pt x="2617" y="743"/>
                    <a:pt x="2609" y="735"/>
                    <a:pt x="2601" y="735"/>
                  </a:cubicBezTo>
                  <a:cubicBezTo>
                    <a:pt x="2585" y="735"/>
                    <a:pt x="2570" y="727"/>
                    <a:pt x="2554" y="719"/>
                  </a:cubicBezTo>
                  <a:cubicBezTo>
                    <a:pt x="2546" y="711"/>
                    <a:pt x="2538" y="711"/>
                    <a:pt x="2538" y="711"/>
                  </a:cubicBezTo>
                  <a:cubicBezTo>
                    <a:pt x="2530" y="703"/>
                    <a:pt x="2530" y="703"/>
                    <a:pt x="2514" y="688"/>
                  </a:cubicBezTo>
                  <a:cubicBezTo>
                    <a:pt x="2507" y="680"/>
                    <a:pt x="2507" y="672"/>
                    <a:pt x="2507" y="664"/>
                  </a:cubicBezTo>
                  <a:lnTo>
                    <a:pt x="2514" y="664"/>
                  </a:lnTo>
                  <a:cubicBezTo>
                    <a:pt x="2522" y="664"/>
                    <a:pt x="2530" y="664"/>
                    <a:pt x="2530" y="672"/>
                  </a:cubicBezTo>
                  <a:lnTo>
                    <a:pt x="2538" y="672"/>
                  </a:lnTo>
                  <a:cubicBezTo>
                    <a:pt x="2546" y="680"/>
                    <a:pt x="2554" y="696"/>
                    <a:pt x="2578" y="696"/>
                  </a:cubicBezTo>
                  <a:lnTo>
                    <a:pt x="2585" y="696"/>
                  </a:lnTo>
                  <a:cubicBezTo>
                    <a:pt x="2593" y="696"/>
                    <a:pt x="2593" y="696"/>
                    <a:pt x="2593" y="696"/>
                  </a:cubicBezTo>
                  <a:lnTo>
                    <a:pt x="2601" y="696"/>
                  </a:lnTo>
                  <a:cubicBezTo>
                    <a:pt x="2601" y="696"/>
                    <a:pt x="2601" y="688"/>
                    <a:pt x="2601" y="672"/>
                  </a:cubicBezTo>
                  <a:lnTo>
                    <a:pt x="2601" y="672"/>
                  </a:lnTo>
                  <a:cubicBezTo>
                    <a:pt x="2593" y="664"/>
                    <a:pt x="2593" y="656"/>
                    <a:pt x="2593" y="640"/>
                  </a:cubicBezTo>
                  <a:cubicBezTo>
                    <a:pt x="2585" y="632"/>
                    <a:pt x="2585" y="624"/>
                    <a:pt x="2585" y="616"/>
                  </a:cubicBezTo>
                  <a:cubicBezTo>
                    <a:pt x="2593" y="616"/>
                    <a:pt x="2593" y="616"/>
                    <a:pt x="2601" y="616"/>
                  </a:cubicBezTo>
                  <a:cubicBezTo>
                    <a:pt x="2609" y="609"/>
                    <a:pt x="2617" y="601"/>
                    <a:pt x="2617" y="601"/>
                  </a:cubicBezTo>
                  <a:cubicBezTo>
                    <a:pt x="2625" y="593"/>
                    <a:pt x="2625" y="585"/>
                    <a:pt x="2625" y="585"/>
                  </a:cubicBezTo>
                  <a:cubicBezTo>
                    <a:pt x="2617" y="577"/>
                    <a:pt x="2601" y="569"/>
                    <a:pt x="2570" y="553"/>
                  </a:cubicBezTo>
                  <a:lnTo>
                    <a:pt x="2570" y="553"/>
                  </a:lnTo>
                  <a:cubicBezTo>
                    <a:pt x="2538" y="538"/>
                    <a:pt x="2507" y="529"/>
                    <a:pt x="2507" y="498"/>
                  </a:cubicBezTo>
                  <a:cubicBezTo>
                    <a:pt x="2507" y="490"/>
                    <a:pt x="2507" y="482"/>
                    <a:pt x="2507" y="482"/>
                  </a:cubicBezTo>
                  <a:cubicBezTo>
                    <a:pt x="2507" y="482"/>
                    <a:pt x="2491" y="482"/>
                    <a:pt x="2483" y="482"/>
                  </a:cubicBezTo>
                  <a:cubicBezTo>
                    <a:pt x="2467" y="482"/>
                    <a:pt x="2451" y="490"/>
                    <a:pt x="2443" y="490"/>
                  </a:cubicBezTo>
                  <a:cubicBezTo>
                    <a:pt x="2435" y="490"/>
                    <a:pt x="2427" y="490"/>
                    <a:pt x="2427" y="490"/>
                  </a:cubicBezTo>
                  <a:cubicBezTo>
                    <a:pt x="2388" y="482"/>
                    <a:pt x="2348" y="466"/>
                    <a:pt x="2317" y="451"/>
                  </a:cubicBezTo>
                  <a:cubicBezTo>
                    <a:pt x="2309" y="451"/>
                    <a:pt x="2309" y="443"/>
                    <a:pt x="2309" y="443"/>
                  </a:cubicBezTo>
                  <a:cubicBezTo>
                    <a:pt x="2301" y="435"/>
                    <a:pt x="2309" y="435"/>
                    <a:pt x="2309" y="427"/>
                  </a:cubicBezTo>
                  <a:cubicBezTo>
                    <a:pt x="2309" y="427"/>
                    <a:pt x="2317" y="419"/>
                    <a:pt x="2309" y="419"/>
                  </a:cubicBezTo>
                  <a:cubicBezTo>
                    <a:pt x="2309" y="411"/>
                    <a:pt x="2293" y="411"/>
                    <a:pt x="2285" y="411"/>
                  </a:cubicBezTo>
                  <a:cubicBezTo>
                    <a:pt x="2277" y="411"/>
                    <a:pt x="2261" y="411"/>
                    <a:pt x="2254" y="419"/>
                  </a:cubicBezTo>
                  <a:cubicBezTo>
                    <a:pt x="2245" y="427"/>
                    <a:pt x="2222" y="435"/>
                    <a:pt x="2206" y="435"/>
                  </a:cubicBezTo>
                  <a:cubicBezTo>
                    <a:pt x="2190" y="435"/>
                    <a:pt x="2182" y="427"/>
                    <a:pt x="2174" y="419"/>
                  </a:cubicBezTo>
                  <a:cubicBezTo>
                    <a:pt x="2159" y="395"/>
                    <a:pt x="2190" y="324"/>
                    <a:pt x="2206" y="300"/>
                  </a:cubicBezTo>
                  <a:cubicBezTo>
                    <a:pt x="2230" y="269"/>
                    <a:pt x="2222" y="245"/>
                    <a:pt x="2222" y="213"/>
                  </a:cubicBezTo>
                  <a:cubicBezTo>
                    <a:pt x="2222" y="213"/>
                    <a:pt x="2222" y="205"/>
                    <a:pt x="2222" y="198"/>
                  </a:cubicBezTo>
                  <a:cubicBezTo>
                    <a:pt x="2214" y="174"/>
                    <a:pt x="2174" y="150"/>
                    <a:pt x="2143" y="134"/>
                  </a:cubicBezTo>
                  <a:cubicBezTo>
                    <a:pt x="2135" y="134"/>
                    <a:pt x="2127" y="126"/>
                    <a:pt x="2119" y="118"/>
                  </a:cubicBezTo>
                  <a:cubicBezTo>
                    <a:pt x="2111" y="111"/>
                    <a:pt x="2095" y="111"/>
                    <a:pt x="2087" y="111"/>
                  </a:cubicBezTo>
                  <a:cubicBezTo>
                    <a:pt x="2080" y="111"/>
                    <a:pt x="2072" y="111"/>
                    <a:pt x="2072" y="111"/>
                  </a:cubicBezTo>
                  <a:cubicBezTo>
                    <a:pt x="2064" y="111"/>
                    <a:pt x="2056" y="111"/>
                    <a:pt x="2056" y="111"/>
                  </a:cubicBezTo>
                  <a:cubicBezTo>
                    <a:pt x="2048" y="111"/>
                    <a:pt x="2040" y="111"/>
                    <a:pt x="2032" y="111"/>
                  </a:cubicBezTo>
                  <a:cubicBezTo>
                    <a:pt x="2024" y="103"/>
                    <a:pt x="2024" y="79"/>
                    <a:pt x="2016" y="47"/>
                  </a:cubicBezTo>
                  <a:cubicBezTo>
                    <a:pt x="2016" y="39"/>
                    <a:pt x="2016" y="32"/>
                    <a:pt x="2016" y="23"/>
                  </a:cubicBezTo>
                  <a:cubicBezTo>
                    <a:pt x="2016" y="23"/>
                    <a:pt x="2008" y="16"/>
                    <a:pt x="1977" y="16"/>
                  </a:cubicBezTo>
                  <a:cubicBezTo>
                    <a:pt x="1969" y="16"/>
                    <a:pt x="1953" y="16"/>
                    <a:pt x="1937" y="16"/>
                  </a:cubicBezTo>
                  <a:cubicBezTo>
                    <a:pt x="1921" y="71"/>
                    <a:pt x="1890" y="103"/>
                    <a:pt x="1866" y="95"/>
                  </a:cubicBezTo>
                  <a:cubicBezTo>
                    <a:pt x="1843" y="87"/>
                    <a:pt x="1795" y="55"/>
                    <a:pt x="1763" y="32"/>
                  </a:cubicBezTo>
                  <a:cubicBezTo>
                    <a:pt x="1748" y="23"/>
                    <a:pt x="1732" y="8"/>
                    <a:pt x="1732" y="8"/>
                  </a:cubicBezTo>
                  <a:cubicBezTo>
                    <a:pt x="1724" y="8"/>
                    <a:pt x="1716" y="8"/>
                    <a:pt x="1716" y="8"/>
                  </a:cubicBezTo>
                  <a:cubicBezTo>
                    <a:pt x="1708" y="23"/>
                    <a:pt x="1700" y="47"/>
                    <a:pt x="1700" y="79"/>
                  </a:cubicBezTo>
                  <a:cubicBezTo>
                    <a:pt x="1700" y="126"/>
                    <a:pt x="1700" y="174"/>
                    <a:pt x="1684" y="221"/>
                  </a:cubicBezTo>
                  <a:cubicBezTo>
                    <a:pt x="1676" y="269"/>
                    <a:pt x="1668" y="269"/>
                    <a:pt x="1645" y="269"/>
                  </a:cubicBezTo>
                  <a:cubicBezTo>
                    <a:pt x="1645" y="269"/>
                    <a:pt x="1637" y="276"/>
                    <a:pt x="1629" y="276"/>
                  </a:cubicBezTo>
                  <a:cubicBezTo>
                    <a:pt x="1605" y="276"/>
                    <a:pt x="1605" y="300"/>
                    <a:pt x="1605" y="316"/>
                  </a:cubicBezTo>
                  <a:cubicBezTo>
                    <a:pt x="1605" y="332"/>
                    <a:pt x="1605" y="340"/>
                    <a:pt x="1597" y="348"/>
                  </a:cubicBezTo>
                  <a:cubicBezTo>
                    <a:pt x="1597" y="363"/>
                    <a:pt x="1581" y="363"/>
                    <a:pt x="1574" y="363"/>
                  </a:cubicBezTo>
                  <a:cubicBezTo>
                    <a:pt x="1566" y="363"/>
                    <a:pt x="1558" y="363"/>
                    <a:pt x="1550" y="363"/>
                  </a:cubicBezTo>
                  <a:cubicBezTo>
                    <a:pt x="1542" y="363"/>
                    <a:pt x="1526" y="356"/>
                    <a:pt x="1518" y="363"/>
                  </a:cubicBezTo>
                  <a:cubicBezTo>
                    <a:pt x="1510" y="363"/>
                    <a:pt x="1510" y="363"/>
                    <a:pt x="1510" y="363"/>
                  </a:cubicBezTo>
                  <a:cubicBezTo>
                    <a:pt x="1510" y="363"/>
                    <a:pt x="1510" y="371"/>
                    <a:pt x="1510" y="379"/>
                  </a:cubicBezTo>
                  <a:cubicBezTo>
                    <a:pt x="1518" y="387"/>
                    <a:pt x="1518" y="403"/>
                    <a:pt x="1518" y="419"/>
                  </a:cubicBezTo>
                  <a:cubicBezTo>
                    <a:pt x="1518" y="435"/>
                    <a:pt x="1518" y="451"/>
                    <a:pt x="1510" y="451"/>
                  </a:cubicBezTo>
                  <a:cubicBezTo>
                    <a:pt x="1503" y="451"/>
                    <a:pt x="1495" y="451"/>
                    <a:pt x="1487" y="443"/>
                  </a:cubicBezTo>
                  <a:cubicBezTo>
                    <a:pt x="1487" y="435"/>
                    <a:pt x="1479" y="443"/>
                    <a:pt x="1471" y="451"/>
                  </a:cubicBezTo>
                  <a:cubicBezTo>
                    <a:pt x="1463" y="458"/>
                    <a:pt x="1455" y="482"/>
                    <a:pt x="1455" y="490"/>
                  </a:cubicBezTo>
                  <a:lnTo>
                    <a:pt x="1455" y="490"/>
                  </a:lnTo>
                  <a:cubicBezTo>
                    <a:pt x="1455" y="514"/>
                    <a:pt x="1455" y="529"/>
                    <a:pt x="1447" y="538"/>
                  </a:cubicBezTo>
                  <a:cubicBezTo>
                    <a:pt x="1447" y="545"/>
                    <a:pt x="1439" y="545"/>
                    <a:pt x="1439" y="545"/>
                  </a:cubicBezTo>
                  <a:cubicBezTo>
                    <a:pt x="1423" y="545"/>
                    <a:pt x="1400" y="522"/>
                    <a:pt x="1376" y="506"/>
                  </a:cubicBezTo>
                  <a:cubicBezTo>
                    <a:pt x="1376" y="498"/>
                    <a:pt x="1376" y="498"/>
                    <a:pt x="1376" y="498"/>
                  </a:cubicBezTo>
                  <a:cubicBezTo>
                    <a:pt x="1360" y="490"/>
                    <a:pt x="1352" y="490"/>
                    <a:pt x="1328" y="506"/>
                  </a:cubicBezTo>
                  <a:cubicBezTo>
                    <a:pt x="1321" y="514"/>
                    <a:pt x="1313" y="514"/>
                    <a:pt x="1305" y="522"/>
                  </a:cubicBezTo>
                  <a:cubicBezTo>
                    <a:pt x="1281" y="538"/>
                    <a:pt x="1281" y="553"/>
                    <a:pt x="1281" y="585"/>
                  </a:cubicBezTo>
                  <a:cubicBezTo>
                    <a:pt x="1281" y="601"/>
                    <a:pt x="1281" y="624"/>
                    <a:pt x="1273" y="648"/>
                  </a:cubicBezTo>
                  <a:cubicBezTo>
                    <a:pt x="1265" y="680"/>
                    <a:pt x="1257" y="696"/>
                    <a:pt x="1257" y="703"/>
                  </a:cubicBezTo>
                  <a:cubicBezTo>
                    <a:pt x="1250" y="711"/>
                    <a:pt x="1250" y="711"/>
                    <a:pt x="1250" y="735"/>
                  </a:cubicBezTo>
                  <a:cubicBezTo>
                    <a:pt x="1242" y="767"/>
                    <a:pt x="1242" y="775"/>
                    <a:pt x="1218" y="798"/>
                  </a:cubicBezTo>
                  <a:cubicBezTo>
                    <a:pt x="1218" y="798"/>
                    <a:pt x="1210" y="806"/>
                    <a:pt x="1210" y="814"/>
                  </a:cubicBezTo>
                  <a:cubicBezTo>
                    <a:pt x="1194" y="838"/>
                    <a:pt x="1186" y="846"/>
                    <a:pt x="1178" y="869"/>
                  </a:cubicBezTo>
                  <a:cubicBezTo>
                    <a:pt x="1170" y="885"/>
                    <a:pt x="1163" y="901"/>
                    <a:pt x="1147" y="925"/>
                  </a:cubicBezTo>
                  <a:cubicBezTo>
                    <a:pt x="1139" y="941"/>
                    <a:pt x="1139" y="949"/>
                    <a:pt x="1139" y="956"/>
                  </a:cubicBezTo>
                  <a:cubicBezTo>
                    <a:pt x="1139" y="956"/>
                    <a:pt x="1147" y="956"/>
                    <a:pt x="1155" y="956"/>
                  </a:cubicBezTo>
                  <a:cubicBezTo>
                    <a:pt x="1163" y="956"/>
                    <a:pt x="1178" y="956"/>
                    <a:pt x="1186" y="964"/>
                  </a:cubicBezTo>
                  <a:cubicBezTo>
                    <a:pt x="1202" y="972"/>
                    <a:pt x="1210" y="980"/>
                    <a:pt x="1210" y="988"/>
                  </a:cubicBezTo>
                  <a:cubicBezTo>
                    <a:pt x="1210" y="996"/>
                    <a:pt x="1186" y="996"/>
                    <a:pt x="1178" y="996"/>
                  </a:cubicBezTo>
                  <a:cubicBezTo>
                    <a:pt x="1170" y="996"/>
                    <a:pt x="1163" y="1012"/>
                    <a:pt x="1155" y="1028"/>
                  </a:cubicBezTo>
                  <a:cubicBezTo>
                    <a:pt x="1147" y="1051"/>
                    <a:pt x="1139" y="1067"/>
                    <a:pt x="1115" y="1075"/>
                  </a:cubicBezTo>
                  <a:cubicBezTo>
                    <a:pt x="1107" y="1082"/>
                    <a:pt x="1099" y="1082"/>
                    <a:pt x="1091" y="1082"/>
                  </a:cubicBezTo>
                  <a:lnTo>
                    <a:pt x="1084" y="1082"/>
                  </a:lnTo>
                  <a:cubicBezTo>
                    <a:pt x="1075" y="1082"/>
                    <a:pt x="1075" y="1082"/>
                    <a:pt x="1075" y="1082"/>
                  </a:cubicBezTo>
                  <a:lnTo>
                    <a:pt x="1075" y="1082"/>
                  </a:lnTo>
                  <a:cubicBezTo>
                    <a:pt x="1084" y="1114"/>
                    <a:pt x="1036" y="1121"/>
                    <a:pt x="965" y="1137"/>
                  </a:cubicBezTo>
                  <a:cubicBezTo>
                    <a:pt x="957" y="1137"/>
                    <a:pt x="957" y="1137"/>
                    <a:pt x="957" y="1137"/>
                  </a:cubicBezTo>
                  <a:cubicBezTo>
                    <a:pt x="933" y="1145"/>
                    <a:pt x="925" y="1145"/>
                    <a:pt x="925" y="1145"/>
                  </a:cubicBezTo>
                  <a:cubicBezTo>
                    <a:pt x="925" y="1153"/>
                    <a:pt x="925" y="1153"/>
                    <a:pt x="933" y="1153"/>
                  </a:cubicBezTo>
                  <a:cubicBezTo>
                    <a:pt x="933" y="1161"/>
                    <a:pt x="941" y="1169"/>
                    <a:pt x="933" y="1177"/>
                  </a:cubicBezTo>
                  <a:cubicBezTo>
                    <a:pt x="917" y="1185"/>
                    <a:pt x="878" y="1216"/>
                    <a:pt x="822" y="1216"/>
                  </a:cubicBezTo>
                  <a:cubicBezTo>
                    <a:pt x="815" y="1216"/>
                    <a:pt x="799" y="1208"/>
                    <a:pt x="791" y="1208"/>
                  </a:cubicBezTo>
                  <a:cubicBezTo>
                    <a:pt x="775" y="1208"/>
                    <a:pt x="767" y="1201"/>
                    <a:pt x="759" y="1201"/>
                  </a:cubicBezTo>
                  <a:cubicBezTo>
                    <a:pt x="751" y="1201"/>
                    <a:pt x="751" y="1208"/>
                    <a:pt x="751" y="1216"/>
                  </a:cubicBezTo>
                  <a:cubicBezTo>
                    <a:pt x="751" y="1224"/>
                    <a:pt x="751" y="1240"/>
                    <a:pt x="736" y="1264"/>
                  </a:cubicBezTo>
                  <a:cubicBezTo>
                    <a:pt x="728" y="1272"/>
                    <a:pt x="720" y="1279"/>
                    <a:pt x="712" y="1279"/>
                  </a:cubicBezTo>
                  <a:cubicBezTo>
                    <a:pt x="704" y="1279"/>
                    <a:pt x="696" y="1272"/>
                    <a:pt x="688" y="1264"/>
                  </a:cubicBezTo>
                  <a:cubicBezTo>
                    <a:pt x="680" y="1248"/>
                    <a:pt x="657" y="1224"/>
                    <a:pt x="609" y="1216"/>
                  </a:cubicBezTo>
                  <a:cubicBezTo>
                    <a:pt x="578" y="1208"/>
                    <a:pt x="562" y="1201"/>
                    <a:pt x="554" y="1192"/>
                  </a:cubicBezTo>
                  <a:cubicBezTo>
                    <a:pt x="546" y="1185"/>
                    <a:pt x="546" y="1177"/>
                    <a:pt x="546" y="1169"/>
                  </a:cubicBezTo>
                  <a:cubicBezTo>
                    <a:pt x="546" y="1161"/>
                    <a:pt x="554" y="1153"/>
                    <a:pt x="546" y="1145"/>
                  </a:cubicBezTo>
                  <a:cubicBezTo>
                    <a:pt x="522" y="1169"/>
                    <a:pt x="483" y="1216"/>
                    <a:pt x="475" y="1224"/>
                  </a:cubicBezTo>
                  <a:cubicBezTo>
                    <a:pt x="459" y="1248"/>
                    <a:pt x="404" y="1303"/>
                    <a:pt x="380" y="1311"/>
                  </a:cubicBezTo>
                  <a:cubicBezTo>
                    <a:pt x="364" y="1319"/>
                    <a:pt x="325" y="1343"/>
                    <a:pt x="325" y="1367"/>
                  </a:cubicBezTo>
                  <a:cubicBezTo>
                    <a:pt x="325" y="1390"/>
                    <a:pt x="301" y="1406"/>
                    <a:pt x="293" y="1422"/>
                  </a:cubicBezTo>
                  <a:cubicBezTo>
                    <a:pt x="293" y="1422"/>
                    <a:pt x="293" y="1422"/>
                    <a:pt x="285" y="1422"/>
                  </a:cubicBezTo>
                  <a:cubicBezTo>
                    <a:pt x="285" y="1430"/>
                    <a:pt x="285" y="1430"/>
                    <a:pt x="277" y="1430"/>
                  </a:cubicBezTo>
                  <a:cubicBezTo>
                    <a:pt x="277" y="1430"/>
                    <a:pt x="269" y="1430"/>
                    <a:pt x="269" y="1445"/>
                  </a:cubicBezTo>
                  <a:cubicBezTo>
                    <a:pt x="269" y="1454"/>
                    <a:pt x="269" y="1461"/>
                    <a:pt x="269" y="1469"/>
                  </a:cubicBezTo>
                  <a:cubicBezTo>
                    <a:pt x="269" y="1485"/>
                    <a:pt x="269" y="1485"/>
                    <a:pt x="253" y="1493"/>
                  </a:cubicBezTo>
                  <a:cubicBezTo>
                    <a:pt x="245" y="1493"/>
                    <a:pt x="238" y="1493"/>
                    <a:pt x="230" y="1493"/>
                  </a:cubicBezTo>
                  <a:cubicBezTo>
                    <a:pt x="214" y="1501"/>
                    <a:pt x="198" y="1501"/>
                    <a:pt x="190" y="1525"/>
                  </a:cubicBezTo>
                  <a:cubicBezTo>
                    <a:pt x="190" y="1532"/>
                    <a:pt x="190" y="1532"/>
                    <a:pt x="190" y="1540"/>
                  </a:cubicBezTo>
                  <a:cubicBezTo>
                    <a:pt x="182" y="1564"/>
                    <a:pt x="174" y="1580"/>
                    <a:pt x="158" y="1580"/>
                  </a:cubicBezTo>
                  <a:cubicBezTo>
                    <a:pt x="151" y="1580"/>
                    <a:pt x="143" y="1580"/>
                    <a:pt x="143" y="1580"/>
                  </a:cubicBezTo>
                  <a:cubicBezTo>
                    <a:pt x="135" y="1572"/>
                    <a:pt x="135" y="1572"/>
                    <a:pt x="135" y="1572"/>
                  </a:cubicBezTo>
                  <a:close/>
                </a:path>
              </a:pathLst>
            </a:custGeom>
            <a:grpFill/>
            <a:ln>
              <a:solidFill>
                <a:schemeClr val="bg1">
                  <a:lumMod val="95000"/>
                </a:schemeClr>
              </a:solidFill>
            </a:ln>
            <a:effectLst/>
          </p:spPr>
          <p:txBody>
            <a:bodyPr wrap="none" anchor="ctr"/>
            <a:lstStyle/>
            <a:p>
              <a:endParaRPr lang="en-US" sz="900"/>
            </a:p>
          </p:txBody>
        </p:sp>
        <p:sp>
          <p:nvSpPr>
            <p:cNvPr id="113" name="Freeform 781"/>
            <p:cNvSpPr>
              <a:spLocks noChangeArrowheads="1"/>
            </p:cNvSpPr>
            <p:nvPr/>
          </p:nvSpPr>
          <p:spPr bwMode="auto">
            <a:xfrm>
              <a:off x="13688784" y="5980489"/>
              <a:ext cx="1421735" cy="756094"/>
            </a:xfrm>
            <a:custGeom>
              <a:avLst/>
              <a:gdLst>
                <a:gd name="T0" fmla="*/ 2396 w 2705"/>
                <a:gd name="T1" fmla="*/ 229 h 1439"/>
                <a:gd name="T2" fmla="*/ 2325 w 2705"/>
                <a:gd name="T3" fmla="*/ 182 h 1439"/>
                <a:gd name="T4" fmla="*/ 2285 w 2705"/>
                <a:gd name="T5" fmla="*/ 134 h 1439"/>
                <a:gd name="T6" fmla="*/ 2269 w 2705"/>
                <a:gd name="T7" fmla="*/ 110 h 1439"/>
                <a:gd name="T8" fmla="*/ 2222 w 2705"/>
                <a:gd name="T9" fmla="*/ 142 h 1439"/>
                <a:gd name="T10" fmla="*/ 2174 w 2705"/>
                <a:gd name="T11" fmla="*/ 174 h 1439"/>
                <a:gd name="T12" fmla="*/ 2079 w 2705"/>
                <a:gd name="T13" fmla="*/ 166 h 1439"/>
                <a:gd name="T14" fmla="*/ 1945 w 2705"/>
                <a:gd name="T15" fmla="*/ 158 h 1439"/>
                <a:gd name="T16" fmla="*/ 1779 w 2705"/>
                <a:gd name="T17" fmla="*/ 103 h 1439"/>
                <a:gd name="T18" fmla="*/ 1668 w 2705"/>
                <a:gd name="T19" fmla="*/ 23 h 1439"/>
                <a:gd name="T20" fmla="*/ 1550 w 2705"/>
                <a:gd name="T21" fmla="*/ 79 h 1439"/>
                <a:gd name="T22" fmla="*/ 1573 w 2705"/>
                <a:gd name="T23" fmla="*/ 182 h 1439"/>
                <a:gd name="T24" fmla="*/ 1463 w 2705"/>
                <a:gd name="T25" fmla="*/ 253 h 1439"/>
                <a:gd name="T26" fmla="*/ 1368 w 2705"/>
                <a:gd name="T27" fmla="*/ 261 h 1439"/>
                <a:gd name="T28" fmla="*/ 1352 w 2705"/>
                <a:gd name="T29" fmla="*/ 356 h 1439"/>
                <a:gd name="T30" fmla="*/ 1305 w 2705"/>
                <a:gd name="T31" fmla="*/ 419 h 1439"/>
                <a:gd name="T32" fmla="*/ 1218 w 2705"/>
                <a:gd name="T33" fmla="*/ 584 h 1439"/>
                <a:gd name="T34" fmla="*/ 1146 w 2705"/>
                <a:gd name="T35" fmla="*/ 600 h 1439"/>
                <a:gd name="T36" fmla="*/ 1067 w 2705"/>
                <a:gd name="T37" fmla="*/ 545 h 1439"/>
                <a:gd name="T38" fmla="*/ 1004 w 2705"/>
                <a:gd name="T39" fmla="*/ 615 h 1439"/>
                <a:gd name="T40" fmla="*/ 973 w 2705"/>
                <a:gd name="T41" fmla="*/ 663 h 1439"/>
                <a:gd name="T42" fmla="*/ 949 w 2705"/>
                <a:gd name="T43" fmla="*/ 702 h 1439"/>
                <a:gd name="T44" fmla="*/ 909 w 2705"/>
                <a:gd name="T45" fmla="*/ 655 h 1439"/>
                <a:gd name="T46" fmla="*/ 870 w 2705"/>
                <a:gd name="T47" fmla="*/ 663 h 1439"/>
                <a:gd name="T48" fmla="*/ 815 w 2705"/>
                <a:gd name="T49" fmla="*/ 695 h 1439"/>
                <a:gd name="T50" fmla="*/ 791 w 2705"/>
                <a:gd name="T51" fmla="*/ 750 h 1439"/>
                <a:gd name="T52" fmla="*/ 727 w 2705"/>
                <a:gd name="T53" fmla="*/ 718 h 1439"/>
                <a:gd name="T54" fmla="*/ 633 w 2705"/>
                <a:gd name="T55" fmla="*/ 718 h 1439"/>
                <a:gd name="T56" fmla="*/ 554 w 2705"/>
                <a:gd name="T57" fmla="*/ 742 h 1439"/>
                <a:gd name="T58" fmla="*/ 490 w 2705"/>
                <a:gd name="T59" fmla="*/ 789 h 1439"/>
                <a:gd name="T60" fmla="*/ 451 w 2705"/>
                <a:gd name="T61" fmla="*/ 821 h 1439"/>
                <a:gd name="T62" fmla="*/ 459 w 2705"/>
                <a:gd name="T63" fmla="*/ 932 h 1439"/>
                <a:gd name="T64" fmla="*/ 340 w 2705"/>
                <a:gd name="T65" fmla="*/ 1098 h 1439"/>
                <a:gd name="T66" fmla="*/ 87 w 2705"/>
                <a:gd name="T67" fmla="*/ 1200 h 1439"/>
                <a:gd name="T68" fmla="*/ 63 w 2705"/>
                <a:gd name="T69" fmla="*/ 1366 h 1439"/>
                <a:gd name="T70" fmla="*/ 0 w 2705"/>
                <a:gd name="T71" fmla="*/ 1414 h 1439"/>
                <a:gd name="T72" fmla="*/ 498 w 2705"/>
                <a:gd name="T73" fmla="*/ 1406 h 1439"/>
                <a:gd name="T74" fmla="*/ 577 w 2705"/>
                <a:gd name="T75" fmla="*/ 1311 h 1439"/>
                <a:gd name="T76" fmla="*/ 680 w 2705"/>
                <a:gd name="T77" fmla="*/ 1303 h 1439"/>
                <a:gd name="T78" fmla="*/ 2269 w 2705"/>
                <a:gd name="T79" fmla="*/ 1074 h 1439"/>
                <a:gd name="T80" fmla="*/ 2348 w 2705"/>
                <a:gd name="T81" fmla="*/ 1019 h 1439"/>
                <a:gd name="T82" fmla="*/ 2427 w 2705"/>
                <a:gd name="T83" fmla="*/ 939 h 1439"/>
                <a:gd name="T84" fmla="*/ 2475 w 2705"/>
                <a:gd name="T85" fmla="*/ 861 h 1439"/>
                <a:gd name="T86" fmla="*/ 2633 w 2705"/>
                <a:gd name="T87" fmla="*/ 718 h 1439"/>
                <a:gd name="T88" fmla="*/ 2601 w 2705"/>
                <a:gd name="T89" fmla="*/ 592 h 1439"/>
                <a:gd name="T90" fmla="*/ 2451 w 2705"/>
                <a:gd name="T91" fmla="*/ 395 h 1439"/>
                <a:gd name="T92" fmla="*/ 2427 w 2705"/>
                <a:gd name="T93" fmla="*/ 261 h 1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5" h="1439">
                  <a:moveTo>
                    <a:pt x="2396" y="229"/>
                  </a:moveTo>
                  <a:lnTo>
                    <a:pt x="2396" y="229"/>
                  </a:lnTo>
                  <a:cubicBezTo>
                    <a:pt x="2396" y="221"/>
                    <a:pt x="2396" y="205"/>
                    <a:pt x="2380" y="205"/>
                  </a:cubicBezTo>
                  <a:cubicBezTo>
                    <a:pt x="2364" y="197"/>
                    <a:pt x="2340" y="190"/>
                    <a:pt x="2325" y="182"/>
                  </a:cubicBezTo>
                  <a:cubicBezTo>
                    <a:pt x="2316" y="166"/>
                    <a:pt x="2325" y="166"/>
                    <a:pt x="2309" y="158"/>
                  </a:cubicBezTo>
                  <a:cubicBezTo>
                    <a:pt x="2301" y="158"/>
                    <a:pt x="2293" y="150"/>
                    <a:pt x="2285" y="134"/>
                  </a:cubicBezTo>
                  <a:cubicBezTo>
                    <a:pt x="2285" y="126"/>
                    <a:pt x="2285" y="126"/>
                    <a:pt x="2285" y="126"/>
                  </a:cubicBezTo>
                  <a:cubicBezTo>
                    <a:pt x="2269" y="110"/>
                    <a:pt x="2269" y="110"/>
                    <a:pt x="2269" y="110"/>
                  </a:cubicBezTo>
                  <a:cubicBezTo>
                    <a:pt x="2245" y="134"/>
                    <a:pt x="2245" y="134"/>
                    <a:pt x="2245" y="134"/>
                  </a:cubicBezTo>
                  <a:lnTo>
                    <a:pt x="2222" y="142"/>
                  </a:lnTo>
                  <a:cubicBezTo>
                    <a:pt x="2214" y="150"/>
                    <a:pt x="2206" y="166"/>
                    <a:pt x="2198" y="166"/>
                  </a:cubicBezTo>
                  <a:cubicBezTo>
                    <a:pt x="2190" y="158"/>
                    <a:pt x="2174" y="158"/>
                    <a:pt x="2174" y="174"/>
                  </a:cubicBezTo>
                  <a:cubicBezTo>
                    <a:pt x="2166" y="182"/>
                    <a:pt x="2158" y="190"/>
                    <a:pt x="2143" y="190"/>
                  </a:cubicBezTo>
                  <a:cubicBezTo>
                    <a:pt x="2119" y="190"/>
                    <a:pt x="2111" y="174"/>
                    <a:pt x="2079" y="166"/>
                  </a:cubicBezTo>
                  <a:cubicBezTo>
                    <a:pt x="2048" y="158"/>
                    <a:pt x="2056" y="205"/>
                    <a:pt x="2032" y="213"/>
                  </a:cubicBezTo>
                  <a:cubicBezTo>
                    <a:pt x="2008" y="221"/>
                    <a:pt x="1961" y="182"/>
                    <a:pt x="1945" y="158"/>
                  </a:cubicBezTo>
                  <a:cubicBezTo>
                    <a:pt x="1929" y="142"/>
                    <a:pt x="1882" y="166"/>
                    <a:pt x="1834" y="158"/>
                  </a:cubicBezTo>
                  <a:cubicBezTo>
                    <a:pt x="1787" y="158"/>
                    <a:pt x="1803" y="118"/>
                    <a:pt x="1779" y="103"/>
                  </a:cubicBezTo>
                  <a:cubicBezTo>
                    <a:pt x="1755" y="87"/>
                    <a:pt x="1755" y="71"/>
                    <a:pt x="1732" y="32"/>
                  </a:cubicBezTo>
                  <a:cubicBezTo>
                    <a:pt x="1708" y="0"/>
                    <a:pt x="1700" y="32"/>
                    <a:pt x="1668" y="23"/>
                  </a:cubicBezTo>
                  <a:cubicBezTo>
                    <a:pt x="1637" y="16"/>
                    <a:pt x="1613" y="16"/>
                    <a:pt x="1581" y="16"/>
                  </a:cubicBezTo>
                  <a:cubicBezTo>
                    <a:pt x="1558" y="16"/>
                    <a:pt x="1558" y="55"/>
                    <a:pt x="1550" y="79"/>
                  </a:cubicBezTo>
                  <a:cubicBezTo>
                    <a:pt x="1542" y="103"/>
                    <a:pt x="1550" y="110"/>
                    <a:pt x="1566" y="126"/>
                  </a:cubicBezTo>
                  <a:cubicBezTo>
                    <a:pt x="1581" y="150"/>
                    <a:pt x="1573" y="174"/>
                    <a:pt x="1573" y="182"/>
                  </a:cubicBezTo>
                  <a:cubicBezTo>
                    <a:pt x="1573" y="197"/>
                    <a:pt x="1542" y="190"/>
                    <a:pt x="1494" y="197"/>
                  </a:cubicBezTo>
                  <a:cubicBezTo>
                    <a:pt x="1455" y="205"/>
                    <a:pt x="1486" y="229"/>
                    <a:pt x="1463" y="253"/>
                  </a:cubicBezTo>
                  <a:cubicBezTo>
                    <a:pt x="1447" y="269"/>
                    <a:pt x="1423" y="229"/>
                    <a:pt x="1407" y="221"/>
                  </a:cubicBezTo>
                  <a:cubicBezTo>
                    <a:pt x="1399" y="205"/>
                    <a:pt x="1368" y="221"/>
                    <a:pt x="1368" y="261"/>
                  </a:cubicBezTo>
                  <a:cubicBezTo>
                    <a:pt x="1360" y="292"/>
                    <a:pt x="1368" y="284"/>
                    <a:pt x="1384" y="316"/>
                  </a:cubicBezTo>
                  <a:cubicBezTo>
                    <a:pt x="1392" y="348"/>
                    <a:pt x="1360" y="340"/>
                    <a:pt x="1352" y="356"/>
                  </a:cubicBezTo>
                  <a:cubicBezTo>
                    <a:pt x="1336" y="379"/>
                    <a:pt x="1336" y="371"/>
                    <a:pt x="1320" y="371"/>
                  </a:cubicBezTo>
                  <a:cubicBezTo>
                    <a:pt x="1305" y="379"/>
                    <a:pt x="1305" y="395"/>
                    <a:pt x="1305" y="419"/>
                  </a:cubicBezTo>
                  <a:cubicBezTo>
                    <a:pt x="1305" y="435"/>
                    <a:pt x="1281" y="466"/>
                    <a:pt x="1265" y="458"/>
                  </a:cubicBezTo>
                  <a:cubicBezTo>
                    <a:pt x="1249" y="458"/>
                    <a:pt x="1210" y="561"/>
                    <a:pt x="1218" y="584"/>
                  </a:cubicBezTo>
                  <a:cubicBezTo>
                    <a:pt x="1218" y="608"/>
                    <a:pt x="1202" y="600"/>
                    <a:pt x="1178" y="608"/>
                  </a:cubicBezTo>
                  <a:cubicBezTo>
                    <a:pt x="1155" y="615"/>
                    <a:pt x="1155" y="600"/>
                    <a:pt x="1146" y="600"/>
                  </a:cubicBezTo>
                  <a:cubicBezTo>
                    <a:pt x="1131" y="592"/>
                    <a:pt x="1115" y="592"/>
                    <a:pt x="1099" y="576"/>
                  </a:cubicBezTo>
                  <a:cubicBezTo>
                    <a:pt x="1083" y="569"/>
                    <a:pt x="1075" y="545"/>
                    <a:pt x="1067" y="545"/>
                  </a:cubicBezTo>
                  <a:cubicBezTo>
                    <a:pt x="1060" y="545"/>
                    <a:pt x="1052" y="569"/>
                    <a:pt x="1036" y="584"/>
                  </a:cubicBezTo>
                  <a:cubicBezTo>
                    <a:pt x="1028" y="592"/>
                    <a:pt x="1012" y="592"/>
                    <a:pt x="1004" y="615"/>
                  </a:cubicBezTo>
                  <a:cubicBezTo>
                    <a:pt x="1004" y="631"/>
                    <a:pt x="1004" y="631"/>
                    <a:pt x="988" y="639"/>
                  </a:cubicBezTo>
                  <a:cubicBezTo>
                    <a:pt x="973" y="647"/>
                    <a:pt x="973" y="655"/>
                    <a:pt x="973" y="663"/>
                  </a:cubicBezTo>
                  <a:cubicBezTo>
                    <a:pt x="973" y="671"/>
                    <a:pt x="980" y="695"/>
                    <a:pt x="973" y="702"/>
                  </a:cubicBezTo>
                  <a:cubicBezTo>
                    <a:pt x="973" y="710"/>
                    <a:pt x="949" y="702"/>
                    <a:pt x="949" y="702"/>
                  </a:cubicBezTo>
                  <a:cubicBezTo>
                    <a:pt x="941" y="679"/>
                    <a:pt x="941" y="679"/>
                    <a:pt x="941" y="679"/>
                  </a:cubicBezTo>
                  <a:cubicBezTo>
                    <a:pt x="941" y="679"/>
                    <a:pt x="909" y="663"/>
                    <a:pt x="909" y="655"/>
                  </a:cubicBezTo>
                  <a:cubicBezTo>
                    <a:pt x="902" y="647"/>
                    <a:pt x="902" y="639"/>
                    <a:pt x="893" y="639"/>
                  </a:cubicBezTo>
                  <a:cubicBezTo>
                    <a:pt x="886" y="647"/>
                    <a:pt x="878" y="663"/>
                    <a:pt x="870" y="663"/>
                  </a:cubicBezTo>
                  <a:cubicBezTo>
                    <a:pt x="862" y="663"/>
                    <a:pt x="846" y="671"/>
                    <a:pt x="838" y="679"/>
                  </a:cubicBezTo>
                  <a:cubicBezTo>
                    <a:pt x="838" y="686"/>
                    <a:pt x="830" y="695"/>
                    <a:pt x="815" y="695"/>
                  </a:cubicBezTo>
                  <a:cubicBezTo>
                    <a:pt x="807" y="686"/>
                    <a:pt x="799" y="702"/>
                    <a:pt x="799" y="718"/>
                  </a:cubicBezTo>
                  <a:cubicBezTo>
                    <a:pt x="807" y="734"/>
                    <a:pt x="799" y="750"/>
                    <a:pt x="791" y="750"/>
                  </a:cubicBezTo>
                  <a:cubicBezTo>
                    <a:pt x="783" y="758"/>
                    <a:pt x="775" y="750"/>
                    <a:pt x="759" y="734"/>
                  </a:cubicBezTo>
                  <a:cubicBezTo>
                    <a:pt x="743" y="718"/>
                    <a:pt x="743" y="726"/>
                    <a:pt x="727" y="718"/>
                  </a:cubicBezTo>
                  <a:cubicBezTo>
                    <a:pt x="704" y="718"/>
                    <a:pt x="704" y="702"/>
                    <a:pt x="688" y="695"/>
                  </a:cubicBezTo>
                  <a:cubicBezTo>
                    <a:pt x="672" y="695"/>
                    <a:pt x="649" y="702"/>
                    <a:pt x="633" y="718"/>
                  </a:cubicBezTo>
                  <a:cubicBezTo>
                    <a:pt x="617" y="726"/>
                    <a:pt x="609" y="734"/>
                    <a:pt x="617" y="750"/>
                  </a:cubicBezTo>
                  <a:cubicBezTo>
                    <a:pt x="617" y="766"/>
                    <a:pt x="569" y="742"/>
                    <a:pt x="554" y="742"/>
                  </a:cubicBezTo>
                  <a:cubicBezTo>
                    <a:pt x="538" y="742"/>
                    <a:pt x="522" y="758"/>
                    <a:pt x="522" y="766"/>
                  </a:cubicBezTo>
                  <a:cubicBezTo>
                    <a:pt x="522" y="781"/>
                    <a:pt x="514" y="789"/>
                    <a:pt x="490" y="789"/>
                  </a:cubicBezTo>
                  <a:cubicBezTo>
                    <a:pt x="482" y="789"/>
                    <a:pt x="467" y="789"/>
                    <a:pt x="459" y="789"/>
                  </a:cubicBezTo>
                  <a:cubicBezTo>
                    <a:pt x="459" y="805"/>
                    <a:pt x="459" y="813"/>
                    <a:pt x="451" y="821"/>
                  </a:cubicBezTo>
                  <a:cubicBezTo>
                    <a:pt x="435" y="845"/>
                    <a:pt x="411" y="861"/>
                    <a:pt x="435" y="884"/>
                  </a:cubicBezTo>
                  <a:cubicBezTo>
                    <a:pt x="451" y="900"/>
                    <a:pt x="475" y="924"/>
                    <a:pt x="459" y="932"/>
                  </a:cubicBezTo>
                  <a:cubicBezTo>
                    <a:pt x="435" y="939"/>
                    <a:pt x="293" y="939"/>
                    <a:pt x="309" y="1003"/>
                  </a:cubicBezTo>
                  <a:cubicBezTo>
                    <a:pt x="324" y="1066"/>
                    <a:pt x="348" y="1074"/>
                    <a:pt x="340" y="1098"/>
                  </a:cubicBezTo>
                  <a:cubicBezTo>
                    <a:pt x="332" y="1129"/>
                    <a:pt x="301" y="1169"/>
                    <a:pt x="261" y="1137"/>
                  </a:cubicBezTo>
                  <a:cubicBezTo>
                    <a:pt x="222" y="1106"/>
                    <a:pt x="79" y="1074"/>
                    <a:pt x="87" y="1200"/>
                  </a:cubicBezTo>
                  <a:cubicBezTo>
                    <a:pt x="95" y="1208"/>
                    <a:pt x="119" y="1295"/>
                    <a:pt x="79" y="1295"/>
                  </a:cubicBezTo>
                  <a:cubicBezTo>
                    <a:pt x="48" y="1295"/>
                    <a:pt x="79" y="1319"/>
                    <a:pt x="63" y="1366"/>
                  </a:cubicBezTo>
                  <a:cubicBezTo>
                    <a:pt x="48" y="1414"/>
                    <a:pt x="48" y="1398"/>
                    <a:pt x="40" y="1390"/>
                  </a:cubicBezTo>
                  <a:cubicBezTo>
                    <a:pt x="24" y="1390"/>
                    <a:pt x="0" y="1406"/>
                    <a:pt x="0" y="1414"/>
                  </a:cubicBezTo>
                  <a:cubicBezTo>
                    <a:pt x="0" y="1422"/>
                    <a:pt x="0" y="1422"/>
                    <a:pt x="0" y="1422"/>
                  </a:cubicBezTo>
                  <a:cubicBezTo>
                    <a:pt x="95" y="1438"/>
                    <a:pt x="467" y="1406"/>
                    <a:pt x="498" y="1406"/>
                  </a:cubicBezTo>
                  <a:cubicBezTo>
                    <a:pt x="530" y="1398"/>
                    <a:pt x="498" y="1343"/>
                    <a:pt x="498" y="1319"/>
                  </a:cubicBezTo>
                  <a:cubicBezTo>
                    <a:pt x="498" y="1295"/>
                    <a:pt x="562" y="1303"/>
                    <a:pt x="577" y="1311"/>
                  </a:cubicBezTo>
                  <a:cubicBezTo>
                    <a:pt x="601" y="1327"/>
                    <a:pt x="625" y="1351"/>
                    <a:pt x="633" y="1335"/>
                  </a:cubicBezTo>
                  <a:cubicBezTo>
                    <a:pt x="640" y="1311"/>
                    <a:pt x="680" y="1303"/>
                    <a:pt x="680" y="1303"/>
                  </a:cubicBezTo>
                  <a:cubicBezTo>
                    <a:pt x="1099" y="1279"/>
                    <a:pt x="1724" y="1208"/>
                    <a:pt x="2174" y="1153"/>
                  </a:cubicBezTo>
                  <a:cubicBezTo>
                    <a:pt x="2214" y="1121"/>
                    <a:pt x="2261" y="1090"/>
                    <a:pt x="2269" y="1074"/>
                  </a:cubicBezTo>
                  <a:cubicBezTo>
                    <a:pt x="2293" y="1050"/>
                    <a:pt x="2293" y="1074"/>
                    <a:pt x="2316" y="1074"/>
                  </a:cubicBezTo>
                  <a:cubicBezTo>
                    <a:pt x="2332" y="1074"/>
                    <a:pt x="2340" y="1058"/>
                    <a:pt x="2348" y="1019"/>
                  </a:cubicBezTo>
                  <a:cubicBezTo>
                    <a:pt x="2356" y="979"/>
                    <a:pt x="2388" y="995"/>
                    <a:pt x="2403" y="979"/>
                  </a:cubicBezTo>
                  <a:cubicBezTo>
                    <a:pt x="2427" y="971"/>
                    <a:pt x="2419" y="971"/>
                    <a:pt x="2427" y="939"/>
                  </a:cubicBezTo>
                  <a:cubicBezTo>
                    <a:pt x="2427" y="908"/>
                    <a:pt x="2435" y="924"/>
                    <a:pt x="2443" y="916"/>
                  </a:cubicBezTo>
                  <a:cubicBezTo>
                    <a:pt x="2451" y="908"/>
                    <a:pt x="2475" y="884"/>
                    <a:pt x="2475" y="861"/>
                  </a:cubicBezTo>
                  <a:cubicBezTo>
                    <a:pt x="2475" y="837"/>
                    <a:pt x="2514" y="813"/>
                    <a:pt x="2538" y="805"/>
                  </a:cubicBezTo>
                  <a:cubicBezTo>
                    <a:pt x="2554" y="789"/>
                    <a:pt x="2617" y="734"/>
                    <a:pt x="2633" y="718"/>
                  </a:cubicBezTo>
                  <a:cubicBezTo>
                    <a:pt x="2641" y="702"/>
                    <a:pt x="2680" y="663"/>
                    <a:pt x="2704" y="631"/>
                  </a:cubicBezTo>
                  <a:cubicBezTo>
                    <a:pt x="2680" y="608"/>
                    <a:pt x="2656" y="623"/>
                    <a:pt x="2601" y="592"/>
                  </a:cubicBezTo>
                  <a:cubicBezTo>
                    <a:pt x="2538" y="561"/>
                    <a:pt x="2538" y="522"/>
                    <a:pt x="2514" y="482"/>
                  </a:cubicBezTo>
                  <a:cubicBezTo>
                    <a:pt x="2498" y="450"/>
                    <a:pt x="2483" y="419"/>
                    <a:pt x="2451" y="395"/>
                  </a:cubicBezTo>
                  <a:cubicBezTo>
                    <a:pt x="2427" y="371"/>
                    <a:pt x="2419" y="276"/>
                    <a:pt x="2419" y="269"/>
                  </a:cubicBezTo>
                  <a:cubicBezTo>
                    <a:pt x="2419" y="269"/>
                    <a:pt x="2419" y="261"/>
                    <a:pt x="2427" y="261"/>
                  </a:cubicBezTo>
                  <a:cubicBezTo>
                    <a:pt x="2419" y="253"/>
                    <a:pt x="2403" y="237"/>
                    <a:pt x="2396" y="229"/>
                  </a:cubicBezTo>
                </a:path>
              </a:pathLst>
            </a:custGeom>
            <a:grpFill/>
            <a:ln>
              <a:solidFill>
                <a:schemeClr val="bg1">
                  <a:lumMod val="95000"/>
                </a:schemeClr>
              </a:solidFill>
            </a:ln>
            <a:effectLst/>
          </p:spPr>
          <p:txBody>
            <a:bodyPr wrap="none" anchor="ctr"/>
            <a:lstStyle/>
            <a:p>
              <a:endParaRPr lang="en-US" sz="900"/>
            </a:p>
          </p:txBody>
        </p:sp>
        <p:sp>
          <p:nvSpPr>
            <p:cNvPr id="114" name="Freeform 782"/>
            <p:cNvSpPr>
              <a:spLocks noChangeArrowheads="1"/>
            </p:cNvSpPr>
            <p:nvPr/>
          </p:nvSpPr>
          <p:spPr bwMode="auto">
            <a:xfrm>
              <a:off x="13684146" y="5985128"/>
              <a:ext cx="1426374" cy="749135"/>
            </a:xfrm>
            <a:custGeom>
              <a:avLst/>
              <a:gdLst>
                <a:gd name="T0" fmla="*/ 8 w 2713"/>
                <a:gd name="T1" fmla="*/ 1406 h 1423"/>
                <a:gd name="T2" fmla="*/ 71 w 2713"/>
                <a:gd name="T3" fmla="*/ 1311 h 1423"/>
                <a:gd name="T4" fmla="*/ 87 w 2713"/>
                <a:gd name="T5" fmla="*/ 1192 h 1423"/>
                <a:gd name="T6" fmla="*/ 332 w 2713"/>
                <a:gd name="T7" fmla="*/ 1058 h 1423"/>
                <a:gd name="T8" fmla="*/ 443 w 2713"/>
                <a:gd name="T9" fmla="*/ 876 h 1423"/>
                <a:gd name="T10" fmla="*/ 467 w 2713"/>
                <a:gd name="T11" fmla="*/ 781 h 1423"/>
                <a:gd name="T12" fmla="*/ 617 w 2713"/>
                <a:gd name="T13" fmla="*/ 750 h 1423"/>
                <a:gd name="T14" fmla="*/ 712 w 2713"/>
                <a:gd name="T15" fmla="*/ 694 h 1423"/>
                <a:gd name="T16" fmla="*/ 807 w 2713"/>
                <a:gd name="T17" fmla="*/ 710 h 1423"/>
                <a:gd name="T18" fmla="*/ 886 w 2713"/>
                <a:gd name="T19" fmla="*/ 639 h 1423"/>
                <a:gd name="T20" fmla="*/ 949 w 2713"/>
                <a:gd name="T21" fmla="*/ 663 h 1423"/>
                <a:gd name="T22" fmla="*/ 996 w 2713"/>
                <a:gd name="T23" fmla="*/ 631 h 1423"/>
                <a:gd name="T24" fmla="*/ 1060 w 2713"/>
                <a:gd name="T25" fmla="*/ 553 h 1423"/>
                <a:gd name="T26" fmla="*/ 1154 w 2713"/>
                <a:gd name="T27" fmla="*/ 584 h 1423"/>
                <a:gd name="T28" fmla="*/ 1218 w 2713"/>
                <a:gd name="T29" fmla="*/ 576 h 1423"/>
                <a:gd name="T30" fmla="*/ 1352 w 2713"/>
                <a:gd name="T31" fmla="*/ 348 h 1423"/>
                <a:gd name="T32" fmla="*/ 1423 w 2713"/>
                <a:gd name="T33" fmla="*/ 205 h 1423"/>
                <a:gd name="T34" fmla="*/ 1550 w 2713"/>
                <a:gd name="T35" fmla="*/ 182 h 1423"/>
                <a:gd name="T36" fmla="*/ 1589 w 2713"/>
                <a:gd name="T37" fmla="*/ 0 h 1423"/>
                <a:gd name="T38" fmla="*/ 1740 w 2713"/>
                <a:gd name="T39" fmla="*/ 24 h 1423"/>
                <a:gd name="T40" fmla="*/ 1898 w 2713"/>
                <a:gd name="T41" fmla="*/ 142 h 1423"/>
                <a:gd name="T42" fmla="*/ 2080 w 2713"/>
                <a:gd name="T43" fmla="*/ 150 h 1423"/>
                <a:gd name="T44" fmla="*/ 2206 w 2713"/>
                <a:gd name="T45" fmla="*/ 150 h 1423"/>
                <a:gd name="T46" fmla="*/ 2301 w 2713"/>
                <a:gd name="T47" fmla="*/ 126 h 1423"/>
                <a:gd name="T48" fmla="*/ 2411 w 2713"/>
                <a:gd name="T49" fmla="*/ 221 h 1423"/>
                <a:gd name="T50" fmla="*/ 2522 w 2713"/>
                <a:gd name="T51" fmla="*/ 466 h 1423"/>
                <a:gd name="T52" fmla="*/ 2712 w 2713"/>
                <a:gd name="T53" fmla="*/ 623 h 1423"/>
                <a:gd name="T54" fmla="*/ 2451 w 2713"/>
                <a:gd name="T55" fmla="*/ 908 h 1423"/>
                <a:gd name="T56" fmla="*/ 2356 w 2713"/>
                <a:gd name="T57" fmla="*/ 1011 h 1423"/>
                <a:gd name="T58" fmla="*/ 2182 w 2713"/>
                <a:gd name="T59" fmla="*/ 1145 h 1423"/>
                <a:gd name="T60" fmla="*/ 593 w 2713"/>
                <a:gd name="T61" fmla="*/ 1311 h 1423"/>
                <a:gd name="T62" fmla="*/ 506 w 2713"/>
                <a:gd name="T63" fmla="*/ 1398 h 1423"/>
                <a:gd name="T64" fmla="*/ 490 w 2713"/>
                <a:gd name="T65" fmla="*/ 1390 h 1423"/>
                <a:gd name="T66" fmla="*/ 593 w 2713"/>
                <a:gd name="T67" fmla="*/ 1303 h 1423"/>
                <a:gd name="T68" fmla="*/ 2174 w 2713"/>
                <a:gd name="T69" fmla="*/ 1137 h 1423"/>
                <a:gd name="T70" fmla="*/ 2348 w 2713"/>
                <a:gd name="T71" fmla="*/ 1011 h 1423"/>
                <a:gd name="T72" fmla="*/ 2451 w 2713"/>
                <a:gd name="T73" fmla="*/ 908 h 1423"/>
                <a:gd name="T74" fmla="*/ 2672 w 2713"/>
                <a:gd name="T75" fmla="*/ 607 h 1423"/>
                <a:gd name="T76" fmla="*/ 2419 w 2713"/>
                <a:gd name="T77" fmla="*/ 261 h 1423"/>
                <a:gd name="T78" fmla="*/ 2324 w 2713"/>
                <a:gd name="T79" fmla="*/ 158 h 1423"/>
                <a:gd name="T80" fmla="*/ 2230 w 2713"/>
                <a:gd name="T81" fmla="*/ 142 h 1423"/>
                <a:gd name="T82" fmla="*/ 2087 w 2713"/>
                <a:gd name="T83" fmla="*/ 158 h 1423"/>
                <a:gd name="T84" fmla="*/ 1929 w 2713"/>
                <a:gd name="T85" fmla="*/ 150 h 1423"/>
                <a:gd name="T86" fmla="*/ 1755 w 2713"/>
                <a:gd name="T87" fmla="*/ 55 h 1423"/>
                <a:gd name="T88" fmla="*/ 1589 w 2713"/>
                <a:gd name="T89" fmla="*/ 8 h 1423"/>
                <a:gd name="T90" fmla="*/ 1581 w 2713"/>
                <a:gd name="T91" fmla="*/ 174 h 1423"/>
                <a:gd name="T92" fmla="*/ 1423 w 2713"/>
                <a:gd name="T93" fmla="*/ 221 h 1423"/>
                <a:gd name="T94" fmla="*/ 1376 w 2713"/>
                <a:gd name="T95" fmla="*/ 340 h 1423"/>
                <a:gd name="T96" fmla="*/ 1265 w 2713"/>
                <a:gd name="T97" fmla="*/ 466 h 1423"/>
                <a:gd name="T98" fmla="*/ 1154 w 2713"/>
                <a:gd name="T99" fmla="*/ 600 h 1423"/>
                <a:gd name="T100" fmla="*/ 1075 w 2713"/>
                <a:gd name="T101" fmla="*/ 545 h 1423"/>
                <a:gd name="T102" fmla="*/ 1004 w 2713"/>
                <a:gd name="T103" fmla="*/ 631 h 1423"/>
                <a:gd name="T104" fmla="*/ 957 w 2713"/>
                <a:gd name="T105" fmla="*/ 694 h 1423"/>
                <a:gd name="T106" fmla="*/ 894 w 2713"/>
                <a:gd name="T107" fmla="*/ 647 h 1423"/>
                <a:gd name="T108" fmla="*/ 815 w 2713"/>
                <a:gd name="T109" fmla="*/ 687 h 1423"/>
                <a:gd name="T110" fmla="*/ 728 w 2713"/>
                <a:gd name="T111" fmla="*/ 718 h 1423"/>
                <a:gd name="T112" fmla="*/ 625 w 2713"/>
                <a:gd name="T113" fmla="*/ 750 h 1423"/>
                <a:gd name="T114" fmla="*/ 498 w 2713"/>
                <a:gd name="T115" fmla="*/ 781 h 1423"/>
                <a:gd name="T116" fmla="*/ 475 w 2713"/>
                <a:gd name="T117" fmla="*/ 916 h 1423"/>
                <a:gd name="T118" fmla="*/ 348 w 2713"/>
                <a:gd name="T119" fmla="*/ 1098 h 1423"/>
                <a:gd name="T120" fmla="*/ 111 w 2713"/>
                <a:gd name="T121" fmla="*/ 1279 h 1423"/>
                <a:gd name="T122" fmla="*/ 48 w 2713"/>
                <a:gd name="T123" fmla="*/ 1390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3" h="1423">
                  <a:moveTo>
                    <a:pt x="71" y="1422"/>
                  </a:moveTo>
                  <a:lnTo>
                    <a:pt x="71" y="1422"/>
                  </a:lnTo>
                  <a:cubicBezTo>
                    <a:pt x="40" y="1422"/>
                    <a:pt x="24" y="1422"/>
                    <a:pt x="8" y="1422"/>
                  </a:cubicBezTo>
                  <a:cubicBezTo>
                    <a:pt x="0" y="1422"/>
                    <a:pt x="0" y="1422"/>
                    <a:pt x="0" y="1422"/>
                  </a:cubicBezTo>
                  <a:cubicBezTo>
                    <a:pt x="8" y="1414"/>
                    <a:pt x="8" y="1414"/>
                    <a:pt x="8" y="1414"/>
                  </a:cubicBezTo>
                  <a:cubicBezTo>
                    <a:pt x="8" y="1414"/>
                    <a:pt x="8" y="1414"/>
                    <a:pt x="8" y="1406"/>
                  </a:cubicBezTo>
                  <a:cubicBezTo>
                    <a:pt x="8" y="1398"/>
                    <a:pt x="24" y="1382"/>
                    <a:pt x="40" y="1382"/>
                  </a:cubicBezTo>
                  <a:cubicBezTo>
                    <a:pt x="40" y="1382"/>
                    <a:pt x="40" y="1382"/>
                    <a:pt x="48" y="1382"/>
                  </a:cubicBezTo>
                  <a:lnTo>
                    <a:pt x="56" y="1382"/>
                  </a:lnTo>
                  <a:cubicBezTo>
                    <a:pt x="56" y="1390"/>
                    <a:pt x="56" y="1390"/>
                    <a:pt x="56" y="1390"/>
                  </a:cubicBezTo>
                  <a:cubicBezTo>
                    <a:pt x="56" y="1382"/>
                    <a:pt x="64" y="1366"/>
                    <a:pt x="71" y="1358"/>
                  </a:cubicBezTo>
                  <a:cubicBezTo>
                    <a:pt x="71" y="1335"/>
                    <a:pt x="71" y="1319"/>
                    <a:pt x="71" y="1311"/>
                  </a:cubicBezTo>
                  <a:cubicBezTo>
                    <a:pt x="71" y="1303"/>
                    <a:pt x="71" y="1295"/>
                    <a:pt x="71" y="1287"/>
                  </a:cubicBezTo>
                  <a:cubicBezTo>
                    <a:pt x="71" y="1287"/>
                    <a:pt x="79" y="1287"/>
                    <a:pt x="87" y="1287"/>
                  </a:cubicBezTo>
                  <a:cubicBezTo>
                    <a:pt x="95" y="1287"/>
                    <a:pt x="103" y="1279"/>
                    <a:pt x="103" y="1271"/>
                  </a:cubicBezTo>
                  <a:cubicBezTo>
                    <a:pt x="111" y="1248"/>
                    <a:pt x="95" y="1200"/>
                    <a:pt x="87" y="1192"/>
                  </a:cubicBezTo>
                  <a:lnTo>
                    <a:pt x="87" y="1192"/>
                  </a:lnTo>
                  <a:lnTo>
                    <a:pt x="87" y="1192"/>
                  </a:lnTo>
                  <a:cubicBezTo>
                    <a:pt x="87" y="1161"/>
                    <a:pt x="95" y="1137"/>
                    <a:pt x="111" y="1121"/>
                  </a:cubicBezTo>
                  <a:cubicBezTo>
                    <a:pt x="127" y="1105"/>
                    <a:pt x="151" y="1098"/>
                    <a:pt x="174" y="1098"/>
                  </a:cubicBezTo>
                  <a:cubicBezTo>
                    <a:pt x="214" y="1098"/>
                    <a:pt x="253" y="1113"/>
                    <a:pt x="269" y="1129"/>
                  </a:cubicBezTo>
                  <a:cubicBezTo>
                    <a:pt x="277" y="1137"/>
                    <a:pt x="293" y="1137"/>
                    <a:pt x="301" y="1137"/>
                  </a:cubicBezTo>
                  <a:cubicBezTo>
                    <a:pt x="324" y="1137"/>
                    <a:pt x="340" y="1113"/>
                    <a:pt x="340" y="1090"/>
                  </a:cubicBezTo>
                  <a:cubicBezTo>
                    <a:pt x="348" y="1082"/>
                    <a:pt x="340" y="1074"/>
                    <a:pt x="332" y="1058"/>
                  </a:cubicBezTo>
                  <a:cubicBezTo>
                    <a:pt x="324" y="1042"/>
                    <a:pt x="317" y="1026"/>
                    <a:pt x="309" y="995"/>
                  </a:cubicBezTo>
                  <a:cubicBezTo>
                    <a:pt x="309" y="987"/>
                    <a:pt x="309" y="979"/>
                    <a:pt x="317" y="971"/>
                  </a:cubicBezTo>
                  <a:cubicBezTo>
                    <a:pt x="332" y="940"/>
                    <a:pt x="395" y="931"/>
                    <a:pt x="435" y="924"/>
                  </a:cubicBezTo>
                  <a:cubicBezTo>
                    <a:pt x="451" y="924"/>
                    <a:pt x="459" y="924"/>
                    <a:pt x="467" y="924"/>
                  </a:cubicBezTo>
                  <a:cubicBezTo>
                    <a:pt x="467" y="916"/>
                    <a:pt x="467" y="916"/>
                    <a:pt x="467" y="916"/>
                  </a:cubicBezTo>
                  <a:cubicBezTo>
                    <a:pt x="467" y="908"/>
                    <a:pt x="459" y="892"/>
                    <a:pt x="443" y="876"/>
                  </a:cubicBezTo>
                  <a:cubicBezTo>
                    <a:pt x="435" y="876"/>
                    <a:pt x="435" y="876"/>
                    <a:pt x="435" y="876"/>
                  </a:cubicBezTo>
                  <a:cubicBezTo>
                    <a:pt x="419" y="860"/>
                    <a:pt x="435" y="845"/>
                    <a:pt x="443" y="829"/>
                  </a:cubicBezTo>
                  <a:cubicBezTo>
                    <a:pt x="451" y="821"/>
                    <a:pt x="451" y="821"/>
                    <a:pt x="459" y="813"/>
                  </a:cubicBezTo>
                  <a:cubicBezTo>
                    <a:pt x="467" y="805"/>
                    <a:pt x="467" y="797"/>
                    <a:pt x="459" y="781"/>
                  </a:cubicBezTo>
                  <a:lnTo>
                    <a:pt x="459" y="781"/>
                  </a:lnTo>
                  <a:cubicBezTo>
                    <a:pt x="467" y="781"/>
                    <a:pt x="467" y="781"/>
                    <a:pt x="467" y="781"/>
                  </a:cubicBezTo>
                  <a:cubicBezTo>
                    <a:pt x="475" y="773"/>
                    <a:pt x="490" y="773"/>
                    <a:pt x="498" y="781"/>
                  </a:cubicBezTo>
                  <a:lnTo>
                    <a:pt x="506" y="781"/>
                  </a:lnTo>
                  <a:cubicBezTo>
                    <a:pt x="522" y="781"/>
                    <a:pt x="522" y="773"/>
                    <a:pt x="522" y="758"/>
                  </a:cubicBezTo>
                  <a:cubicBezTo>
                    <a:pt x="522" y="742"/>
                    <a:pt x="538" y="726"/>
                    <a:pt x="562" y="726"/>
                  </a:cubicBezTo>
                  <a:cubicBezTo>
                    <a:pt x="570" y="734"/>
                    <a:pt x="577" y="734"/>
                    <a:pt x="585" y="734"/>
                  </a:cubicBezTo>
                  <a:cubicBezTo>
                    <a:pt x="593" y="742"/>
                    <a:pt x="609" y="750"/>
                    <a:pt x="617" y="750"/>
                  </a:cubicBezTo>
                  <a:lnTo>
                    <a:pt x="617" y="750"/>
                  </a:lnTo>
                  <a:cubicBezTo>
                    <a:pt x="617" y="742"/>
                    <a:pt x="617" y="742"/>
                    <a:pt x="617" y="742"/>
                  </a:cubicBezTo>
                  <a:cubicBezTo>
                    <a:pt x="617" y="726"/>
                    <a:pt x="617" y="718"/>
                    <a:pt x="641" y="702"/>
                  </a:cubicBezTo>
                  <a:cubicBezTo>
                    <a:pt x="657" y="694"/>
                    <a:pt x="672" y="687"/>
                    <a:pt x="688" y="687"/>
                  </a:cubicBezTo>
                  <a:cubicBezTo>
                    <a:pt x="696" y="687"/>
                    <a:pt x="696" y="687"/>
                    <a:pt x="696" y="687"/>
                  </a:cubicBezTo>
                  <a:cubicBezTo>
                    <a:pt x="704" y="687"/>
                    <a:pt x="712" y="694"/>
                    <a:pt x="712" y="694"/>
                  </a:cubicBezTo>
                  <a:cubicBezTo>
                    <a:pt x="720" y="702"/>
                    <a:pt x="720" y="710"/>
                    <a:pt x="735" y="710"/>
                  </a:cubicBezTo>
                  <a:lnTo>
                    <a:pt x="743" y="710"/>
                  </a:lnTo>
                  <a:lnTo>
                    <a:pt x="743" y="710"/>
                  </a:lnTo>
                  <a:cubicBezTo>
                    <a:pt x="751" y="710"/>
                    <a:pt x="759" y="710"/>
                    <a:pt x="767" y="726"/>
                  </a:cubicBezTo>
                  <a:cubicBezTo>
                    <a:pt x="783" y="734"/>
                    <a:pt x="791" y="742"/>
                    <a:pt x="799" y="742"/>
                  </a:cubicBezTo>
                  <a:cubicBezTo>
                    <a:pt x="807" y="742"/>
                    <a:pt x="807" y="726"/>
                    <a:pt x="807" y="710"/>
                  </a:cubicBezTo>
                  <a:cubicBezTo>
                    <a:pt x="807" y="702"/>
                    <a:pt x="807" y="687"/>
                    <a:pt x="807" y="687"/>
                  </a:cubicBezTo>
                  <a:cubicBezTo>
                    <a:pt x="815" y="678"/>
                    <a:pt x="823" y="678"/>
                    <a:pt x="830" y="678"/>
                  </a:cubicBezTo>
                  <a:cubicBezTo>
                    <a:pt x="838" y="678"/>
                    <a:pt x="838" y="678"/>
                    <a:pt x="846" y="671"/>
                  </a:cubicBezTo>
                  <a:lnTo>
                    <a:pt x="846" y="671"/>
                  </a:lnTo>
                  <a:cubicBezTo>
                    <a:pt x="854" y="655"/>
                    <a:pt x="870" y="655"/>
                    <a:pt x="878" y="647"/>
                  </a:cubicBezTo>
                  <a:cubicBezTo>
                    <a:pt x="878" y="647"/>
                    <a:pt x="886" y="647"/>
                    <a:pt x="886" y="639"/>
                  </a:cubicBezTo>
                  <a:cubicBezTo>
                    <a:pt x="886" y="639"/>
                    <a:pt x="894" y="631"/>
                    <a:pt x="901" y="631"/>
                  </a:cubicBezTo>
                  <a:lnTo>
                    <a:pt x="901" y="631"/>
                  </a:lnTo>
                  <a:cubicBezTo>
                    <a:pt x="910" y="631"/>
                    <a:pt x="910" y="639"/>
                    <a:pt x="917" y="639"/>
                  </a:cubicBezTo>
                  <a:lnTo>
                    <a:pt x="917" y="647"/>
                  </a:lnTo>
                  <a:cubicBezTo>
                    <a:pt x="917" y="647"/>
                    <a:pt x="933" y="655"/>
                    <a:pt x="949" y="663"/>
                  </a:cubicBezTo>
                  <a:lnTo>
                    <a:pt x="949" y="663"/>
                  </a:lnTo>
                  <a:cubicBezTo>
                    <a:pt x="957" y="687"/>
                    <a:pt x="957" y="687"/>
                    <a:pt x="957" y="687"/>
                  </a:cubicBezTo>
                  <a:cubicBezTo>
                    <a:pt x="965" y="694"/>
                    <a:pt x="973" y="694"/>
                    <a:pt x="973" y="694"/>
                  </a:cubicBezTo>
                  <a:cubicBezTo>
                    <a:pt x="981" y="694"/>
                    <a:pt x="981" y="694"/>
                    <a:pt x="981" y="694"/>
                  </a:cubicBezTo>
                  <a:cubicBezTo>
                    <a:pt x="981" y="694"/>
                    <a:pt x="981" y="671"/>
                    <a:pt x="981" y="663"/>
                  </a:cubicBezTo>
                  <a:lnTo>
                    <a:pt x="981" y="655"/>
                  </a:lnTo>
                  <a:cubicBezTo>
                    <a:pt x="981" y="647"/>
                    <a:pt x="981" y="639"/>
                    <a:pt x="996" y="631"/>
                  </a:cubicBezTo>
                  <a:lnTo>
                    <a:pt x="996" y="631"/>
                  </a:lnTo>
                  <a:cubicBezTo>
                    <a:pt x="1004" y="623"/>
                    <a:pt x="1004" y="623"/>
                    <a:pt x="1012" y="607"/>
                  </a:cubicBezTo>
                  <a:lnTo>
                    <a:pt x="1012" y="607"/>
                  </a:lnTo>
                  <a:cubicBezTo>
                    <a:pt x="1020" y="584"/>
                    <a:pt x="1028" y="584"/>
                    <a:pt x="1036" y="576"/>
                  </a:cubicBezTo>
                  <a:cubicBezTo>
                    <a:pt x="1036" y="576"/>
                    <a:pt x="1044" y="576"/>
                    <a:pt x="1044" y="568"/>
                  </a:cubicBezTo>
                  <a:cubicBezTo>
                    <a:pt x="1052" y="568"/>
                    <a:pt x="1052" y="561"/>
                    <a:pt x="1060" y="553"/>
                  </a:cubicBezTo>
                  <a:cubicBezTo>
                    <a:pt x="1060" y="545"/>
                    <a:pt x="1068" y="537"/>
                    <a:pt x="1075" y="537"/>
                  </a:cubicBezTo>
                  <a:lnTo>
                    <a:pt x="1075" y="537"/>
                  </a:lnTo>
                  <a:cubicBezTo>
                    <a:pt x="1083" y="537"/>
                    <a:pt x="1091" y="545"/>
                    <a:pt x="1099" y="553"/>
                  </a:cubicBezTo>
                  <a:cubicBezTo>
                    <a:pt x="1099" y="561"/>
                    <a:pt x="1107" y="561"/>
                    <a:pt x="1107" y="568"/>
                  </a:cubicBezTo>
                  <a:cubicBezTo>
                    <a:pt x="1123" y="576"/>
                    <a:pt x="1131" y="584"/>
                    <a:pt x="1147" y="584"/>
                  </a:cubicBezTo>
                  <a:cubicBezTo>
                    <a:pt x="1147" y="584"/>
                    <a:pt x="1147" y="584"/>
                    <a:pt x="1154" y="584"/>
                  </a:cubicBezTo>
                  <a:lnTo>
                    <a:pt x="1163" y="592"/>
                  </a:lnTo>
                  <a:lnTo>
                    <a:pt x="1170" y="600"/>
                  </a:lnTo>
                  <a:cubicBezTo>
                    <a:pt x="1178" y="600"/>
                    <a:pt x="1178" y="600"/>
                    <a:pt x="1186" y="592"/>
                  </a:cubicBezTo>
                  <a:cubicBezTo>
                    <a:pt x="1194" y="592"/>
                    <a:pt x="1194" y="592"/>
                    <a:pt x="1202" y="592"/>
                  </a:cubicBezTo>
                  <a:cubicBezTo>
                    <a:pt x="1210" y="592"/>
                    <a:pt x="1218" y="592"/>
                    <a:pt x="1218" y="584"/>
                  </a:cubicBezTo>
                  <a:lnTo>
                    <a:pt x="1218" y="576"/>
                  </a:lnTo>
                  <a:cubicBezTo>
                    <a:pt x="1210" y="553"/>
                    <a:pt x="1241" y="482"/>
                    <a:pt x="1257" y="458"/>
                  </a:cubicBezTo>
                  <a:cubicBezTo>
                    <a:pt x="1265" y="450"/>
                    <a:pt x="1273" y="450"/>
                    <a:pt x="1273" y="450"/>
                  </a:cubicBezTo>
                  <a:cubicBezTo>
                    <a:pt x="1289" y="450"/>
                    <a:pt x="1305" y="427"/>
                    <a:pt x="1305" y="411"/>
                  </a:cubicBezTo>
                  <a:cubicBezTo>
                    <a:pt x="1305" y="379"/>
                    <a:pt x="1313" y="363"/>
                    <a:pt x="1328" y="363"/>
                  </a:cubicBezTo>
                  <a:cubicBezTo>
                    <a:pt x="1336" y="363"/>
                    <a:pt x="1336" y="363"/>
                    <a:pt x="1336" y="363"/>
                  </a:cubicBezTo>
                  <a:cubicBezTo>
                    <a:pt x="1344" y="363"/>
                    <a:pt x="1344" y="363"/>
                    <a:pt x="1352" y="348"/>
                  </a:cubicBezTo>
                  <a:cubicBezTo>
                    <a:pt x="1360" y="340"/>
                    <a:pt x="1368" y="340"/>
                    <a:pt x="1376" y="332"/>
                  </a:cubicBezTo>
                  <a:cubicBezTo>
                    <a:pt x="1384" y="332"/>
                    <a:pt x="1392" y="324"/>
                    <a:pt x="1384" y="308"/>
                  </a:cubicBezTo>
                  <a:cubicBezTo>
                    <a:pt x="1384" y="300"/>
                    <a:pt x="1376" y="292"/>
                    <a:pt x="1376" y="292"/>
                  </a:cubicBezTo>
                  <a:cubicBezTo>
                    <a:pt x="1368" y="276"/>
                    <a:pt x="1368" y="276"/>
                    <a:pt x="1368" y="245"/>
                  </a:cubicBezTo>
                  <a:cubicBezTo>
                    <a:pt x="1376" y="221"/>
                    <a:pt x="1392" y="205"/>
                    <a:pt x="1407" y="205"/>
                  </a:cubicBezTo>
                  <a:cubicBezTo>
                    <a:pt x="1415" y="205"/>
                    <a:pt x="1415" y="205"/>
                    <a:pt x="1423" y="205"/>
                  </a:cubicBezTo>
                  <a:cubicBezTo>
                    <a:pt x="1423" y="213"/>
                    <a:pt x="1423" y="213"/>
                    <a:pt x="1431" y="213"/>
                  </a:cubicBezTo>
                  <a:cubicBezTo>
                    <a:pt x="1439" y="229"/>
                    <a:pt x="1455" y="245"/>
                    <a:pt x="1463" y="245"/>
                  </a:cubicBezTo>
                  <a:cubicBezTo>
                    <a:pt x="1463" y="245"/>
                    <a:pt x="1471" y="245"/>
                    <a:pt x="1471" y="237"/>
                  </a:cubicBezTo>
                  <a:cubicBezTo>
                    <a:pt x="1479" y="229"/>
                    <a:pt x="1479" y="221"/>
                    <a:pt x="1479" y="213"/>
                  </a:cubicBezTo>
                  <a:cubicBezTo>
                    <a:pt x="1479" y="205"/>
                    <a:pt x="1471" y="189"/>
                    <a:pt x="1502" y="182"/>
                  </a:cubicBezTo>
                  <a:cubicBezTo>
                    <a:pt x="1518" y="182"/>
                    <a:pt x="1534" y="182"/>
                    <a:pt x="1550" y="182"/>
                  </a:cubicBezTo>
                  <a:cubicBezTo>
                    <a:pt x="1566" y="182"/>
                    <a:pt x="1574" y="182"/>
                    <a:pt x="1574" y="174"/>
                  </a:cubicBezTo>
                  <a:cubicBezTo>
                    <a:pt x="1581" y="166"/>
                    <a:pt x="1581" y="142"/>
                    <a:pt x="1574" y="118"/>
                  </a:cubicBezTo>
                  <a:cubicBezTo>
                    <a:pt x="1566" y="118"/>
                    <a:pt x="1566" y="110"/>
                    <a:pt x="1566" y="110"/>
                  </a:cubicBezTo>
                  <a:cubicBezTo>
                    <a:pt x="1550" y="102"/>
                    <a:pt x="1550" y="95"/>
                    <a:pt x="1550" y="71"/>
                  </a:cubicBezTo>
                  <a:cubicBezTo>
                    <a:pt x="1558" y="63"/>
                    <a:pt x="1558" y="55"/>
                    <a:pt x="1558" y="47"/>
                  </a:cubicBezTo>
                  <a:cubicBezTo>
                    <a:pt x="1566" y="31"/>
                    <a:pt x="1566" y="0"/>
                    <a:pt x="1589" y="0"/>
                  </a:cubicBezTo>
                  <a:lnTo>
                    <a:pt x="1589" y="0"/>
                  </a:lnTo>
                  <a:cubicBezTo>
                    <a:pt x="1621" y="0"/>
                    <a:pt x="1645" y="8"/>
                    <a:pt x="1676" y="15"/>
                  </a:cubicBezTo>
                  <a:lnTo>
                    <a:pt x="1684" y="15"/>
                  </a:lnTo>
                  <a:cubicBezTo>
                    <a:pt x="1692" y="15"/>
                    <a:pt x="1700" y="15"/>
                    <a:pt x="1700" y="8"/>
                  </a:cubicBezTo>
                  <a:cubicBezTo>
                    <a:pt x="1708" y="8"/>
                    <a:pt x="1708" y="8"/>
                    <a:pt x="1716" y="8"/>
                  </a:cubicBezTo>
                  <a:cubicBezTo>
                    <a:pt x="1724" y="8"/>
                    <a:pt x="1732" y="8"/>
                    <a:pt x="1740" y="24"/>
                  </a:cubicBezTo>
                  <a:cubicBezTo>
                    <a:pt x="1747" y="31"/>
                    <a:pt x="1755" y="47"/>
                    <a:pt x="1755" y="55"/>
                  </a:cubicBezTo>
                  <a:cubicBezTo>
                    <a:pt x="1771" y="71"/>
                    <a:pt x="1771" y="87"/>
                    <a:pt x="1787" y="95"/>
                  </a:cubicBezTo>
                  <a:cubicBezTo>
                    <a:pt x="1795" y="102"/>
                    <a:pt x="1803" y="110"/>
                    <a:pt x="1803" y="118"/>
                  </a:cubicBezTo>
                  <a:cubicBezTo>
                    <a:pt x="1811" y="134"/>
                    <a:pt x="1811" y="142"/>
                    <a:pt x="1842" y="150"/>
                  </a:cubicBezTo>
                  <a:cubicBezTo>
                    <a:pt x="1850" y="150"/>
                    <a:pt x="1850" y="150"/>
                    <a:pt x="1858" y="150"/>
                  </a:cubicBezTo>
                  <a:cubicBezTo>
                    <a:pt x="1874" y="150"/>
                    <a:pt x="1890" y="150"/>
                    <a:pt x="1898" y="142"/>
                  </a:cubicBezTo>
                  <a:cubicBezTo>
                    <a:pt x="1913" y="142"/>
                    <a:pt x="1921" y="142"/>
                    <a:pt x="1929" y="142"/>
                  </a:cubicBezTo>
                  <a:cubicBezTo>
                    <a:pt x="1945" y="142"/>
                    <a:pt x="1953" y="142"/>
                    <a:pt x="1953" y="150"/>
                  </a:cubicBezTo>
                  <a:cubicBezTo>
                    <a:pt x="1969" y="166"/>
                    <a:pt x="2008" y="197"/>
                    <a:pt x="2032" y="197"/>
                  </a:cubicBezTo>
                  <a:lnTo>
                    <a:pt x="2040" y="197"/>
                  </a:lnTo>
                  <a:cubicBezTo>
                    <a:pt x="2048" y="197"/>
                    <a:pt x="2056" y="189"/>
                    <a:pt x="2056" y="182"/>
                  </a:cubicBezTo>
                  <a:cubicBezTo>
                    <a:pt x="2064" y="166"/>
                    <a:pt x="2064" y="150"/>
                    <a:pt x="2080" y="150"/>
                  </a:cubicBezTo>
                  <a:cubicBezTo>
                    <a:pt x="2087" y="150"/>
                    <a:pt x="2087" y="150"/>
                    <a:pt x="2087" y="158"/>
                  </a:cubicBezTo>
                  <a:cubicBezTo>
                    <a:pt x="2103" y="158"/>
                    <a:pt x="2119" y="166"/>
                    <a:pt x="2127" y="166"/>
                  </a:cubicBezTo>
                  <a:cubicBezTo>
                    <a:pt x="2135" y="174"/>
                    <a:pt x="2135" y="182"/>
                    <a:pt x="2143" y="174"/>
                  </a:cubicBezTo>
                  <a:cubicBezTo>
                    <a:pt x="2166" y="174"/>
                    <a:pt x="2174" y="166"/>
                    <a:pt x="2174" y="158"/>
                  </a:cubicBezTo>
                  <a:cubicBezTo>
                    <a:pt x="2182" y="158"/>
                    <a:pt x="2182" y="150"/>
                    <a:pt x="2198" y="150"/>
                  </a:cubicBezTo>
                  <a:lnTo>
                    <a:pt x="2206" y="150"/>
                  </a:lnTo>
                  <a:cubicBezTo>
                    <a:pt x="2214" y="150"/>
                    <a:pt x="2214" y="150"/>
                    <a:pt x="2222" y="134"/>
                  </a:cubicBezTo>
                  <a:cubicBezTo>
                    <a:pt x="2230" y="134"/>
                    <a:pt x="2238" y="126"/>
                    <a:pt x="2246" y="118"/>
                  </a:cubicBezTo>
                  <a:cubicBezTo>
                    <a:pt x="2277" y="102"/>
                    <a:pt x="2277" y="102"/>
                    <a:pt x="2277" y="102"/>
                  </a:cubicBezTo>
                  <a:cubicBezTo>
                    <a:pt x="2293" y="110"/>
                    <a:pt x="2293" y="110"/>
                    <a:pt x="2293" y="110"/>
                  </a:cubicBezTo>
                  <a:cubicBezTo>
                    <a:pt x="2293" y="118"/>
                    <a:pt x="2293" y="118"/>
                    <a:pt x="2293" y="118"/>
                  </a:cubicBezTo>
                  <a:cubicBezTo>
                    <a:pt x="2293" y="118"/>
                    <a:pt x="2293" y="118"/>
                    <a:pt x="2301" y="126"/>
                  </a:cubicBezTo>
                  <a:cubicBezTo>
                    <a:pt x="2301" y="134"/>
                    <a:pt x="2309" y="142"/>
                    <a:pt x="2317" y="150"/>
                  </a:cubicBezTo>
                  <a:cubicBezTo>
                    <a:pt x="2324" y="150"/>
                    <a:pt x="2333" y="158"/>
                    <a:pt x="2333" y="158"/>
                  </a:cubicBezTo>
                  <a:cubicBezTo>
                    <a:pt x="2333" y="158"/>
                    <a:pt x="2333" y="166"/>
                    <a:pt x="2340" y="174"/>
                  </a:cubicBezTo>
                  <a:cubicBezTo>
                    <a:pt x="2340" y="182"/>
                    <a:pt x="2364" y="189"/>
                    <a:pt x="2388" y="189"/>
                  </a:cubicBezTo>
                  <a:cubicBezTo>
                    <a:pt x="2404" y="197"/>
                    <a:pt x="2404" y="205"/>
                    <a:pt x="2404" y="213"/>
                  </a:cubicBezTo>
                  <a:lnTo>
                    <a:pt x="2411" y="221"/>
                  </a:lnTo>
                  <a:cubicBezTo>
                    <a:pt x="2411" y="229"/>
                    <a:pt x="2419" y="229"/>
                    <a:pt x="2443" y="245"/>
                  </a:cubicBezTo>
                  <a:cubicBezTo>
                    <a:pt x="2443" y="253"/>
                    <a:pt x="2443" y="253"/>
                    <a:pt x="2443" y="253"/>
                  </a:cubicBezTo>
                  <a:cubicBezTo>
                    <a:pt x="2435" y="253"/>
                    <a:pt x="2435" y="253"/>
                    <a:pt x="2435" y="253"/>
                  </a:cubicBezTo>
                  <a:cubicBezTo>
                    <a:pt x="2427" y="261"/>
                    <a:pt x="2427" y="261"/>
                    <a:pt x="2427" y="261"/>
                  </a:cubicBezTo>
                  <a:cubicBezTo>
                    <a:pt x="2427" y="276"/>
                    <a:pt x="2435" y="363"/>
                    <a:pt x="2467" y="387"/>
                  </a:cubicBezTo>
                  <a:cubicBezTo>
                    <a:pt x="2491" y="403"/>
                    <a:pt x="2506" y="435"/>
                    <a:pt x="2522" y="466"/>
                  </a:cubicBezTo>
                  <a:cubicBezTo>
                    <a:pt x="2530" y="474"/>
                    <a:pt x="2530" y="474"/>
                    <a:pt x="2530" y="474"/>
                  </a:cubicBezTo>
                  <a:cubicBezTo>
                    <a:pt x="2530" y="482"/>
                    <a:pt x="2538" y="490"/>
                    <a:pt x="2538" y="498"/>
                  </a:cubicBezTo>
                  <a:cubicBezTo>
                    <a:pt x="2554" y="529"/>
                    <a:pt x="2562" y="561"/>
                    <a:pt x="2609" y="584"/>
                  </a:cubicBezTo>
                  <a:cubicBezTo>
                    <a:pt x="2633" y="600"/>
                    <a:pt x="2657" y="600"/>
                    <a:pt x="2672" y="600"/>
                  </a:cubicBezTo>
                  <a:cubicBezTo>
                    <a:pt x="2688" y="607"/>
                    <a:pt x="2704" y="607"/>
                    <a:pt x="2712" y="623"/>
                  </a:cubicBezTo>
                  <a:lnTo>
                    <a:pt x="2712" y="623"/>
                  </a:lnTo>
                  <a:cubicBezTo>
                    <a:pt x="2712" y="631"/>
                    <a:pt x="2712" y="631"/>
                    <a:pt x="2712" y="631"/>
                  </a:cubicBezTo>
                  <a:cubicBezTo>
                    <a:pt x="2688" y="655"/>
                    <a:pt x="2649" y="702"/>
                    <a:pt x="2641" y="710"/>
                  </a:cubicBezTo>
                  <a:cubicBezTo>
                    <a:pt x="2625" y="734"/>
                    <a:pt x="2570" y="789"/>
                    <a:pt x="2546" y="797"/>
                  </a:cubicBezTo>
                  <a:cubicBezTo>
                    <a:pt x="2530" y="805"/>
                    <a:pt x="2491" y="829"/>
                    <a:pt x="2491" y="853"/>
                  </a:cubicBezTo>
                  <a:cubicBezTo>
                    <a:pt x="2491" y="876"/>
                    <a:pt x="2467" y="892"/>
                    <a:pt x="2459" y="908"/>
                  </a:cubicBezTo>
                  <a:cubicBezTo>
                    <a:pt x="2459" y="908"/>
                    <a:pt x="2459" y="908"/>
                    <a:pt x="2451" y="908"/>
                  </a:cubicBezTo>
                  <a:cubicBezTo>
                    <a:pt x="2451" y="916"/>
                    <a:pt x="2451" y="916"/>
                    <a:pt x="2443" y="916"/>
                  </a:cubicBezTo>
                  <a:cubicBezTo>
                    <a:pt x="2443" y="916"/>
                    <a:pt x="2435" y="916"/>
                    <a:pt x="2435" y="931"/>
                  </a:cubicBezTo>
                  <a:cubicBezTo>
                    <a:pt x="2435" y="940"/>
                    <a:pt x="2435" y="947"/>
                    <a:pt x="2435" y="955"/>
                  </a:cubicBezTo>
                  <a:cubicBezTo>
                    <a:pt x="2435" y="971"/>
                    <a:pt x="2435" y="971"/>
                    <a:pt x="2419" y="979"/>
                  </a:cubicBezTo>
                  <a:cubicBezTo>
                    <a:pt x="2411" y="979"/>
                    <a:pt x="2404" y="979"/>
                    <a:pt x="2396" y="979"/>
                  </a:cubicBezTo>
                  <a:cubicBezTo>
                    <a:pt x="2380" y="987"/>
                    <a:pt x="2364" y="987"/>
                    <a:pt x="2356" y="1011"/>
                  </a:cubicBezTo>
                  <a:cubicBezTo>
                    <a:pt x="2356" y="1018"/>
                    <a:pt x="2356" y="1018"/>
                    <a:pt x="2356" y="1026"/>
                  </a:cubicBezTo>
                  <a:cubicBezTo>
                    <a:pt x="2348" y="1050"/>
                    <a:pt x="2340" y="1066"/>
                    <a:pt x="2324" y="1066"/>
                  </a:cubicBezTo>
                  <a:cubicBezTo>
                    <a:pt x="2317" y="1066"/>
                    <a:pt x="2309" y="1066"/>
                    <a:pt x="2309" y="1066"/>
                  </a:cubicBezTo>
                  <a:cubicBezTo>
                    <a:pt x="2301" y="1058"/>
                    <a:pt x="2301" y="1058"/>
                    <a:pt x="2301" y="1058"/>
                  </a:cubicBezTo>
                  <a:cubicBezTo>
                    <a:pt x="2293" y="1058"/>
                    <a:pt x="2293" y="1058"/>
                    <a:pt x="2285" y="1074"/>
                  </a:cubicBezTo>
                  <a:cubicBezTo>
                    <a:pt x="2269" y="1082"/>
                    <a:pt x="2222" y="1121"/>
                    <a:pt x="2182" y="1145"/>
                  </a:cubicBezTo>
                  <a:lnTo>
                    <a:pt x="2182" y="1145"/>
                  </a:lnTo>
                  <a:lnTo>
                    <a:pt x="2182" y="1145"/>
                  </a:lnTo>
                  <a:cubicBezTo>
                    <a:pt x="1818" y="1192"/>
                    <a:pt x="1139" y="1279"/>
                    <a:pt x="688" y="1295"/>
                  </a:cubicBezTo>
                  <a:cubicBezTo>
                    <a:pt x="680" y="1303"/>
                    <a:pt x="648" y="1311"/>
                    <a:pt x="641" y="1327"/>
                  </a:cubicBezTo>
                  <a:cubicBezTo>
                    <a:pt x="641" y="1335"/>
                    <a:pt x="633" y="1335"/>
                    <a:pt x="633" y="1335"/>
                  </a:cubicBezTo>
                  <a:cubicBezTo>
                    <a:pt x="617" y="1335"/>
                    <a:pt x="609" y="1327"/>
                    <a:pt x="593" y="1311"/>
                  </a:cubicBezTo>
                  <a:cubicBezTo>
                    <a:pt x="593" y="1311"/>
                    <a:pt x="593" y="1311"/>
                    <a:pt x="585" y="1311"/>
                  </a:cubicBezTo>
                  <a:cubicBezTo>
                    <a:pt x="577" y="1303"/>
                    <a:pt x="562" y="1303"/>
                    <a:pt x="538" y="1303"/>
                  </a:cubicBezTo>
                  <a:cubicBezTo>
                    <a:pt x="522" y="1303"/>
                    <a:pt x="506" y="1303"/>
                    <a:pt x="506" y="1311"/>
                  </a:cubicBezTo>
                  <a:cubicBezTo>
                    <a:pt x="506" y="1319"/>
                    <a:pt x="514" y="1327"/>
                    <a:pt x="514" y="1343"/>
                  </a:cubicBezTo>
                  <a:cubicBezTo>
                    <a:pt x="522" y="1358"/>
                    <a:pt x="530" y="1374"/>
                    <a:pt x="522" y="1390"/>
                  </a:cubicBezTo>
                  <a:cubicBezTo>
                    <a:pt x="514" y="1398"/>
                    <a:pt x="514" y="1398"/>
                    <a:pt x="506" y="1398"/>
                  </a:cubicBezTo>
                  <a:cubicBezTo>
                    <a:pt x="498" y="1398"/>
                    <a:pt x="498" y="1398"/>
                    <a:pt x="490" y="1398"/>
                  </a:cubicBezTo>
                  <a:cubicBezTo>
                    <a:pt x="293" y="1414"/>
                    <a:pt x="151" y="1422"/>
                    <a:pt x="71" y="1422"/>
                  </a:cubicBezTo>
                  <a:close/>
                  <a:moveTo>
                    <a:pt x="16" y="1414"/>
                  </a:moveTo>
                  <a:lnTo>
                    <a:pt x="16" y="1414"/>
                  </a:lnTo>
                  <a:cubicBezTo>
                    <a:pt x="24" y="1414"/>
                    <a:pt x="48" y="1414"/>
                    <a:pt x="71" y="1414"/>
                  </a:cubicBezTo>
                  <a:cubicBezTo>
                    <a:pt x="151" y="1414"/>
                    <a:pt x="293" y="1406"/>
                    <a:pt x="490" y="1390"/>
                  </a:cubicBezTo>
                  <a:cubicBezTo>
                    <a:pt x="498" y="1390"/>
                    <a:pt x="498" y="1390"/>
                    <a:pt x="506" y="1390"/>
                  </a:cubicBezTo>
                  <a:cubicBezTo>
                    <a:pt x="506" y="1390"/>
                    <a:pt x="514" y="1390"/>
                    <a:pt x="514" y="1382"/>
                  </a:cubicBezTo>
                  <a:cubicBezTo>
                    <a:pt x="522" y="1374"/>
                    <a:pt x="514" y="1358"/>
                    <a:pt x="506" y="1343"/>
                  </a:cubicBezTo>
                  <a:cubicBezTo>
                    <a:pt x="506" y="1327"/>
                    <a:pt x="498" y="1319"/>
                    <a:pt x="498" y="1311"/>
                  </a:cubicBezTo>
                  <a:cubicBezTo>
                    <a:pt x="498" y="1303"/>
                    <a:pt x="514" y="1295"/>
                    <a:pt x="538" y="1295"/>
                  </a:cubicBezTo>
                  <a:cubicBezTo>
                    <a:pt x="562" y="1295"/>
                    <a:pt x="577" y="1295"/>
                    <a:pt x="593" y="1303"/>
                  </a:cubicBezTo>
                  <a:cubicBezTo>
                    <a:pt x="593" y="1303"/>
                    <a:pt x="593" y="1311"/>
                    <a:pt x="601" y="1311"/>
                  </a:cubicBezTo>
                  <a:cubicBezTo>
                    <a:pt x="609" y="1319"/>
                    <a:pt x="625" y="1327"/>
                    <a:pt x="633" y="1327"/>
                  </a:cubicBezTo>
                  <a:cubicBezTo>
                    <a:pt x="633" y="1327"/>
                    <a:pt x="633" y="1327"/>
                    <a:pt x="641" y="1319"/>
                  </a:cubicBezTo>
                  <a:cubicBezTo>
                    <a:pt x="648" y="1303"/>
                    <a:pt x="688" y="1287"/>
                    <a:pt x="688" y="1287"/>
                  </a:cubicBezTo>
                  <a:lnTo>
                    <a:pt x="688" y="1287"/>
                  </a:lnTo>
                  <a:cubicBezTo>
                    <a:pt x="1131" y="1271"/>
                    <a:pt x="1811" y="1184"/>
                    <a:pt x="2174" y="1137"/>
                  </a:cubicBezTo>
                  <a:cubicBezTo>
                    <a:pt x="2230" y="1105"/>
                    <a:pt x="2269" y="1074"/>
                    <a:pt x="2277" y="1066"/>
                  </a:cubicBezTo>
                  <a:cubicBezTo>
                    <a:pt x="2285" y="1058"/>
                    <a:pt x="2293" y="1050"/>
                    <a:pt x="2301" y="1050"/>
                  </a:cubicBezTo>
                  <a:lnTo>
                    <a:pt x="2309" y="1058"/>
                  </a:lnTo>
                  <a:cubicBezTo>
                    <a:pt x="2317" y="1058"/>
                    <a:pt x="2317" y="1058"/>
                    <a:pt x="2324" y="1058"/>
                  </a:cubicBezTo>
                  <a:cubicBezTo>
                    <a:pt x="2340" y="1058"/>
                    <a:pt x="2340" y="1050"/>
                    <a:pt x="2348" y="1018"/>
                  </a:cubicBezTo>
                  <a:lnTo>
                    <a:pt x="2348" y="1011"/>
                  </a:lnTo>
                  <a:cubicBezTo>
                    <a:pt x="2356" y="979"/>
                    <a:pt x="2380" y="979"/>
                    <a:pt x="2396" y="979"/>
                  </a:cubicBezTo>
                  <a:cubicBezTo>
                    <a:pt x="2404" y="971"/>
                    <a:pt x="2411" y="971"/>
                    <a:pt x="2411" y="971"/>
                  </a:cubicBezTo>
                  <a:cubicBezTo>
                    <a:pt x="2427" y="963"/>
                    <a:pt x="2427" y="963"/>
                    <a:pt x="2427" y="955"/>
                  </a:cubicBezTo>
                  <a:cubicBezTo>
                    <a:pt x="2427" y="947"/>
                    <a:pt x="2427" y="940"/>
                    <a:pt x="2427" y="931"/>
                  </a:cubicBezTo>
                  <a:cubicBezTo>
                    <a:pt x="2427" y="916"/>
                    <a:pt x="2435" y="908"/>
                    <a:pt x="2443" y="908"/>
                  </a:cubicBezTo>
                  <a:cubicBezTo>
                    <a:pt x="2443" y="908"/>
                    <a:pt x="2443" y="908"/>
                    <a:pt x="2451" y="908"/>
                  </a:cubicBezTo>
                  <a:lnTo>
                    <a:pt x="2451" y="900"/>
                  </a:lnTo>
                  <a:cubicBezTo>
                    <a:pt x="2459" y="892"/>
                    <a:pt x="2483" y="868"/>
                    <a:pt x="2483" y="853"/>
                  </a:cubicBezTo>
                  <a:cubicBezTo>
                    <a:pt x="2483" y="829"/>
                    <a:pt x="2522" y="805"/>
                    <a:pt x="2546" y="789"/>
                  </a:cubicBezTo>
                  <a:cubicBezTo>
                    <a:pt x="2562" y="781"/>
                    <a:pt x="2625" y="726"/>
                    <a:pt x="2633" y="710"/>
                  </a:cubicBezTo>
                  <a:cubicBezTo>
                    <a:pt x="2641" y="694"/>
                    <a:pt x="2680" y="655"/>
                    <a:pt x="2704" y="623"/>
                  </a:cubicBezTo>
                  <a:cubicBezTo>
                    <a:pt x="2696" y="615"/>
                    <a:pt x="2688" y="615"/>
                    <a:pt x="2672" y="607"/>
                  </a:cubicBezTo>
                  <a:cubicBezTo>
                    <a:pt x="2657" y="607"/>
                    <a:pt x="2633" y="607"/>
                    <a:pt x="2601" y="592"/>
                  </a:cubicBezTo>
                  <a:cubicBezTo>
                    <a:pt x="2554" y="568"/>
                    <a:pt x="2546" y="529"/>
                    <a:pt x="2530" y="506"/>
                  </a:cubicBezTo>
                  <a:cubicBezTo>
                    <a:pt x="2530" y="498"/>
                    <a:pt x="2522" y="482"/>
                    <a:pt x="2522" y="474"/>
                  </a:cubicBezTo>
                  <a:cubicBezTo>
                    <a:pt x="2514" y="466"/>
                    <a:pt x="2514" y="466"/>
                    <a:pt x="2514" y="466"/>
                  </a:cubicBezTo>
                  <a:cubicBezTo>
                    <a:pt x="2498" y="435"/>
                    <a:pt x="2483" y="411"/>
                    <a:pt x="2459" y="387"/>
                  </a:cubicBezTo>
                  <a:cubicBezTo>
                    <a:pt x="2427" y="363"/>
                    <a:pt x="2419" y="268"/>
                    <a:pt x="2419" y="261"/>
                  </a:cubicBezTo>
                  <a:cubicBezTo>
                    <a:pt x="2419" y="261"/>
                    <a:pt x="2419" y="253"/>
                    <a:pt x="2427" y="253"/>
                  </a:cubicBezTo>
                  <a:cubicBezTo>
                    <a:pt x="2411" y="237"/>
                    <a:pt x="2404" y="229"/>
                    <a:pt x="2404" y="229"/>
                  </a:cubicBezTo>
                  <a:cubicBezTo>
                    <a:pt x="2404" y="221"/>
                    <a:pt x="2404" y="221"/>
                    <a:pt x="2396" y="213"/>
                  </a:cubicBezTo>
                  <a:cubicBezTo>
                    <a:pt x="2396" y="205"/>
                    <a:pt x="2396" y="197"/>
                    <a:pt x="2388" y="197"/>
                  </a:cubicBezTo>
                  <a:cubicBezTo>
                    <a:pt x="2356" y="189"/>
                    <a:pt x="2340" y="182"/>
                    <a:pt x="2333" y="174"/>
                  </a:cubicBezTo>
                  <a:cubicBezTo>
                    <a:pt x="2324" y="166"/>
                    <a:pt x="2324" y="166"/>
                    <a:pt x="2324" y="158"/>
                  </a:cubicBezTo>
                  <a:cubicBezTo>
                    <a:pt x="2324" y="158"/>
                    <a:pt x="2324" y="158"/>
                    <a:pt x="2317" y="158"/>
                  </a:cubicBezTo>
                  <a:cubicBezTo>
                    <a:pt x="2309" y="150"/>
                    <a:pt x="2293" y="142"/>
                    <a:pt x="2293" y="134"/>
                  </a:cubicBezTo>
                  <a:cubicBezTo>
                    <a:pt x="2285" y="126"/>
                    <a:pt x="2285" y="118"/>
                    <a:pt x="2285" y="118"/>
                  </a:cubicBezTo>
                  <a:cubicBezTo>
                    <a:pt x="2277" y="110"/>
                    <a:pt x="2277" y="110"/>
                    <a:pt x="2277" y="110"/>
                  </a:cubicBezTo>
                  <a:cubicBezTo>
                    <a:pt x="2253" y="126"/>
                    <a:pt x="2253" y="126"/>
                    <a:pt x="2253" y="126"/>
                  </a:cubicBezTo>
                  <a:cubicBezTo>
                    <a:pt x="2246" y="134"/>
                    <a:pt x="2230" y="134"/>
                    <a:pt x="2230" y="142"/>
                  </a:cubicBezTo>
                  <a:cubicBezTo>
                    <a:pt x="2222" y="158"/>
                    <a:pt x="2214" y="158"/>
                    <a:pt x="2206" y="158"/>
                  </a:cubicBezTo>
                  <a:lnTo>
                    <a:pt x="2198" y="158"/>
                  </a:lnTo>
                  <a:cubicBezTo>
                    <a:pt x="2190" y="158"/>
                    <a:pt x="2182" y="158"/>
                    <a:pt x="2182" y="166"/>
                  </a:cubicBezTo>
                  <a:cubicBezTo>
                    <a:pt x="2182" y="174"/>
                    <a:pt x="2166" y="182"/>
                    <a:pt x="2151" y="182"/>
                  </a:cubicBezTo>
                  <a:cubicBezTo>
                    <a:pt x="2135" y="182"/>
                    <a:pt x="2127" y="182"/>
                    <a:pt x="2119" y="174"/>
                  </a:cubicBezTo>
                  <a:cubicBezTo>
                    <a:pt x="2111" y="174"/>
                    <a:pt x="2103" y="166"/>
                    <a:pt x="2087" y="158"/>
                  </a:cubicBezTo>
                  <a:lnTo>
                    <a:pt x="2080" y="158"/>
                  </a:lnTo>
                  <a:cubicBezTo>
                    <a:pt x="2071" y="158"/>
                    <a:pt x="2071" y="166"/>
                    <a:pt x="2064" y="182"/>
                  </a:cubicBezTo>
                  <a:cubicBezTo>
                    <a:pt x="2056" y="189"/>
                    <a:pt x="2056" y="205"/>
                    <a:pt x="2040" y="205"/>
                  </a:cubicBezTo>
                  <a:cubicBezTo>
                    <a:pt x="2040" y="205"/>
                    <a:pt x="2040" y="205"/>
                    <a:pt x="2032" y="205"/>
                  </a:cubicBezTo>
                  <a:cubicBezTo>
                    <a:pt x="2008" y="205"/>
                    <a:pt x="1961" y="174"/>
                    <a:pt x="1953" y="150"/>
                  </a:cubicBezTo>
                  <a:cubicBezTo>
                    <a:pt x="1945" y="150"/>
                    <a:pt x="1937" y="150"/>
                    <a:pt x="1929" y="150"/>
                  </a:cubicBezTo>
                  <a:cubicBezTo>
                    <a:pt x="1921" y="150"/>
                    <a:pt x="1913" y="150"/>
                    <a:pt x="1906" y="150"/>
                  </a:cubicBezTo>
                  <a:cubicBezTo>
                    <a:pt x="1890" y="158"/>
                    <a:pt x="1874" y="158"/>
                    <a:pt x="1858" y="158"/>
                  </a:cubicBezTo>
                  <a:cubicBezTo>
                    <a:pt x="1850" y="158"/>
                    <a:pt x="1842" y="158"/>
                    <a:pt x="1842" y="158"/>
                  </a:cubicBezTo>
                  <a:cubicBezTo>
                    <a:pt x="1811" y="150"/>
                    <a:pt x="1803" y="134"/>
                    <a:pt x="1795" y="118"/>
                  </a:cubicBezTo>
                  <a:cubicBezTo>
                    <a:pt x="1795" y="110"/>
                    <a:pt x="1795" y="102"/>
                    <a:pt x="1787" y="95"/>
                  </a:cubicBezTo>
                  <a:cubicBezTo>
                    <a:pt x="1771" y="87"/>
                    <a:pt x="1763" y="79"/>
                    <a:pt x="1755" y="55"/>
                  </a:cubicBezTo>
                  <a:cubicBezTo>
                    <a:pt x="1747" y="47"/>
                    <a:pt x="1740" y="39"/>
                    <a:pt x="1732" y="24"/>
                  </a:cubicBezTo>
                  <a:cubicBezTo>
                    <a:pt x="1724" y="15"/>
                    <a:pt x="1716" y="15"/>
                    <a:pt x="1716" y="15"/>
                  </a:cubicBezTo>
                  <a:lnTo>
                    <a:pt x="1708" y="15"/>
                  </a:lnTo>
                  <a:cubicBezTo>
                    <a:pt x="1700" y="15"/>
                    <a:pt x="1692" y="24"/>
                    <a:pt x="1684" y="24"/>
                  </a:cubicBezTo>
                  <a:lnTo>
                    <a:pt x="1676" y="24"/>
                  </a:lnTo>
                  <a:cubicBezTo>
                    <a:pt x="1645" y="15"/>
                    <a:pt x="1621" y="8"/>
                    <a:pt x="1589" y="8"/>
                  </a:cubicBezTo>
                  <a:lnTo>
                    <a:pt x="1589" y="8"/>
                  </a:lnTo>
                  <a:cubicBezTo>
                    <a:pt x="1574" y="8"/>
                    <a:pt x="1566" y="31"/>
                    <a:pt x="1566" y="55"/>
                  </a:cubicBezTo>
                  <a:cubicBezTo>
                    <a:pt x="1566" y="55"/>
                    <a:pt x="1558" y="63"/>
                    <a:pt x="1558" y="71"/>
                  </a:cubicBezTo>
                  <a:cubicBezTo>
                    <a:pt x="1558" y="87"/>
                    <a:pt x="1558" y="95"/>
                    <a:pt x="1566" y="110"/>
                  </a:cubicBezTo>
                  <a:cubicBezTo>
                    <a:pt x="1574" y="110"/>
                    <a:pt x="1574" y="110"/>
                    <a:pt x="1574" y="118"/>
                  </a:cubicBezTo>
                  <a:cubicBezTo>
                    <a:pt x="1589" y="142"/>
                    <a:pt x="1589" y="166"/>
                    <a:pt x="1581" y="174"/>
                  </a:cubicBezTo>
                  <a:cubicBezTo>
                    <a:pt x="1581" y="189"/>
                    <a:pt x="1566" y="189"/>
                    <a:pt x="1550" y="189"/>
                  </a:cubicBezTo>
                  <a:cubicBezTo>
                    <a:pt x="1534" y="189"/>
                    <a:pt x="1518" y="189"/>
                    <a:pt x="1502" y="189"/>
                  </a:cubicBezTo>
                  <a:cubicBezTo>
                    <a:pt x="1479" y="197"/>
                    <a:pt x="1487" y="205"/>
                    <a:pt x="1487" y="213"/>
                  </a:cubicBezTo>
                  <a:cubicBezTo>
                    <a:pt x="1487" y="221"/>
                    <a:pt x="1487" y="237"/>
                    <a:pt x="1479" y="245"/>
                  </a:cubicBezTo>
                  <a:cubicBezTo>
                    <a:pt x="1471" y="245"/>
                    <a:pt x="1471" y="253"/>
                    <a:pt x="1463" y="253"/>
                  </a:cubicBezTo>
                  <a:cubicBezTo>
                    <a:pt x="1447" y="253"/>
                    <a:pt x="1431" y="237"/>
                    <a:pt x="1423" y="221"/>
                  </a:cubicBezTo>
                  <a:lnTo>
                    <a:pt x="1415" y="213"/>
                  </a:lnTo>
                  <a:lnTo>
                    <a:pt x="1407" y="213"/>
                  </a:lnTo>
                  <a:cubicBezTo>
                    <a:pt x="1392" y="213"/>
                    <a:pt x="1376" y="229"/>
                    <a:pt x="1376" y="253"/>
                  </a:cubicBezTo>
                  <a:cubicBezTo>
                    <a:pt x="1376" y="268"/>
                    <a:pt x="1376" y="276"/>
                    <a:pt x="1384" y="284"/>
                  </a:cubicBezTo>
                  <a:cubicBezTo>
                    <a:pt x="1384" y="292"/>
                    <a:pt x="1384" y="300"/>
                    <a:pt x="1392" y="308"/>
                  </a:cubicBezTo>
                  <a:cubicBezTo>
                    <a:pt x="1400" y="332"/>
                    <a:pt x="1392" y="332"/>
                    <a:pt x="1376" y="340"/>
                  </a:cubicBezTo>
                  <a:cubicBezTo>
                    <a:pt x="1368" y="340"/>
                    <a:pt x="1368" y="348"/>
                    <a:pt x="1360" y="355"/>
                  </a:cubicBezTo>
                  <a:cubicBezTo>
                    <a:pt x="1352" y="363"/>
                    <a:pt x="1352" y="371"/>
                    <a:pt x="1336" y="371"/>
                  </a:cubicBezTo>
                  <a:cubicBezTo>
                    <a:pt x="1336" y="371"/>
                    <a:pt x="1336" y="371"/>
                    <a:pt x="1328" y="371"/>
                  </a:cubicBezTo>
                  <a:cubicBezTo>
                    <a:pt x="1321" y="371"/>
                    <a:pt x="1313" y="387"/>
                    <a:pt x="1313" y="411"/>
                  </a:cubicBezTo>
                  <a:cubicBezTo>
                    <a:pt x="1313" y="427"/>
                    <a:pt x="1297" y="458"/>
                    <a:pt x="1273" y="458"/>
                  </a:cubicBezTo>
                  <a:cubicBezTo>
                    <a:pt x="1273" y="458"/>
                    <a:pt x="1273" y="458"/>
                    <a:pt x="1265" y="466"/>
                  </a:cubicBezTo>
                  <a:cubicBezTo>
                    <a:pt x="1241" y="490"/>
                    <a:pt x="1218" y="553"/>
                    <a:pt x="1226" y="576"/>
                  </a:cubicBezTo>
                  <a:cubicBezTo>
                    <a:pt x="1226" y="584"/>
                    <a:pt x="1226" y="584"/>
                    <a:pt x="1226" y="592"/>
                  </a:cubicBezTo>
                  <a:cubicBezTo>
                    <a:pt x="1218" y="592"/>
                    <a:pt x="1210" y="600"/>
                    <a:pt x="1202" y="600"/>
                  </a:cubicBezTo>
                  <a:cubicBezTo>
                    <a:pt x="1202" y="600"/>
                    <a:pt x="1194" y="600"/>
                    <a:pt x="1186" y="600"/>
                  </a:cubicBezTo>
                  <a:cubicBezTo>
                    <a:pt x="1178" y="607"/>
                    <a:pt x="1178" y="607"/>
                    <a:pt x="1170" y="607"/>
                  </a:cubicBezTo>
                  <a:cubicBezTo>
                    <a:pt x="1163" y="607"/>
                    <a:pt x="1163" y="600"/>
                    <a:pt x="1154" y="600"/>
                  </a:cubicBezTo>
                  <a:cubicBezTo>
                    <a:pt x="1154" y="592"/>
                    <a:pt x="1154" y="592"/>
                    <a:pt x="1147" y="592"/>
                  </a:cubicBezTo>
                  <a:cubicBezTo>
                    <a:pt x="1147" y="592"/>
                    <a:pt x="1147" y="592"/>
                    <a:pt x="1139" y="592"/>
                  </a:cubicBezTo>
                  <a:cubicBezTo>
                    <a:pt x="1131" y="584"/>
                    <a:pt x="1115" y="584"/>
                    <a:pt x="1107" y="576"/>
                  </a:cubicBezTo>
                  <a:cubicBezTo>
                    <a:pt x="1099" y="568"/>
                    <a:pt x="1091" y="561"/>
                    <a:pt x="1091" y="553"/>
                  </a:cubicBezTo>
                  <a:cubicBezTo>
                    <a:pt x="1083" y="553"/>
                    <a:pt x="1083" y="545"/>
                    <a:pt x="1075" y="545"/>
                  </a:cubicBezTo>
                  <a:lnTo>
                    <a:pt x="1075" y="545"/>
                  </a:lnTo>
                  <a:cubicBezTo>
                    <a:pt x="1068" y="545"/>
                    <a:pt x="1068" y="553"/>
                    <a:pt x="1068" y="553"/>
                  </a:cubicBezTo>
                  <a:cubicBezTo>
                    <a:pt x="1060" y="561"/>
                    <a:pt x="1052" y="568"/>
                    <a:pt x="1052" y="576"/>
                  </a:cubicBezTo>
                  <a:cubicBezTo>
                    <a:pt x="1044" y="576"/>
                    <a:pt x="1044" y="584"/>
                    <a:pt x="1036" y="584"/>
                  </a:cubicBezTo>
                  <a:cubicBezTo>
                    <a:pt x="1028" y="584"/>
                    <a:pt x="1020" y="592"/>
                    <a:pt x="1020" y="607"/>
                  </a:cubicBezTo>
                  <a:lnTo>
                    <a:pt x="1020" y="607"/>
                  </a:lnTo>
                  <a:cubicBezTo>
                    <a:pt x="1012" y="623"/>
                    <a:pt x="1012" y="631"/>
                    <a:pt x="1004" y="631"/>
                  </a:cubicBezTo>
                  <a:cubicBezTo>
                    <a:pt x="996" y="639"/>
                    <a:pt x="996" y="639"/>
                    <a:pt x="996" y="639"/>
                  </a:cubicBezTo>
                  <a:cubicBezTo>
                    <a:pt x="988" y="639"/>
                    <a:pt x="988" y="647"/>
                    <a:pt x="988" y="655"/>
                  </a:cubicBezTo>
                  <a:lnTo>
                    <a:pt x="988" y="663"/>
                  </a:lnTo>
                  <a:cubicBezTo>
                    <a:pt x="988" y="678"/>
                    <a:pt x="988" y="694"/>
                    <a:pt x="988" y="702"/>
                  </a:cubicBezTo>
                  <a:cubicBezTo>
                    <a:pt x="981" y="702"/>
                    <a:pt x="981" y="702"/>
                    <a:pt x="973" y="702"/>
                  </a:cubicBezTo>
                  <a:cubicBezTo>
                    <a:pt x="965" y="702"/>
                    <a:pt x="957" y="694"/>
                    <a:pt x="957" y="694"/>
                  </a:cubicBezTo>
                  <a:lnTo>
                    <a:pt x="957" y="694"/>
                  </a:lnTo>
                  <a:cubicBezTo>
                    <a:pt x="941" y="671"/>
                    <a:pt x="941" y="671"/>
                    <a:pt x="941" y="671"/>
                  </a:cubicBezTo>
                  <a:cubicBezTo>
                    <a:pt x="933" y="663"/>
                    <a:pt x="917" y="655"/>
                    <a:pt x="910" y="647"/>
                  </a:cubicBezTo>
                  <a:lnTo>
                    <a:pt x="910" y="647"/>
                  </a:lnTo>
                  <a:cubicBezTo>
                    <a:pt x="910" y="639"/>
                    <a:pt x="901" y="639"/>
                    <a:pt x="901" y="639"/>
                  </a:cubicBezTo>
                  <a:cubicBezTo>
                    <a:pt x="894" y="639"/>
                    <a:pt x="894" y="639"/>
                    <a:pt x="894" y="647"/>
                  </a:cubicBezTo>
                  <a:cubicBezTo>
                    <a:pt x="886" y="655"/>
                    <a:pt x="886" y="655"/>
                    <a:pt x="878" y="655"/>
                  </a:cubicBezTo>
                  <a:cubicBezTo>
                    <a:pt x="870" y="655"/>
                    <a:pt x="854" y="663"/>
                    <a:pt x="854" y="671"/>
                  </a:cubicBezTo>
                  <a:lnTo>
                    <a:pt x="854" y="671"/>
                  </a:lnTo>
                  <a:cubicBezTo>
                    <a:pt x="846" y="678"/>
                    <a:pt x="846" y="687"/>
                    <a:pt x="830" y="687"/>
                  </a:cubicBezTo>
                  <a:cubicBezTo>
                    <a:pt x="830" y="687"/>
                    <a:pt x="830" y="687"/>
                    <a:pt x="823" y="687"/>
                  </a:cubicBezTo>
                  <a:lnTo>
                    <a:pt x="815" y="687"/>
                  </a:lnTo>
                  <a:cubicBezTo>
                    <a:pt x="815" y="694"/>
                    <a:pt x="815" y="702"/>
                    <a:pt x="815" y="710"/>
                  </a:cubicBezTo>
                  <a:cubicBezTo>
                    <a:pt x="815" y="726"/>
                    <a:pt x="815" y="750"/>
                    <a:pt x="799" y="750"/>
                  </a:cubicBezTo>
                  <a:cubicBezTo>
                    <a:pt x="791" y="750"/>
                    <a:pt x="775" y="742"/>
                    <a:pt x="759" y="726"/>
                  </a:cubicBezTo>
                  <a:cubicBezTo>
                    <a:pt x="751" y="718"/>
                    <a:pt x="751" y="718"/>
                    <a:pt x="743" y="718"/>
                  </a:cubicBezTo>
                  <a:lnTo>
                    <a:pt x="743" y="718"/>
                  </a:lnTo>
                  <a:cubicBezTo>
                    <a:pt x="743" y="718"/>
                    <a:pt x="735" y="718"/>
                    <a:pt x="728" y="718"/>
                  </a:cubicBezTo>
                  <a:cubicBezTo>
                    <a:pt x="720" y="710"/>
                    <a:pt x="712" y="710"/>
                    <a:pt x="712" y="702"/>
                  </a:cubicBezTo>
                  <a:cubicBezTo>
                    <a:pt x="704" y="694"/>
                    <a:pt x="704" y="694"/>
                    <a:pt x="696" y="694"/>
                  </a:cubicBezTo>
                  <a:cubicBezTo>
                    <a:pt x="696" y="694"/>
                    <a:pt x="696" y="687"/>
                    <a:pt x="688" y="687"/>
                  </a:cubicBezTo>
                  <a:cubicBezTo>
                    <a:pt x="680" y="687"/>
                    <a:pt x="657" y="702"/>
                    <a:pt x="641" y="710"/>
                  </a:cubicBezTo>
                  <a:cubicBezTo>
                    <a:pt x="625" y="718"/>
                    <a:pt x="625" y="734"/>
                    <a:pt x="625" y="742"/>
                  </a:cubicBezTo>
                  <a:cubicBezTo>
                    <a:pt x="625" y="750"/>
                    <a:pt x="625" y="750"/>
                    <a:pt x="625" y="750"/>
                  </a:cubicBezTo>
                  <a:lnTo>
                    <a:pt x="617" y="758"/>
                  </a:lnTo>
                  <a:cubicBezTo>
                    <a:pt x="609" y="758"/>
                    <a:pt x="593" y="750"/>
                    <a:pt x="585" y="742"/>
                  </a:cubicBezTo>
                  <a:cubicBezTo>
                    <a:pt x="577" y="742"/>
                    <a:pt x="562" y="734"/>
                    <a:pt x="562" y="734"/>
                  </a:cubicBezTo>
                  <a:cubicBezTo>
                    <a:pt x="546" y="734"/>
                    <a:pt x="530" y="750"/>
                    <a:pt x="530" y="758"/>
                  </a:cubicBezTo>
                  <a:cubicBezTo>
                    <a:pt x="530" y="773"/>
                    <a:pt x="530" y="789"/>
                    <a:pt x="506" y="789"/>
                  </a:cubicBezTo>
                  <a:lnTo>
                    <a:pt x="498" y="781"/>
                  </a:lnTo>
                  <a:cubicBezTo>
                    <a:pt x="490" y="781"/>
                    <a:pt x="483" y="781"/>
                    <a:pt x="467" y="789"/>
                  </a:cubicBezTo>
                  <a:cubicBezTo>
                    <a:pt x="475" y="797"/>
                    <a:pt x="475" y="805"/>
                    <a:pt x="467" y="821"/>
                  </a:cubicBezTo>
                  <a:cubicBezTo>
                    <a:pt x="459" y="821"/>
                    <a:pt x="459" y="829"/>
                    <a:pt x="451" y="837"/>
                  </a:cubicBezTo>
                  <a:cubicBezTo>
                    <a:pt x="435" y="853"/>
                    <a:pt x="427" y="860"/>
                    <a:pt x="443" y="868"/>
                  </a:cubicBezTo>
                  <a:cubicBezTo>
                    <a:pt x="451" y="876"/>
                    <a:pt x="451" y="876"/>
                    <a:pt x="451" y="876"/>
                  </a:cubicBezTo>
                  <a:cubicBezTo>
                    <a:pt x="467" y="892"/>
                    <a:pt x="475" y="908"/>
                    <a:pt x="475" y="916"/>
                  </a:cubicBezTo>
                  <a:cubicBezTo>
                    <a:pt x="475" y="924"/>
                    <a:pt x="475" y="924"/>
                    <a:pt x="467" y="924"/>
                  </a:cubicBezTo>
                  <a:cubicBezTo>
                    <a:pt x="459" y="931"/>
                    <a:pt x="451" y="931"/>
                    <a:pt x="435" y="931"/>
                  </a:cubicBezTo>
                  <a:cubicBezTo>
                    <a:pt x="404" y="940"/>
                    <a:pt x="340" y="947"/>
                    <a:pt x="324" y="971"/>
                  </a:cubicBezTo>
                  <a:cubicBezTo>
                    <a:pt x="317" y="979"/>
                    <a:pt x="317" y="987"/>
                    <a:pt x="317" y="995"/>
                  </a:cubicBezTo>
                  <a:cubicBezTo>
                    <a:pt x="324" y="1026"/>
                    <a:pt x="332" y="1042"/>
                    <a:pt x="340" y="1050"/>
                  </a:cubicBezTo>
                  <a:cubicBezTo>
                    <a:pt x="348" y="1066"/>
                    <a:pt x="356" y="1082"/>
                    <a:pt x="348" y="1098"/>
                  </a:cubicBezTo>
                  <a:cubicBezTo>
                    <a:pt x="348" y="1113"/>
                    <a:pt x="324" y="1145"/>
                    <a:pt x="301" y="1145"/>
                  </a:cubicBezTo>
                  <a:cubicBezTo>
                    <a:pt x="285" y="1145"/>
                    <a:pt x="277" y="1145"/>
                    <a:pt x="269" y="1137"/>
                  </a:cubicBezTo>
                  <a:cubicBezTo>
                    <a:pt x="253" y="1121"/>
                    <a:pt x="214" y="1105"/>
                    <a:pt x="174" y="1105"/>
                  </a:cubicBezTo>
                  <a:cubicBezTo>
                    <a:pt x="158" y="1105"/>
                    <a:pt x="135" y="1113"/>
                    <a:pt x="119" y="1129"/>
                  </a:cubicBezTo>
                  <a:cubicBezTo>
                    <a:pt x="103" y="1145"/>
                    <a:pt x="95" y="1161"/>
                    <a:pt x="95" y="1192"/>
                  </a:cubicBezTo>
                  <a:cubicBezTo>
                    <a:pt x="103" y="1200"/>
                    <a:pt x="119" y="1248"/>
                    <a:pt x="111" y="1279"/>
                  </a:cubicBezTo>
                  <a:cubicBezTo>
                    <a:pt x="103" y="1287"/>
                    <a:pt x="103" y="1295"/>
                    <a:pt x="95" y="1295"/>
                  </a:cubicBezTo>
                  <a:cubicBezTo>
                    <a:pt x="87" y="1295"/>
                    <a:pt x="79" y="1295"/>
                    <a:pt x="79" y="1295"/>
                  </a:cubicBezTo>
                  <a:cubicBezTo>
                    <a:pt x="79" y="1295"/>
                    <a:pt x="79" y="1303"/>
                    <a:pt x="79" y="1311"/>
                  </a:cubicBezTo>
                  <a:cubicBezTo>
                    <a:pt x="79" y="1319"/>
                    <a:pt x="79" y="1335"/>
                    <a:pt x="79" y="1358"/>
                  </a:cubicBezTo>
                  <a:cubicBezTo>
                    <a:pt x="64" y="1390"/>
                    <a:pt x="64" y="1390"/>
                    <a:pt x="56" y="1390"/>
                  </a:cubicBezTo>
                  <a:cubicBezTo>
                    <a:pt x="56" y="1390"/>
                    <a:pt x="56" y="1390"/>
                    <a:pt x="48" y="1390"/>
                  </a:cubicBezTo>
                  <a:cubicBezTo>
                    <a:pt x="48" y="1390"/>
                    <a:pt x="48" y="1390"/>
                    <a:pt x="40" y="1390"/>
                  </a:cubicBezTo>
                  <a:lnTo>
                    <a:pt x="40" y="1390"/>
                  </a:lnTo>
                  <a:cubicBezTo>
                    <a:pt x="24" y="1390"/>
                    <a:pt x="16" y="1398"/>
                    <a:pt x="16" y="1406"/>
                  </a:cubicBezTo>
                  <a:cubicBezTo>
                    <a:pt x="16" y="1414"/>
                    <a:pt x="16" y="1414"/>
                    <a:pt x="16" y="1414"/>
                  </a:cubicBezTo>
                  <a:close/>
                </a:path>
              </a:pathLst>
            </a:custGeom>
            <a:grpFill/>
            <a:ln>
              <a:solidFill>
                <a:schemeClr val="bg1">
                  <a:lumMod val="95000"/>
                </a:schemeClr>
              </a:solidFill>
            </a:ln>
            <a:effectLst/>
          </p:spPr>
          <p:txBody>
            <a:bodyPr wrap="none" anchor="ctr"/>
            <a:lstStyle/>
            <a:p>
              <a:endParaRPr lang="en-US" sz="900"/>
            </a:p>
          </p:txBody>
        </p:sp>
        <p:sp>
          <p:nvSpPr>
            <p:cNvPr id="115" name="Freeform 783"/>
            <p:cNvSpPr>
              <a:spLocks noChangeArrowheads="1"/>
            </p:cNvSpPr>
            <p:nvPr/>
          </p:nvSpPr>
          <p:spPr bwMode="auto">
            <a:xfrm>
              <a:off x="13923035" y="5340361"/>
              <a:ext cx="598381" cy="1055283"/>
            </a:xfrm>
            <a:custGeom>
              <a:avLst/>
              <a:gdLst>
                <a:gd name="T0" fmla="*/ 933 w 1139"/>
                <a:gd name="T1" fmla="*/ 8 h 2008"/>
                <a:gd name="T2" fmla="*/ 933 w 1139"/>
                <a:gd name="T3" fmla="*/ 8 h 2008"/>
                <a:gd name="T4" fmla="*/ 261 w 1139"/>
                <a:gd name="T5" fmla="*/ 87 h 2008"/>
                <a:gd name="T6" fmla="*/ 111 w 1139"/>
                <a:gd name="T7" fmla="*/ 158 h 2008"/>
                <a:gd name="T8" fmla="*/ 32 w 1139"/>
                <a:gd name="T9" fmla="*/ 135 h 2008"/>
                <a:gd name="T10" fmla="*/ 126 w 1139"/>
                <a:gd name="T11" fmla="*/ 1178 h 2008"/>
                <a:gd name="T12" fmla="*/ 111 w 1139"/>
                <a:gd name="T13" fmla="*/ 1281 h 2008"/>
                <a:gd name="T14" fmla="*/ 95 w 1139"/>
                <a:gd name="T15" fmla="*/ 1360 h 2008"/>
                <a:gd name="T16" fmla="*/ 134 w 1139"/>
                <a:gd name="T17" fmla="*/ 1423 h 2008"/>
                <a:gd name="T18" fmla="*/ 150 w 1139"/>
                <a:gd name="T19" fmla="*/ 1502 h 2008"/>
                <a:gd name="T20" fmla="*/ 158 w 1139"/>
                <a:gd name="T21" fmla="*/ 1581 h 2008"/>
                <a:gd name="T22" fmla="*/ 119 w 1139"/>
                <a:gd name="T23" fmla="*/ 1637 h 2008"/>
                <a:gd name="T24" fmla="*/ 39 w 1139"/>
                <a:gd name="T25" fmla="*/ 1771 h 2008"/>
                <a:gd name="T26" fmla="*/ 24 w 1139"/>
                <a:gd name="T27" fmla="*/ 1833 h 2008"/>
                <a:gd name="T28" fmla="*/ 16 w 1139"/>
                <a:gd name="T29" fmla="*/ 1889 h 2008"/>
                <a:gd name="T30" fmla="*/ 0 w 1139"/>
                <a:gd name="T31" fmla="*/ 1960 h 2008"/>
                <a:gd name="T32" fmla="*/ 16 w 1139"/>
                <a:gd name="T33" fmla="*/ 2007 h 2008"/>
                <a:gd name="T34" fmla="*/ 47 w 1139"/>
                <a:gd name="T35" fmla="*/ 2007 h 2008"/>
                <a:gd name="T36" fmla="*/ 79 w 1139"/>
                <a:gd name="T37" fmla="*/ 1984 h 2008"/>
                <a:gd name="T38" fmla="*/ 111 w 1139"/>
                <a:gd name="T39" fmla="*/ 1960 h 2008"/>
                <a:gd name="T40" fmla="*/ 174 w 1139"/>
                <a:gd name="T41" fmla="*/ 1968 h 2008"/>
                <a:gd name="T42" fmla="*/ 190 w 1139"/>
                <a:gd name="T43" fmla="*/ 1936 h 2008"/>
                <a:gd name="T44" fmla="*/ 245 w 1139"/>
                <a:gd name="T45" fmla="*/ 1913 h 2008"/>
                <a:gd name="T46" fmla="*/ 284 w 1139"/>
                <a:gd name="T47" fmla="*/ 1936 h 2008"/>
                <a:gd name="T48" fmla="*/ 316 w 1139"/>
                <a:gd name="T49" fmla="*/ 1952 h 2008"/>
                <a:gd name="T50" fmla="*/ 348 w 1139"/>
                <a:gd name="T51" fmla="*/ 1968 h 2008"/>
                <a:gd name="T52" fmla="*/ 356 w 1139"/>
                <a:gd name="T53" fmla="*/ 1936 h 2008"/>
                <a:gd name="T54" fmla="*/ 372 w 1139"/>
                <a:gd name="T55" fmla="*/ 1913 h 2008"/>
                <a:gd name="T56" fmla="*/ 395 w 1139"/>
                <a:gd name="T57" fmla="*/ 1897 h 2008"/>
                <a:gd name="T58" fmla="*/ 427 w 1139"/>
                <a:gd name="T59" fmla="*/ 1881 h 2008"/>
                <a:gd name="T60" fmla="*/ 450 w 1139"/>
                <a:gd name="T61" fmla="*/ 1857 h 2008"/>
                <a:gd name="T62" fmla="*/ 466 w 1139"/>
                <a:gd name="T63" fmla="*/ 1873 h 2008"/>
                <a:gd name="T64" fmla="*/ 498 w 1139"/>
                <a:gd name="T65" fmla="*/ 1897 h 2008"/>
                <a:gd name="T66" fmla="*/ 506 w 1139"/>
                <a:gd name="T67" fmla="*/ 1920 h 2008"/>
                <a:gd name="T68" fmla="*/ 530 w 1139"/>
                <a:gd name="T69" fmla="*/ 1920 h 2008"/>
                <a:gd name="T70" fmla="*/ 530 w 1139"/>
                <a:gd name="T71" fmla="*/ 1881 h 2008"/>
                <a:gd name="T72" fmla="*/ 545 w 1139"/>
                <a:gd name="T73" fmla="*/ 1857 h 2008"/>
                <a:gd name="T74" fmla="*/ 561 w 1139"/>
                <a:gd name="T75" fmla="*/ 1833 h 2008"/>
                <a:gd name="T76" fmla="*/ 593 w 1139"/>
                <a:gd name="T77" fmla="*/ 1802 h 2008"/>
                <a:gd name="T78" fmla="*/ 624 w 1139"/>
                <a:gd name="T79" fmla="*/ 1763 h 2008"/>
                <a:gd name="T80" fmla="*/ 656 w 1139"/>
                <a:gd name="T81" fmla="*/ 1794 h 2008"/>
                <a:gd name="T82" fmla="*/ 703 w 1139"/>
                <a:gd name="T83" fmla="*/ 1818 h 2008"/>
                <a:gd name="T84" fmla="*/ 735 w 1139"/>
                <a:gd name="T85" fmla="*/ 1826 h 2008"/>
                <a:gd name="T86" fmla="*/ 775 w 1139"/>
                <a:gd name="T87" fmla="*/ 1802 h 2008"/>
                <a:gd name="T88" fmla="*/ 822 w 1139"/>
                <a:gd name="T89" fmla="*/ 1676 h 2008"/>
                <a:gd name="T90" fmla="*/ 862 w 1139"/>
                <a:gd name="T91" fmla="*/ 1637 h 2008"/>
                <a:gd name="T92" fmla="*/ 877 w 1139"/>
                <a:gd name="T93" fmla="*/ 1589 h 2008"/>
                <a:gd name="T94" fmla="*/ 909 w 1139"/>
                <a:gd name="T95" fmla="*/ 1574 h 2008"/>
                <a:gd name="T96" fmla="*/ 941 w 1139"/>
                <a:gd name="T97" fmla="*/ 1534 h 2008"/>
                <a:gd name="T98" fmla="*/ 925 w 1139"/>
                <a:gd name="T99" fmla="*/ 1479 h 2008"/>
                <a:gd name="T100" fmla="*/ 964 w 1139"/>
                <a:gd name="T101" fmla="*/ 1439 h 2008"/>
                <a:gd name="T102" fmla="*/ 1020 w 1139"/>
                <a:gd name="T103" fmla="*/ 1471 h 2008"/>
                <a:gd name="T104" fmla="*/ 1051 w 1139"/>
                <a:gd name="T105" fmla="*/ 1415 h 2008"/>
                <a:gd name="T106" fmla="*/ 1130 w 1139"/>
                <a:gd name="T107" fmla="*/ 1400 h 2008"/>
                <a:gd name="T108" fmla="*/ 1123 w 1139"/>
                <a:gd name="T109" fmla="*/ 1344 h 2008"/>
                <a:gd name="T110" fmla="*/ 1107 w 1139"/>
                <a:gd name="T111" fmla="*/ 1297 h 2008"/>
                <a:gd name="T112" fmla="*/ 1123 w 1139"/>
                <a:gd name="T113" fmla="*/ 1250 h 2008"/>
                <a:gd name="T114" fmla="*/ 972 w 1139"/>
                <a:gd name="T115" fmla="*/ 32 h 2008"/>
                <a:gd name="T116" fmla="*/ 933 w 1139"/>
                <a:gd name="T117" fmla="*/ 8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9" h="2008">
                  <a:moveTo>
                    <a:pt x="933" y="8"/>
                  </a:moveTo>
                  <a:lnTo>
                    <a:pt x="933" y="8"/>
                  </a:lnTo>
                  <a:cubicBezTo>
                    <a:pt x="261" y="87"/>
                    <a:pt x="261" y="87"/>
                    <a:pt x="261" y="87"/>
                  </a:cubicBezTo>
                  <a:cubicBezTo>
                    <a:pt x="221" y="119"/>
                    <a:pt x="166" y="158"/>
                    <a:pt x="111" y="158"/>
                  </a:cubicBezTo>
                  <a:cubicBezTo>
                    <a:pt x="79" y="158"/>
                    <a:pt x="47" y="151"/>
                    <a:pt x="32" y="135"/>
                  </a:cubicBezTo>
                  <a:cubicBezTo>
                    <a:pt x="126" y="1178"/>
                    <a:pt x="126" y="1178"/>
                    <a:pt x="126" y="1178"/>
                  </a:cubicBezTo>
                  <a:cubicBezTo>
                    <a:pt x="126" y="1178"/>
                    <a:pt x="126" y="1257"/>
                    <a:pt x="111" y="1281"/>
                  </a:cubicBezTo>
                  <a:cubicBezTo>
                    <a:pt x="103" y="1297"/>
                    <a:pt x="79" y="1336"/>
                    <a:pt x="95" y="1360"/>
                  </a:cubicBezTo>
                  <a:cubicBezTo>
                    <a:pt x="119" y="1392"/>
                    <a:pt x="134" y="1368"/>
                    <a:pt x="134" y="1423"/>
                  </a:cubicBezTo>
                  <a:cubicBezTo>
                    <a:pt x="134" y="1471"/>
                    <a:pt x="134" y="1494"/>
                    <a:pt x="150" y="1502"/>
                  </a:cubicBezTo>
                  <a:cubicBezTo>
                    <a:pt x="166" y="1510"/>
                    <a:pt x="182" y="1566"/>
                    <a:pt x="158" y="1581"/>
                  </a:cubicBezTo>
                  <a:cubicBezTo>
                    <a:pt x="134" y="1597"/>
                    <a:pt x="119" y="1613"/>
                    <a:pt x="119" y="1637"/>
                  </a:cubicBezTo>
                  <a:cubicBezTo>
                    <a:pt x="119" y="1653"/>
                    <a:pt x="63" y="1763"/>
                    <a:pt x="39" y="1771"/>
                  </a:cubicBezTo>
                  <a:cubicBezTo>
                    <a:pt x="16" y="1779"/>
                    <a:pt x="24" y="1818"/>
                    <a:pt x="24" y="1833"/>
                  </a:cubicBezTo>
                  <a:cubicBezTo>
                    <a:pt x="32" y="1841"/>
                    <a:pt x="24" y="1873"/>
                    <a:pt x="16" y="1889"/>
                  </a:cubicBezTo>
                  <a:cubicBezTo>
                    <a:pt x="0" y="1913"/>
                    <a:pt x="0" y="1928"/>
                    <a:pt x="0" y="1960"/>
                  </a:cubicBezTo>
                  <a:cubicBezTo>
                    <a:pt x="0" y="1984"/>
                    <a:pt x="8" y="1999"/>
                    <a:pt x="16" y="2007"/>
                  </a:cubicBezTo>
                  <a:cubicBezTo>
                    <a:pt x="24" y="2007"/>
                    <a:pt x="39" y="2007"/>
                    <a:pt x="47" y="2007"/>
                  </a:cubicBezTo>
                  <a:cubicBezTo>
                    <a:pt x="71" y="2007"/>
                    <a:pt x="79" y="1999"/>
                    <a:pt x="79" y="1984"/>
                  </a:cubicBezTo>
                  <a:cubicBezTo>
                    <a:pt x="79" y="1976"/>
                    <a:pt x="95" y="1960"/>
                    <a:pt x="111" y="1960"/>
                  </a:cubicBezTo>
                  <a:cubicBezTo>
                    <a:pt x="126" y="1960"/>
                    <a:pt x="174" y="1984"/>
                    <a:pt x="174" y="1968"/>
                  </a:cubicBezTo>
                  <a:cubicBezTo>
                    <a:pt x="166" y="1952"/>
                    <a:pt x="174" y="1944"/>
                    <a:pt x="190" y="1936"/>
                  </a:cubicBezTo>
                  <a:cubicBezTo>
                    <a:pt x="206" y="1920"/>
                    <a:pt x="229" y="1913"/>
                    <a:pt x="245" y="1913"/>
                  </a:cubicBezTo>
                  <a:cubicBezTo>
                    <a:pt x="261" y="1920"/>
                    <a:pt x="261" y="1936"/>
                    <a:pt x="284" y="1936"/>
                  </a:cubicBezTo>
                  <a:cubicBezTo>
                    <a:pt x="300" y="1944"/>
                    <a:pt x="300" y="1936"/>
                    <a:pt x="316" y="1952"/>
                  </a:cubicBezTo>
                  <a:cubicBezTo>
                    <a:pt x="332" y="1968"/>
                    <a:pt x="340" y="1976"/>
                    <a:pt x="348" y="1968"/>
                  </a:cubicBezTo>
                  <a:cubicBezTo>
                    <a:pt x="356" y="1968"/>
                    <a:pt x="364" y="1952"/>
                    <a:pt x="356" y="1936"/>
                  </a:cubicBezTo>
                  <a:cubicBezTo>
                    <a:pt x="356" y="1920"/>
                    <a:pt x="364" y="1904"/>
                    <a:pt x="372" y="1913"/>
                  </a:cubicBezTo>
                  <a:cubicBezTo>
                    <a:pt x="387" y="1913"/>
                    <a:pt x="395" y="1904"/>
                    <a:pt x="395" y="1897"/>
                  </a:cubicBezTo>
                  <a:cubicBezTo>
                    <a:pt x="403" y="1889"/>
                    <a:pt x="419" y="1881"/>
                    <a:pt x="427" y="1881"/>
                  </a:cubicBezTo>
                  <a:cubicBezTo>
                    <a:pt x="435" y="1881"/>
                    <a:pt x="443" y="1865"/>
                    <a:pt x="450" y="1857"/>
                  </a:cubicBezTo>
                  <a:cubicBezTo>
                    <a:pt x="459" y="1857"/>
                    <a:pt x="459" y="1865"/>
                    <a:pt x="466" y="1873"/>
                  </a:cubicBezTo>
                  <a:cubicBezTo>
                    <a:pt x="466" y="1881"/>
                    <a:pt x="498" y="1897"/>
                    <a:pt x="498" y="1897"/>
                  </a:cubicBezTo>
                  <a:cubicBezTo>
                    <a:pt x="506" y="1920"/>
                    <a:pt x="506" y="1920"/>
                    <a:pt x="506" y="1920"/>
                  </a:cubicBezTo>
                  <a:cubicBezTo>
                    <a:pt x="506" y="1920"/>
                    <a:pt x="530" y="1928"/>
                    <a:pt x="530" y="1920"/>
                  </a:cubicBezTo>
                  <a:cubicBezTo>
                    <a:pt x="537" y="1913"/>
                    <a:pt x="530" y="1889"/>
                    <a:pt x="530" y="1881"/>
                  </a:cubicBezTo>
                  <a:cubicBezTo>
                    <a:pt x="530" y="1873"/>
                    <a:pt x="530" y="1865"/>
                    <a:pt x="545" y="1857"/>
                  </a:cubicBezTo>
                  <a:cubicBezTo>
                    <a:pt x="561" y="1849"/>
                    <a:pt x="561" y="1849"/>
                    <a:pt x="561" y="1833"/>
                  </a:cubicBezTo>
                  <a:cubicBezTo>
                    <a:pt x="569" y="1810"/>
                    <a:pt x="585" y="1810"/>
                    <a:pt x="593" y="1802"/>
                  </a:cubicBezTo>
                  <a:cubicBezTo>
                    <a:pt x="609" y="1787"/>
                    <a:pt x="617" y="1763"/>
                    <a:pt x="624" y="1763"/>
                  </a:cubicBezTo>
                  <a:cubicBezTo>
                    <a:pt x="632" y="1763"/>
                    <a:pt x="640" y="1787"/>
                    <a:pt x="656" y="1794"/>
                  </a:cubicBezTo>
                  <a:cubicBezTo>
                    <a:pt x="672" y="1810"/>
                    <a:pt x="688" y="1810"/>
                    <a:pt x="703" y="1818"/>
                  </a:cubicBezTo>
                  <a:cubicBezTo>
                    <a:pt x="712" y="1818"/>
                    <a:pt x="712" y="1833"/>
                    <a:pt x="735" y="1826"/>
                  </a:cubicBezTo>
                  <a:cubicBezTo>
                    <a:pt x="759" y="1818"/>
                    <a:pt x="775" y="1826"/>
                    <a:pt x="775" y="1802"/>
                  </a:cubicBezTo>
                  <a:cubicBezTo>
                    <a:pt x="767" y="1779"/>
                    <a:pt x="806" y="1676"/>
                    <a:pt x="822" y="1676"/>
                  </a:cubicBezTo>
                  <a:cubicBezTo>
                    <a:pt x="838" y="1684"/>
                    <a:pt x="862" y="1653"/>
                    <a:pt x="862" y="1637"/>
                  </a:cubicBezTo>
                  <a:cubicBezTo>
                    <a:pt x="862" y="1613"/>
                    <a:pt x="862" y="1597"/>
                    <a:pt x="877" y="1589"/>
                  </a:cubicBezTo>
                  <a:cubicBezTo>
                    <a:pt x="893" y="1589"/>
                    <a:pt x="893" y="1597"/>
                    <a:pt x="909" y="1574"/>
                  </a:cubicBezTo>
                  <a:cubicBezTo>
                    <a:pt x="917" y="1558"/>
                    <a:pt x="949" y="1566"/>
                    <a:pt x="941" y="1534"/>
                  </a:cubicBezTo>
                  <a:cubicBezTo>
                    <a:pt x="925" y="1502"/>
                    <a:pt x="917" y="1510"/>
                    <a:pt x="925" y="1479"/>
                  </a:cubicBezTo>
                  <a:cubicBezTo>
                    <a:pt x="925" y="1439"/>
                    <a:pt x="956" y="1423"/>
                    <a:pt x="964" y="1439"/>
                  </a:cubicBezTo>
                  <a:cubicBezTo>
                    <a:pt x="980" y="1447"/>
                    <a:pt x="1004" y="1487"/>
                    <a:pt x="1020" y="1471"/>
                  </a:cubicBezTo>
                  <a:cubicBezTo>
                    <a:pt x="1043" y="1447"/>
                    <a:pt x="1012" y="1423"/>
                    <a:pt x="1051" y="1415"/>
                  </a:cubicBezTo>
                  <a:cubicBezTo>
                    <a:pt x="1099" y="1408"/>
                    <a:pt x="1130" y="1415"/>
                    <a:pt x="1130" y="1400"/>
                  </a:cubicBezTo>
                  <a:cubicBezTo>
                    <a:pt x="1130" y="1392"/>
                    <a:pt x="1138" y="1368"/>
                    <a:pt x="1123" y="1344"/>
                  </a:cubicBezTo>
                  <a:cubicBezTo>
                    <a:pt x="1107" y="1328"/>
                    <a:pt x="1099" y="1321"/>
                    <a:pt x="1107" y="1297"/>
                  </a:cubicBezTo>
                  <a:cubicBezTo>
                    <a:pt x="1107" y="1281"/>
                    <a:pt x="1115" y="1257"/>
                    <a:pt x="1123" y="1250"/>
                  </a:cubicBezTo>
                  <a:cubicBezTo>
                    <a:pt x="972" y="32"/>
                    <a:pt x="972" y="32"/>
                    <a:pt x="972" y="32"/>
                  </a:cubicBezTo>
                  <a:cubicBezTo>
                    <a:pt x="949" y="0"/>
                    <a:pt x="933" y="8"/>
                    <a:pt x="933" y="8"/>
                  </a:cubicBezTo>
                </a:path>
              </a:pathLst>
            </a:custGeom>
            <a:grpFill/>
            <a:ln>
              <a:solidFill>
                <a:schemeClr val="bg1">
                  <a:lumMod val="95000"/>
                </a:schemeClr>
              </a:solidFill>
            </a:ln>
            <a:effectLst/>
          </p:spPr>
          <p:txBody>
            <a:bodyPr wrap="none" anchor="ctr"/>
            <a:lstStyle/>
            <a:p>
              <a:endParaRPr lang="en-US" sz="900"/>
            </a:p>
          </p:txBody>
        </p:sp>
        <p:sp>
          <p:nvSpPr>
            <p:cNvPr id="116" name="Freeform 784"/>
            <p:cNvSpPr>
              <a:spLocks noChangeArrowheads="1"/>
            </p:cNvSpPr>
            <p:nvPr/>
          </p:nvSpPr>
          <p:spPr bwMode="auto">
            <a:xfrm>
              <a:off x="13923035" y="5340361"/>
              <a:ext cx="598381" cy="1059922"/>
            </a:xfrm>
            <a:custGeom>
              <a:avLst/>
              <a:gdLst>
                <a:gd name="T0" fmla="*/ 8 w 1139"/>
                <a:gd name="T1" fmla="*/ 1999 h 2016"/>
                <a:gd name="T2" fmla="*/ 24 w 1139"/>
                <a:gd name="T3" fmla="*/ 1826 h 2016"/>
                <a:gd name="T4" fmla="*/ 166 w 1139"/>
                <a:gd name="T5" fmla="*/ 1550 h 2016"/>
                <a:gd name="T6" fmla="*/ 119 w 1139"/>
                <a:gd name="T7" fmla="*/ 1384 h 2016"/>
                <a:gd name="T8" fmla="*/ 24 w 1139"/>
                <a:gd name="T9" fmla="*/ 127 h 2016"/>
                <a:gd name="T10" fmla="*/ 261 w 1139"/>
                <a:gd name="T11" fmla="*/ 80 h 2016"/>
                <a:gd name="T12" fmla="*/ 972 w 1139"/>
                <a:gd name="T13" fmla="*/ 24 h 2016"/>
                <a:gd name="T14" fmla="*/ 1115 w 1139"/>
                <a:gd name="T15" fmla="*/ 1281 h 2016"/>
                <a:gd name="T16" fmla="*/ 1130 w 1139"/>
                <a:gd name="T17" fmla="*/ 1400 h 2016"/>
                <a:gd name="T18" fmla="*/ 1028 w 1139"/>
                <a:gd name="T19" fmla="*/ 1471 h 2016"/>
                <a:gd name="T20" fmla="*/ 956 w 1139"/>
                <a:gd name="T21" fmla="*/ 1439 h 2016"/>
                <a:gd name="T22" fmla="*/ 925 w 1139"/>
                <a:gd name="T23" fmla="*/ 1566 h 2016"/>
                <a:gd name="T24" fmla="*/ 862 w 1139"/>
                <a:gd name="T25" fmla="*/ 1637 h 2016"/>
                <a:gd name="T26" fmla="*/ 775 w 1139"/>
                <a:gd name="T27" fmla="*/ 1818 h 2016"/>
                <a:gd name="T28" fmla="*/ 703 w 1139"/>
                <a:gd name="T29" fmla="*/ 1826 h 2016"/>
                <a:gd name="T30" fmla="*/ 640 w 1139"/>
                <a:gd name="T31" fmla="*/ 1779 h 2016"/>
                <a:gd name="T32" fmla="*/ 601 w 1139"/>
                <a:gd name="T33" fmla="*/ 1802 h 2016"/>
                <a:gd name="T34" fmla="*/ 553 w 1139"/>
                <a:gd name="T35" fmla="*/ 1857 h 2016"/>
                <a:gd name="T36" fmla="*/ 537 w 1139"/>
                <a:gd name="T37" fmla="*/ 1928 h 2016"/>
                <a:gd name="T38" fmla="*/ 490 w 1139"/>
                <a:gd name="T39" fmla="*/ 1897 h 2016"/>
                <a:gd name="T40" fmla="*/ 443 w 1139"/>
                <a:gd name="T41" fmla="*/ 1873 h 2016"/>
                <a:gd name="T42" fmla="*/ 379 w 1139"/>
                <a:gd name="T43" fmla="*/ 1913 h 2016"/>
                <a:gd name="T44" fmla="*/ 348 w 1139"/>
                <a:gd name="T45" fmla="*/ 1976 h 2016"/>
                <a:gd name="T46" fmla="*/ 277 w 1139"/>
                <a:gd name="T47" fmla="*/ 1944 h 2016"/>
                <a:gd name="T48" fmla="*/ 190 w 1139"/>
                <a:gd name="T49" fmla="*/ 1936 h 2016"/>
                <a:gd name="T50" fmla="*/ 134 w 1139"/>
                <a:gd name="T51" fmla="*/ 1968 h 2016"/>
                <a:gd name="T52" fmla="*/ 47 w 1139"/>
                <a:gd name="T53" fmla="*/ 2007 h 2016"/>
                <a:gd name="T54" fmla="*/ 32 w 1139"/>
                <a:gd name="T55" fmla="*/ 143 h 2016"/>
                <a:gd name="T56" fmla="*/ 119 w 1139"/>
                <a:gd name="T57" fmla="*/ 1376 h 2016"/>
                <a:gd name="T58" fmla="*/ 174 w 1139"/>
                <a:gd name="T59" fmla="*/ 1550 h 2016"/>
                <a:gd name="T60" fmla="*/ 32 w 1139"/>
                <a:gd name="T61" fmla="*/ 1826 h 2016"/>
                <a:gd name="T62" fmla="*/ 16 w 1139"/>
                <a:gd name="T63" fmla="*/ 1999 h 2016"/>
                <a:gd name="T64" fmla="*/ 71 w 1139"/>
                <a:gd name="T65" fmla="*/ 1984 h 2016"/>
                <a:gd name="T66" fmla="*/ 166 w 1139"/>
                <a:gd name="T67" fmla="*/ 1976 h 2016"/>
                <a:gd name="T68" fmla="*/ 245 w 1139"/>
                <a:gd name="T69" fmla="*/ 1913 h 2016"/>
                <a:gd name="T70" fmla="*/ 292 w 1139"/>
                <a:gd name="T71" fmla="*/ 1936 h 2016"/>
                <a:gd name="T72" fmla="*/ 356 w 1139"/>
                <a:gd name="T73" fmla="*/ 1913 h 2016"/>
                <a:gd name="T74" fmla="*/ 427 w 1139"/>
                <a:gd name="T75" fmla="*/ 1873 h 2016"/>
                <a:gd name="T76" fmla="*/ 466 w 1139"/>
                <a:gd name="T77" fmla="*/ 1865 h 2016"/>
                <a:gd name="T78" fmla="*/ 506 w 1139"/>
                <a:gd name="T79" fmla="*/ 1913 h 2016"/>
                <a:gd name="T80" fmla="*/ 530 w 1139"/>
                <a:gd name="T81" fmla="*/ 1881 h 2016"/>
                <a:gd name="T82" fmla="*/ 561 w 1139"/>
                <a:gd name="T83" fmla="*/ 1833 h 2016"/>
                <a:gd name="T84" fmla="*/ 624 w 1139"/>
                <a:gd name="T85" fmla="*/ 1763 h 2016"/>
                <a:gd name="T86" fmla="*/ 696 w 1139"/>
                <a:gd name="T87" fmla="*/ 1810 h 2016"/>
                <a:gd name="T88" fmla="*/ 735 w 1139"/>
                <a:gd name="T89" fmla="*/ 1818 h 2016"/>
                <a:gd name="T90" fmla="*/ 806 w 1139"/>
                <a:gd name="T91" fmla="*/ 1684 h 2016"/>
                <a:gd name="T92" fmla="*/ 885 w 1139"/>
                <a:gd name="T93" fmla="*/ 1589 h 2016"/>
                <a:gd name="T94" fmla="*/ 925 w 1139"/>
                <a:gd name="T95" fmla="*/ 1518 h 2016"/>
                <a:gd name="T96" fmla="*/ 980 w 1139"/>
                <a:gd name="T97" fmla="*/ 1439 h 2016"/>
                <a:gd name="T98" fmla="*/ 1051 w 1139"/>
                <a:gd name="T99" fmla="*/ 1408 h 2016"/>
                <a:gd name="T100" fmla="*/ 1115 w 1139"/>
                <a:gd name="T101" fmla="*/ 1336 h 2016"/>
                <a:gd name="T102" fmla="*/ 964 w 1139"/>
                <a:gd name="T103" fmla="*/ 32 h 2016"/>
                <a:gd name="T104" fmla="*/ 111 w 1139"/>
                <a:gd name="T105" fmla="*/ 166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9" h="2016">
                  <a:moveTo>
                    <a:pt x="8" y="2015"/>
                  </a:moveTo>
                  <a:lnTo>
                    <a:pt x="8" y="2015"/>
                  </a:lnTo>
                  <a:cubicBezTo>
                    <a:pt x="8" y="2007"/>
                    <a:pt x="8" y="2007"/>
                    <a:pt x="8" y="2007"/>
                  </a:cubicBezTo>
                  <a:lnTo>
                    <a:pt x="8" y="1999"/>
                  </a:lnTo>
                  <a:cubicBezTo>
                    <a:pt x="0" y="1991"/>
                    <a:pt x="0" y="1976"/>
                    <a:pt x="0" y="1960"/>
                  </a:cubicBezTo>
                  <a:cubicBezTo>
                    <a:pt x="0" y="1928"/>
                    <a:pt x="0" y="1913"/>
                    <a:pt x="8" y="1889"/>
                  </a:cubicBezTo>
                  <a:cubicBezTo>
                    <a:pt x="24" y="1873"/>
                    <a:pt x="24" y="1841"/>
                    <a:pt x="24" y="1833"/>
                  </a:cubicBezTo>
                  <a:lnTo>
                    <a:pt x="24" y="1826"/>
                  </a:lnTo>
                  <a:cubicBezTo>
                    <a:pt x="16" y="1810"/>
                    <a:pt x="8" y="1771"/>
                    <a:pt x="39" y="1763"/>
                  </a:cubicBezTo>
                  <a:cubicBezTo>
                    <a:pt x="63" y="1755"/>
                    <a:pt x="119" y="1653"/>
                    <a:pt x="119" y="1637"/>
                  </a:cubicBezTo>
                  <a:cubicBezTo>
                    <a:pt x="119" y="1613"/>
                    <a:pt x="134" y="1589"/>
                    <a:pt x="158" y="1574"/>
                  </a:cubicBezTo>
                  <a:cubicBezTo>
                    <a:pt x="166" y="1574"/>
                    <a:pt x="166" y="1558"/>
                    <a:pt x="166" y="1550"/>
                  </a:cubicBezTo>
                  <a:cubicBezTo>
                    <a:pt x="166" y="1534"/>
                    <a:pt x="158" y="1510"/>
                    <a:pt x="150" y="1502"/>
                  </a:cubicBezTo>
                  <a:cubicBezTo>
                    <a:pt x="134" y="1494"/>
                    <a:pt x="134" y="1479"/>
                    <a:pt x="134" y="1431"/>
                  </a:cubicBezTo>
                  <a:cubicBezTo>
                    <a:pt x="134" y="1423"/>
                    <a:pt x="134" y="1423"/>
                    <a:pt x="134" y="1423"/>
                  </a:cubicBezTo>
                  <a:cubicBezTo>
                    <a:pt x="134" y="1392"/>
                    <a:pt x="126" y="1392"/>
                    <a:pt x="119" y="1384"/>
                  </a:cubicBezTo>
                  <a:cubicBezTo>
                    <a:pt x="111" y="1384"/>
                    <a:pt x="103" y="1376"/>
                    <a:pt x="95" y="1368"/>
                  </a:cubicBezTo>
                  <a:cubicBezTo>
                    <a:pt x="79" y="1336"/>
                    <a:pt x="95" y="1297"/>
                    <a:pt x="111" y="1273"/>
                  </a:cubicBezTo>
                  <a:cubicBezTo>
                    <a:pt x="119" y="1265"/>
                    <a:pt x="126" y="1202"/>
                    <a:pt x="126" y="1178"/>
                  </a:cubicBezTo>
                  <a:cubicBezTo>
                    <a:pt x="24" y="127"/>
                    <a:pt x="24" y="127"/>
                    <a:pt x="24" y="127"/>
                  </a:cubicBezTo>
                  <a:cubicBezTo>
                    <a:pt x="32" y="135"/>
                    <a:pt x="32" y="135"/>
                    <a:pt x="32" y="135"/>
                  </a:cubicBezTo>
                  <a:cubicBezTo>
                    <a:pt x="47" y="151"/>
                    <a:pt x="79" y="158"/>
                    <a:pt x="111" y="158"/>
                  </a:cubicBezTo>
                  <a:cubicBezTo>
                    <a:pt x="166" y="158"/>
                    <a:pt x="229" y="111"/>
                    <a:pt x="261" y="87"/>
                  </a:cubicBezTo>
                  <a:cubicBezTo>
                    <a:pt x="261" y="80"/>
                    <a:pt x="261" y="80"/>
                    <a:pt x="261" y="80"/>
                  </a:cubicBezTo>
                  <a:lnTo>
                    <a:pt x="261" y="80"/>
                  </a:lnTo>
                  <a:cubicBezTo>
                    <a:pt x="933" y="0"/>
                    <a:pt x="933" y="0"/>
                    <a:pt x="933" y="0"/>
                  </a:cubicBezTo>
                  <a:cubicBezTo>
                    <a:pt x="933" y="0"/>
                    <a:pt x="949" y="0"/>
                    <a:pt x="972" y="24"/>
                  </a:cubicBezTo>
                  <a:lnTo>
                    <a:pt x="972" y="24"/>
                  </a:lnTo>
                  <a:cubicBezTo>
                    <a:pt x="972" y="32"/>
                    <a:pt x="972" y="32"/>
                    <a:pt x="972" y="32"/>
                  </a:cubicBezTo>
                  <a:cubicBezTo>
                    <a:pt x="1123" y="1250"/>
                    <a:pt x="1123" y="1250"/>
                    <a:pt x="1123" y="1250"/>
                  </a:cubicBezTo>
                  <a:lnTo>
                    <a:pt x="1123" y="1250"/>
                  </a:lnTo>
                  <a:cubicBezTo>
                    <a:pt x="1115" y="1257"/>
                    <a:pt x="1115" y="1265"/>
                    <a:pt x="1115" y="1281"/>
                  </a:cubicBezTo>
                  <a:cubicBezTo>
                    <a:pt x="1115" y="1289"/>
                    <a:pt x="1107" y="1289"/>
                    <a:pt x="1107" y="1297"/>
                  </a:cubicBezTo>
                  <a:cubicBezTo>
                    <a:pt x="1107" y="1313"/>
                    <a:pt x="1107" y="1321"/>
                    <a:pt x="1115" y="1336"/>
                  </a:cubicBezTo>
                  <a:cubicBezTo>
                    <a:pt x="1123" y="1336"/>
                    <a:pt x="1123" y="1336"/>
                    <a:pt x="1123" y="1344"/>
                  </a:cubicBezTo>
                  <a:cubicBezTo>
                    <a:pt x="1138" y="1368"/>
                    <a:pt x="1138" y="1392"/>
                    <a:pt x="1130" y="1400"/>
                  </a:cubicBezTo>
                  <a:cubicBezTo>
                    <a:pt x="1130" y="1415"/>
                    <a:pt x="1115" y="1415"/>
                    <a:pt x="1099" y="1415"/>
                  </a:cubicBezTo>
                  <a:cubicBezTo>
                    <a:pt x="1083" y="1415"/>
                    <a:pt x="1067" y="1415"/>
                    <a:pt x="1051" y="1415"/>
                  </a:cubicBezTo>
                  <a:cubicBezTo>
                    <a:pt x="1028" y="1423"/>
                    <a:pt x="1036" y="1431"/>
                    <a:pt x="1036" y="1439"/>
                  </a:cubicBezTo>
                  <a:cubicBezTo>
                    <a:pt x="1036" y="1447"/>
                    <a:pt x="1036" y="1463"/>
                    <a:pt x="1028" y="1471"/>
                  </a:cubicBezTo>
                  <a:cubicBezTo>
                    <a:pt x="1020" y="1471"/>
                    <a:pt x="1020" y="1479"/>
                    <a:pt x="1012" y="1479"/>
                  </a:cubicBezTo>
                  <a:cubicBezTo>
                    <a:pt x="996" y="1479"/>
                    <a:pt x="980" y="1463"/>
                    <a:pt x="972" y="1447"/>
                  </a:cubicBezTo>
                  <a:lnTo>
                    <a:pt x="964" y="1439"/>
                  </a:lnTo>
                  <a:lnTo>
                    <a:pt x="956" y="1439"/>
                  </a:lnTo>
                  <a:cubicBezTo>
                    <a:pt x="941" y="1439"/>
                    <a:pt x="925" y="1455"/>
                    <a:pt x="925" y="1479"/>
                  </a:cubicBezTo>
                  <a:cubicBezTo>
                    <a:pt x="925" y="1494"/>
                    <a:pt x="925" y="1502"/>
                    <a:pt x="933" y="1510"/>
                  </a:cubicBezTo>
                  <a:cubicBezTo>
                    <a:pt x="933" y="1518"/>
                    <a:pt x="933" y="1526"/>
                    <a:pt x="941" y="1534"/>
                  </a:cubicBezTo>
                  <a:cubicBezTo>
                    <a:pt x="949" y="1558"/>
                    <a:pt x="941" y="1558"/>
                    <a:pt x="925" y="1566"/>
                  </a:cubicBezTo>
                  <a:cubicBezTo>
                    <a:pt x="917" y="1566"/>
                    <a:pt x="917" y="1574"/>
                    <a:pt x="909" y="1581"/>
                  </a:cubicBezTo>
                  <a:cubicBezTo>
                    <a:pt x="901" y="1589"/>
                    <a:pt x="901" y="1597"/>
                    <a:pt x="885" y="1597"/>
                  </a:cubicBezTo>
                  <a:cubicBezTo>
                    <a:pt x="885" y="1597"/>
                    <a:pt x="885" y="1597"/>
                    <a:pt x="877" y="1597"/>
                  </a:cubicBezTo>
                  <a:cubicBezTo>
                    <a:pt x="870" y="1597"/>
                    <a:pt x="862" y="1613"/>
                    <a:pt x="862" y="1637"/>
                  </a:cubicBezTo>
                  <a:cubicBezTo>
                    <a:pt x="862" y="1653"/>
                    <a:pt x="846" y="1684"/>
                    <a:pt x="822" y="1684"/>
                  </a:cubicBezTo>
                  <a:cubicBezTo>
                    <a:pt x="822" y="1684"/>
                    <a:pt x="822" y="1684"/>
                    <a:pt x="814" y="1692"/>
                  </a:cubicBezTo>
                  <a:cubicBezTo>
                    <a:pt x="790" y="1716"/>
                    <a:pt x="767" y="1779"/>
                    <a:pt x="775" y="1802"/>
                  </a:cubicBezTo>
                  <a:cubicBezTo>
                    <a:pt x="775" y="1810"/>
                    <a:pt x="775" y="1810"/>
                    <a:pt x="775" y="1818"/>
                  </a:cubicBezTo>
                  <a:cubicBezTo>
                    <a:pt x="767" y="1818"/>
                    <a:pt x="759" y="1826"/>
                    <a:pt x="751" y="1826"/>
                  </a:cubicBezTo>
                  <a:cubicBezTo>
                    <a:pt x="751" y="1826"/>
                    <a:pt x="743" y="1826"/>
                    <a:pt x="735" y="1826"/>
                  </a:cubicBezTo>
                  <a:cubicBezTo>
                    <a:pt x="727" y="1833"/>
                    <a:pt x="727" y="1833"/>
                    <a:pt x="719" y="1833"/>
                  </a:cubicBezTo>
                  <a:cubicBezTo>
                    <a:pt x="712" y="1833"/>
                    <a:pt x="712" y="1826"/>
                    <a:pt x="703" y="1826"/>
                  </a:cubicBezTo>
                  <a:cubicBezTo>
                    <a:pt x="703" y="1818"/>
                    <a:pt x="703" y="1818"/>
                    <a:pt x="696" y="1818"/>
                  </a:cubicBezTo>
                  <a:cubicBezTo>
                    <a:pt x="696" y="1818"/>
                    <a:pt x="696" y="1818"/>
                    <a:pt x="688" y="1818"/>
                  </a:cubicBezTo>
                  <a:cubicBezTo>
                    <a:pt x="680" y="1810"/>
                    <a:pt x="664" y="1810"/>
                    <a:pt x="656" y="1802"/>
                  </a:cubicBezTo>
                  <a:cubicBezTo>
                    <a:pt x="648" y="1794"/>
                    <a:pt x="640" y="1787"/>
                    <a:pt x="640" y="1779"/>
                  </a:cubicBezTo>
                  <a:cubicBezTo>
                    <a:pt x="632" y="1779"/>
                    <a:pt x="632" y="1771"/>
                    <a:pt x="624" y="1771"/>
                  </a:cubicBezTo>
                  <a:lnTo>
                    <a:pt x="624" y="1771"/>
                  </a:lnTo>
                  <a:cubicBezTo>
                    <a:pt x="617" y="1771"/>
                    <a:pt x="617" y="1779"/>
                    <a:pt x="617" y="1779"/>
                  </a:cubicBezTo>
                  <a:cubicBezTo>
                    <a:pt x="609" y="1787"/>
                    <a:pt x="601" y="1794"/>
                    <a:pt x="601" y="1802"/>
                  </a:cubicBezTo>
                  <a:cubicBezTo>
                    <a:pt x="593" y="1802"/>
                    <a:pt x="593" y="1810"/>
                    <a:pt x="585" y="1810"/>
                  </a:cubicBezTo>
                  <a:cubicBezTo>
                    <a:pt x="577" y="1810"/>
                    <a:pt x="569" y="1818"/>
                    <a:pt x="569" y="1833"/>
                  </a:cubicBezTo>
                  <a:lnTo>
                    <a:pt x="569" y="1833"/>
                  </a:lnTo>
                  <a:cubicBezTo>
                    <a:pt x="561" y="1849"/>
                    <a:pt x="561" y="1857"/>
                    <a:pt x="553" y="1857"/>
                  </a:cubicBezTo>
                  <a:cubicBezTo>
                    <a:pt x="545" y="1865"/>
                    <a:pt x="545" y="1865"/>
                    <a:pt x="545" y="1865"/>
                  </a:cubicBezTo>
                  <a:cubicBezTo>
                    <a:pt x="537" y="1865"/>
                    <a:pt x="537" y="1873"/>
                    <a:pt x="537" y="1881"/>
                  </a:cubicBezTo>
                  <a:lnTo>
                    <a:pt x="537" y="1889"/>
                  </a:lnTo>
                  <a:cubicBezTo>
                    <a:pt x="537" y="1904"/>
                    <a:pt x="537" y="1920"/>
                    <a:pt x="537" y="1928"/>
                  </a:cubicBezTo>
                  <a:cubicBezTo>
                    <a:pt x="530" y="1928"/>
                    <a:pt x="530" y="1928"/>
                    <a:pt x="522" y="1928"/>
                  </a:cubicBezTo>
                  <a:cubicBezTo>
                    <a:pt x="514" y="1928"/>
                    <a:pt x="506" y="1920"/>
                    <a:pt x="506" y="1920"/>
                  </a:cubicBezTo>
                  <a:lnTo>
                    <a:pt x="506" y="1920"/>
                  </a:lnTo>
                  <a:cubicBezTo>
                    <a:pt x="490" y="1897"/>
                    <a:pt x="490" y="1897"/>
                    <a:pt x="490" y="1897"/>
                  </a:cubicBezTo>
                  <a:cubicBezTo>
                    <a:pt x="482" y="1889"/>
                    <a:pt x="466" y="1881"/>
                    <a:pt x="459" y="1873"/>
                  </a:cubicBezTo>
                  <a:lnTo>
                    <a:pt x="459" y="1873"/>
                  </a:lnTo>
                  <a:cubicBezTo>
                    <a:pt x="459" y="1865"/>
                    <a:pt x="450" y="1865"/>
                    <a:pt x="450" y="1865"/>
                  </a:cubicBezTo>
                  <a:cubicBezTo>
                    <a:pt x="443" y="1865"/>
                    <a:pt x="443" y="1865"/>
                    <a:pt x="443" y="1873"/>
                  </a:cubicBezTo>
                  <a:cubicBezTo>
                    <a:pt x="435" y="1881"/>
                    <a:pt x="435" y="1881"/>
                    <a:pt x="427" y="1881"/>
                  </a:cubicBezTo>
                  <a:cubicBezTo>
                    <a:pt x="419" y="1881"/>
                    <a:pt x="403" y="1889"/>
                    <a:pt x="403" y="1897"/>
                  </a:cubicBezTo>
                  <a:lnTo>
                    <a:pt x="403" y="1897"/>
                  </a:lnTo>
                  <a:cubicBezTo>
                    <a:pt x="395" y="1904"/>
                    <a:pt x="395" y="1913"/>
                    <a:pt x="379" y="1913"/>
                  </a:cubicBezTo>
                  <a:cubicBezTo>
                    <a:pt x="379" y="1913"/>
                    <a:pt x="379" y="1913"/>
                    <a:pt x="372" y="1913"/>
                  </a:cubicBezTo>
                  <a:lnTo>
                    <a:pt x="364" y="1913"/>
                  </a:lnTo>
                  <a:cubicBezTo>
                    <a:pt x="364" y="1920"/>
                    <a:pt x="364" y="1928"/>
                    <a:pt x="364" y="1936"/>
                  </a:cubicBezTo>
                  <a:cubicBezTo>
                    <a:pt x="364" y="1952"/>
                    <a:pt x="364" y="1976"/>
                    <a:pt x="348" y="1976"/>
                  </a:cubicBezTo>
                  <a:cubicBezTo>
                    <a:pt x="340" y="1976"/>
                    <a:pt x="324" y="1968"/>
                    <a:pt x="308" y="1952"/>
                  </a:cubicBezTo>
                  <a:cubicBezTo>
                    <a:pt x="300" y="1944"/>
                    <a:pt x="300" y="1944"/>
                    <a:pt x="292" y="1944"/>
                  </a:cubicBezTo>
                  <a:lnTo>
                    <a:pt x="292" y="1944"/>
                  </a:lnTo>
                  <a:cubicBezTo>
                    <a:pt x="292" y="1944"/>
                    <a:pt x="284" y="1944"/>
                    <a:pt x="277" y="1944"/>
                  </a:cubicBezTo>
                  <a:cubicBezTo>
                    <a:pt x="269" y="1936"/>
                    <a:pt x="261" y="1936"/>
                    <a:pt x="261" y="1928"/>
                  </a:cubicBezTo>
                  <a:cubicBezTo>
                    <a:pt x="253" y="1920"/>
                    <a:pt x="253" y="1920"/>
                    <a:pt x="245" y="1920"/>
                  </a:cubicBezTo>
                  <a:cubicBezTo>
                    <a:pt x="245" y="1920"/>
                    <a:pt x="245" y="1913"/>
                    <a:pt x="237" y="1913"/>
                  </a:cubicBezTo>
                  <a:cubicBezTo>
                    <a:pt x="229" y="1913"/>
                    <a:pt x="206" y="1928"/>
                    <a:pt x="190" y="1936"/>
                  </a:cubicBezTo>
                  <a:cubicBezTo>
                    <a:pt x="174" y="1944"/>
                    <a:pt x="174" y="1960"/>
                    <a:pt x="174" y="1968"/>
                  </a:cubicBezTo>
                  <a:cubicBezTo>
                    <a:pt x="174" y="1976"/>
                    <a:pt x="174" y="1976"/>
                    <a:pt x="174" y="1976"/>
                  </a:cubicBezTo>
                  <a:lnTo>
                    <a:pt x="166" y="1984"/>
                  </a:lnTo>
                  <a:cubicBezTo>
                    <a:pt x="158" y="1984"/>
                    <a:pt x="142" y="1976"/>
                    <a:pt x="134" y="1968"/>
                  </a:cubicBezTo>
                  <a:cubicBezTo>
                    <a:pt x="126" y="1968"/>
                    <a:pt x="111" y="1960"/>
                    <a:pt x="111" y="1960"/>
                  </a:cubicBezTo>
                  <a:cubicBezTo>
                    <a:pt x="95" y="1960"/>
                    <a:pt x="79" y="1976"/>
                    <a:pt x="79" y="1984"/>
                  </a:cubicBezTo>
                  <a:cubicBezTo>
                    <a:pt x="79" y="1999"/>
                    <a:pt x="79" y="2015"/>
                    <a:pt x="55" y="2015"/>
                  </a:cubicBezTo>
                  <a:lnTo>
                    <a:pt x="47" y="2007"/>
                  </a:lnTo>
                  <a:cubicBezTo>
                    <a:pt x="39" y="2007"/>
                    <a:pt x="32" y="2007"/>
                    <a:pt x="16" y="2015"/>
                  </a:cubicBezTo>
                  <a:lnTo>
                    <a:pt x="8" y="2015"/>
                  </a:lnTo>
                  <a:close/>
                  <a:moveTo>
                    <a:pt x="32" y="143"/>
                  </a:moveTo>
                  <a:lnTo>
                    <a:pt x="32" y="143"/>
                  </a:lnTo>
                  <a:cubicBezTo>
                    <a:pt x="134" y="1178"/>
                    <a:pt x="134" y="1178"/>
                    <a:pt x="134" y="1178"/>
                  </a:cubicBezTo>
                  <a:cubicBezTo>
                    <a:pt x="134" y="1186"/>
                    <a:pt x="126" y="1265"/>
                    <a:pt x="119" y="1281"/>
                  </a:cubicBezTo>
                  <a:cubicBezTo>
                    <a:pt x="103" y="1297"/>
                    <a:pt x="87" y="1336"/>
                    <a:pt x="103" y="1360"/>
                  </a:cubicBezTo>
                  <a:cubicBezTo>
                    <a:pt x="111" y="1368"/>
                    <a:pt x="111" y="1376"/>
                    <a:pt x="119" y="1376"/>
                  </a:cubicBezTo>
                  <a:cubicBezTo>
                    <a:pt x="134" y="1384"/>
                    <a:pt x="142" y="1392"/>
                    <a:pt x="142" y="1423"/>
                  </a:cubicBezTo>
                  <a:cubicBezTo>
                    <a:pt x="142" y="1431"/>
                    <a:pt x="142" y="1431"/>
                    <a:pt x="142" y="1431"/>
                  </a:cubicBezTo>
                  <a:cubicBezTo>
                    <a:pt x="142" y="1471"/>
                    <a:pt x="142" y="1494"/>
                    <a:pt x="158" y="1502"/>
                  </a:cubicBezTo>
                  <a:cubicBezTo>
                    <a:pt x="166" y="1502"/>
                    <a:pt x="174" y="1526"/>
                    <a:pt x="174" y="1550"/>
                  </a:cubicBezTo>
                  <a:cubicBezTo>
                    <a:pt x="174" y="1566"/>
                    <a:pt x="174" y="1574"/>
                    <a:pt x="158" y="1581"/>
                  </a:cubicBezTo>
                  <a:cubicBezTo>
                    <a:pt x="134" y="1597"/>
                    <a:pt x="126" y="1613"/>
                    <a:pt x="126" y="1637"/>
                  </a:cubicBezTo>
                  <a:cubicBezTo>
                    <a:pt x="126" y="1653"/>
                    <a:pt x="63" y="1763"/>
                    <a:pt x="39" y="1771"/>
                  </a:cubicBezTo>
                  <a:cubicBezTo>
                    <a:pt x="24" y="1779"/>
                    <a:pt x="24" y="1810"/>
                    <a:pt x="32" y="1826"/>
                  </a:cubicBezTo>
                  <a:lnTo>
                    <a:pt x="32" y="1833"/>
                  </a:lnTo>
                  <a:cubicBezTo>
                    <a:pt x="32" y="1849"/>
                    <a:pt x="32" y="1873"/>
                    <a:pt x="16" y="1897"/>
                  </a:cubicBezTo>
                  <a:cubicBezTo>
                    <a:pt x="8" y="1913"/>
                    <a:pt x="0" y="1928"/>
                    <a:pt x="8" y="1960"/>
                  </a:cubicBezTo>
                  <a:cubicBezTo>
                    <a:pt x="8" y="1976"/>
                    <a:pt x="8" y="1984"/>
                    <a:pt x="16" y="1999"/>
                  </a:cubicBezTo>
                  <a:cubicBezTo>
                    <a:pt x="16" y="1999"/>
                    <a:pt x="16" y="1999"/>
                    <a:pt x="16" y="2007"/>
                  </a:cubicBezTo>
                  <a:cubicBezTo>
                    <a:pt x="32" y="1999"/>
                    <a:pt x="39" y="1999"/>
                    <a:pt x="47" y="2007"/>
                  </a:cubicBezTo>
                  <a:lnTo>
                    <a:pt x="55" y="2007"/>
                  </a:lnTo>
                  <a:cubicBezTo>
                    <a:pt x="71" y="2007"/>
                    <a:pt x="71" y="1999"/>
                    <a:pt x="71" y="1984"/>
                  </a:cubicBezTo>
                  <a:cubicBezTo>
                    <a:pt x="71" y="1968"/>
                    <a:pt x="87" y="1952"/>
                    <a:pt x="111" y="1952"/>
                  </a:cubicBezTo>
                  <a:cubicBezTo>
                    <a:pt x="119" y="1960"/>
                    <a:pt x="126" y="1960"/>
                    <a:pt x="134" y="1960"/>
                  </a:cubicBezTo>
                  <a:cubicBezTo>
                    <a:pt x="142" y="1968"/>
                    <a:pt x="158" y="1976"/>
                    <a:pt x="166" y="1976"/>
                  </a:cubicBezTo>
                  <a:lnTo>
                    <a:pt x="166" y="1976"/>
                  </a:lnTo>
                  <a:cubicBezTo>
                    <a:pt x="166" y="1968"/>
                    <a:pt x="166" y="1968"/>
                    <a:pt x="166" y="1968"/>
                  </a:cubicBezTo>
                  <a:cubicBezTo>
                    <a:pt x="166" y="1952"/>
                    <a:pt x="166" y="1944"/>
                    <a:pt x="190" y="1928"/>
                  </a:cubicBezTo>
                  <a:cubicBezTo>
                    <a:pt x="206" y="1920"/>
                    <a:pt x="221" y="1913"/>
                    <a:pt x="237" y="1913"/>
                  </a:cubicBezTo>
                  <a:cubicBezTo>
                    <a:pt x="245" y="1913"/>
                    <a:pt x="245" y="1913"/>
                    <a:pt x="245" y="1913"/>
                  </a:cubicBezTo>
                  <a:cubicBezTo>
                    <a:pt x="253" y="1913"/>
                    <a:pt x="261" y="1920"/>
                    <a:pt x="261" y="1920"/>
                  </a:cubicBezTo>
                  <a:cubicBezTo>
                    <a:pt x="269" y="1928"/>
                    <a:pt x="269" y="1936"/>
                    <a:pt x="284" y="1936"/>
                  </a:cubicBezTo>
                  <a:lnTo>
                    <a:pt x="292" y="1936"/>
                  </a:lnTo>
                  <a:lnTo>
                    <a:pt x="292" y="1936"/>
                  </a:lnTo>
                  <a:cubicBezTo>
                    <a:pt x="300" y="1936"/>
                    <a:pt x="308" y="1936"/>
                    <a:pt x="316" y="1952"/>
                  </a:cubicBezTo>
                  <a:cubicBezTo>
                    <a:pt x="332" y="1960"/>
                    <a:pt x="340" y="1968"/>
                    <a:pt x="348" y="1968"/>
                  </a:cubicBezTo>
                  <a:cubicBezTo>
                    <a:pt x="356" y="1968"/>
                    <a:pt x="356" y="1952"/>
                    <a:pt x="356" y="1936"/>
                  </a:cubicBezTo>
                  <a:cubicBezTo>
                    <a:pt x="356" y="1928"/>
                    <a:pt x="356" y="1913"/>
                    <a:pt x="356" y="1913"/>
                  </a:cubicBezTo>
                  <a:cubicBezTo>
                    <a:pt x="364" y="1904"/>
                    <a:pt x="372" y="1904"/>
                    <a:pt x="379" y="1904"/>
                  </a:cubicBezTo>
                  <a:cubicBezTo>
                    <a:pt x="387" y="1904"/>
                    <a:pt x="387" y="1904"/>
                    <a:pt x="395" y="1897"/>
                  </a:cubicBezTo>
                  <a:lnTo>
                    <a:pt x="395" y="1897"/>
                  </a:lnTo>
                  <a:cubicBezTo>
                    <a:pt x="403" y="1881"/>
                    <a:pt x="419" y="1881"/>
                    <a:pt x="427" y="1873"/>
                  </a:cubicBezTo>
                  <a:cubicBezTo>
                    <a:pt x="427" y="1873"/>
                    <a:pt x="435" y="1873"/>
                    <a:pt x="435" y="1865"/>
                  </a:cubicBezTo>
                  <a:cubicBezTo>
                    <a:pt x="435" y="1865"/>
                    <a:pt x="443" y="1857"/>
                    <a:pt x="450" y="1857"/>
                  </a:cubicBezTo>
                  <a:lnTo>
                    <a:pt x="450" y="1857"/>
                  </a:lnTo>
                  <a:cubicBezTo>
                    <a:pt x="459" y="1857"/>
                    <a:pt x="459" y="1865"/>
                    <a:pt x="466" y="1865"/>
                  </a:cubicBezTo>
                  <a:lnTo>
                    <a:pt x="466" y="1873"/>
                  </a:lnTo>
                  <a:cubicBezTo>
                    <a:pt x="466" y="1873"/>
                    <a:pt x="482" y="1881"/>
                    <a:pt x="498" y="1889"/>
                  </a:cubicBezTo>
                  <a:lnTo>
                    <a:pt x="498" y="1889"/>
                  </a:lnTo>
                  <a:cubicBezTo>
                    <a:pt x="506" y="1913"/>
                    <a:pt x="506" y="1913"/>
                    <a:pt x="506" y="1913"/>
                  </a:cubicBezTo>
                  <a:cubicBezTo>
                    <a:pt x="514" y="1920"/>
                    <a:pt x="522" y="1920"/>
                    <a:pt x="522" y="1920"/>
                  </a:cubicBezTo>
                  <a:cubicBezTo>
                    <a:pt x="530" y="1920"/>
                    <a:pt x="530" y="1920"/>
                    <a:pt x="530" y="1920"/>
                  </a:cubicBezTo>
                  <a:cubicBezTo>
                    <a:pt x="530" y="1920"/>
                    <a:pt x="530" y="1897"/>
                    <a:pt x="530" y="1889"/>
                  </a:cubicBezTo>
                  <a:lnTo>
                    <a:pt x="530" y="1881"/>
                  </a:lnTo>
                  <a:cubicBezTo>
                    <a:pt x="530" y="1873"/>
                    <a:pt x="530" y="1865"/>
                    <a:pt x="545" y="1857"/>
                  </a:cubicBezTo>
                  <a:lnTo>
                    <a:pt x="545" y="1857"/>
                  </a:lnTo>
                  <a:cubicBezTo>
                    <a:pt x="553" y="1849"/>
                    <a:pt x="553" y="1849"/>
                    <a:pt x="561" y="1833"/>
                  </a:cubicBezTo>
                  <a:lnTo>
                    <a:pt x="561" y="1833"/>
                  </a:lnTo>
                  <a:cubicBezTo>
                    <a:pt x="569" y="1810"/>
                    <a:pt x="577" y="1810"/>
                    <a:pt x="585" y="1802"/>
                  </a:cubicBezTo>
                  <a:cubicBezTo>
                    <a:pt x="585" y="1802"/>
                    <a:pt x="593" y="1802"/>
                    <a:pt x="593" y="1794"/>
                  </a:cubicBezTo>
                  <a:cubicBezTo>
                    <a:pt x="601" y="1794"/>
                    <a:pt x="601" y="1787"/>
                    <a:pt x="609" y="1779"/>
                  </a:cubicBezTo>
                  <a:cubicBezTo>
                    <a:pt x="609" y="1771"/>
                    <a:pt x="617" y="1763"/>
                    <a:pt x="624" y="1763"/>
                  </a:cubicBezTo>
                  <a:lnTo>
                    <a:pt x="624" y="1763"/>
                  </a:lnTo>
                  <a:cubicBezTo>
                    <a:pt x="632" y="1763"/>
                    <a:pt x="640" y="1771"/>
                    <a:pt x="648" y="1779"/>
                  </a:cubicBezTo>
                  <a:cubicBezTo>
                    <a:pt x="648" y="1787"/>
                    <a:pt x="656" y="1787"/>
                    <a:pt x="656" y="1794"/>
                  </a:cubicBezTo>
                  <a:cubicBezTo>
                    <a:pt x="672" y="1802"/>
                    <a:pt x="680" y="1810"/>
                    <a:pt x="696" y="1810"/>
                  </a:cubicBezTo>
                  <a:cubicBezTo>
                    <a:pt x="696" y="1810"/>
                    <a:pt x="696" y="1810"/>
                    <a:pt x="703" y="1810"/>
                  </a:cubicBezTo>
                  <a:lnTo>
                    <a:pt x="712" y="1818"/>
                  </a:lnTo>
                  <a:lnTo>
                    <a:pt x="719" y="1826"/>
                  </a:lnTo>
                  <a:cubicBezTo>
                    <a:pt x="727" y="1826"/>
                    <a:pt x="727" y="1826"/>
                    <a:pt x="735" y="1818"/>
                  </a:cubicBezTo>
                  <a:cubicBezTo>
                    <a:pt x="743" y="1818"/>
                    <a:pt x="743" y="1818"/>
                    <a:pt x="751" y="1818"/>
                  </a:cubicBezTo>
                  <a:cubicBezTo>
                    <a:pt x="759" y="1818"/>
                    <a:pt x="767" y="1818"/>
                    <a:pt x="767" y="1810"/>
                  </a:cubicBezTo>
                  <a:lnTo>
                    <a:pt x="767" y="1802"/>
                  </a:lnTo>
                  <a:cubicBezTo>
                    <a:pt x="759" y="1779"/>
                    <a:pt x="790" y="1708"/>
                    <a:pt x="806" y="1684"/>
                  </a:cubicBezTo>
                  <a:cubicBezTo>
                    <a:pt x="814" y="1676"/>
                    <a:pt x="822" y="1676"/>
                    <a:pt x="822" y="1676"/>
                  </a:cubicBezTo>
                  <a:cubicBezTo>
                    <a:pt x="838" y="1676"/>
                    <a:pt x="854" y="1653"/>
                    <a:pt x="854" y="1637"/>
                  </a:cubicBezTo>
                  <a:cubicBezTo>
                    <a:pt x="854" y="1605"/>
                    <a:pt x="862" y="1589"/>
                    <a:pt x="877" y="1589"/>
                  </a:cubicBezTo>
                  <a:cubicBezTo>
                    <a:pt x="885" y="1589"/>
                    <a:pt x="885" y="1589"/>
                    <a:pt x="885" y="1589"/>
                  </a:cubicBezTo>
                  <a:cubicBezTo>
                    <a:pt x="893" y="1589"/>
                    <a:pt x="893" y="1589"/>
                    <a:pt x="901" y="1574"/>
                  </a:cubicBezTo>
                  <a:cubicBezTo>
                    <a:pt x="909" y="1566"/>
                    <a:pt x="917" y="1566"/>
                    <a:pt x="925" y="1558"/>
                  </a:cubicBezTo>
                  <a:cubicBezTo>
                    <a:pt x="933" y="1558"/>
                    <a:pt x="941" y="1550"/>
                    <a:pt x="933" y="1534"/>
                  </a:cubicBezTo>
                  <a:cubicBezTo>
                    <a:pt x="933" y="1526"/>
                    <a:pt x="925" y="1518"/>
                    <a:pt x="925" y="1518"/>
                  </a:cubicBezTo>
                  <a:cubicBezTo>
                    <a:pt x="917" y="1502"/>
                    <a:pt x="917" y="1502"/>
                    <a:pt x="917" y="1471"/>
                  </a:cubicBezTo>
                  <a:cubicBezTo>
                    <a:pt x="925" y="1447"/>
                    <a:pt x="941" y="1431"/>
                    <a:pt x="956" y="1431"/>
                  </a:cubicBezTo>
                  <a:cubicBezTo>
                    <a:pt x="964" y="1431"/>
                    <a:pt x="964" y="1431"/>
                    <a:pt x="972" y="1431"/>
                  </a:cubicBezTo>
                  <a:cubicBezTo>
                    <a:pt x="972" y="1439"/>
                    <a:pt x="972" y="1439"/>
                    <a:pt x="980" y="1439"/>
                  </a:cubicBezTo>
                  <a:cubicBezTo>
                    <a:pt x="988" y="1455"/>
                    <a:pt x="1004" y="1471"/>
                    <a:pt x="1012" y="1471"/>
                  </a:cubicBezTo>
                  <a:cubicBezTo>
                    <a:pt x="1012" y="1471"/>
                    <a:pt x="1020" y="1471"/>
                    <a:pt x="1020" y="1463"/>
                  </a:cubicBezTo>
                  <a:cubicBezTo>
                    <a:pt x="1028" y="1455"/>
                    <a:pt x="1028" y="1447"/>
                    <a:pt x="1028" y="1439"/>
                  </a:cubicBezTo>
                  <a:cubicBezTo>
                    <a:pt x="1028" y="1431"/>
                    <a:pt x="1020" y="1415"/>
                    <a:pt x="1051" y="1408"/>
                  </a:cubicBezTo>
                  <a:cubicBezTo>
                    <a:pt x="1067" y="1408"/>
                    <a:pt x="1083" y="1408"/>
                    <a:pt x="1099" y="1408"/>
                  </a:cubicBezTo>
                  <a:cubicBezTo>
                    <a:pt x="1115" y="1408"/>
                    <a:pt x="1123" y="1408"/>
                    <a:pt x="1123" y="1400"/>
                  </a:cubicBezTo>
                  <a:cubicBezTo>
                    <a:pt x="1130" y="1392"/>
                    <a:pt x="1130" y="1368"/>
                    <a:pt x="1123" y="1344"/>
                  </a:cubicBezTo>
                  <a:cubicBezTo>
                    <a:pt x="1115" y="1344"/>
                    <a:pt x="1115" y="1336"/>
                    <a:pt x="1115" y="1336"/>
                  </a:cubicBezTo>
                  <a:cubicBezTo>
                    <a:pt x="1099" y="1328"/>
                    <a:pt x="1099" y="1321"/>
                    <a:pt x="1099" y="1297"/>
                  </a:cubicBezTo>
                  <a:cubicBezTo>
                    <a:pt x="1107" y="1289"/>
                    <a:pt x="1107" y="1281"/>
                    <a:pt x="1107" y="1273"/>
                  </a:cubicBezTo>
                  <a:cubicBezTo>
                    <a:pt x="1107" y="1265"/>
                    <a:pt x="1115" y="1257"/>
                    <a:pt x="1115" y="1241"/>
                  </a:cubicBezTo>
                  <a:cubicBezTo>
                    <a:pt x="964" y="32"/>
                    <a:pt x="964" y="32"/>
                    <a:pt x="964" y="32"/>
                  </a:cubicBezTo>
                  <a:cubicBezTo>
                    <a:pt x="949" y="8"/>
                    <a:pt x="941" y="8"/>
                    <a:pt x="933" y="8"/>
                  </a:cubicBezTo>
                  <a:lnTo>
                    <a:pt x="933" y="8"/>
                  </a:lnTo>
                  <a:cubicBezTo>
                    <a:pt x="261" y="87"/>
                    <a:pt x="261" y="87"/>
                    <a:pt x="261" y="87"/>
                  </a:cubicBezTo>
                  <a:cubicBezTo>
                    <a:pt x="229" y="119"/>
                    <a:pt x="166" y="166"/>
                    <a:pt x="111" y="166"/>
                  </a:cubicBezTo>
                  <a:cubicBezTo>
                    <a:pt x="79" y="166"/>
                    <a:pt x="55" y="158"/>
                    <a:pt x="32" y="143"/>
                  </a:cubicBezTo>
                  <a:close/>
                </a:path>
              </a:pathLst>
            </a:custGeom>
            <a:grpFill/>
            <a:ln>
              <a:solidFill>
                <a:schemeClr val="bg1">
                  <a:lumMod val="95000"/>
                </a:schemeClr>
              </a:solidFill>
            </a:ln>
            <a:effectLst/>
          </p:spPr>
          <p:txBody>
            <a:bodyPr wrap="none" anchor="ctr"/>
            <a:lstStyle/>
            <a:p>
              <a:endParaRPr lang="en-US" sz="900"/>
            </a:p>
          </p:txBody>
        </p:sp>
        <p:sp>
          <p:nvSpPr>
            <p:cNvPr id="117" name="Freeform 785"/>
            <p:cNvSpPr>
              <a:spLocks noChangeArrowheads="1"/>
            </p:cNvSpPr>
            <p:nvPr/>
          </p:nvSpPr>
          <p:spPr bwMode="auto">
            <a:xfrm>
              <a:off x="14433282" y="5171051"/>
              <a:ext cx="832630" cy="948597"/>
            </a:xfrm>
            <a:custGeom>
              <a:avLst/>
              <a:gdLst>
                <a:gd name="T0" fmla="*/ 1550 w 1582"/>
                <a:gd name="T1" fmla="*/ 720 h 1804"/>
                <a:gd name="T2" fmla="*/ 1550 w 1582"/>
                <a:gd name="T3" fmla="*/ 720 h 1804"/>
                <a:gd name="T4" fmla="*/ 1542 w 1582"/>
                <a:gd name="T5" fmla="*/ 648 h 1804"/>
                <a:gd name="T6" fmla="*/ 1565 w 1582"/>
                <a:gd name="T7" fmla="*/ 641 h 1804"/>
                <a:gd name="T8" fmla="*/ 1447 w 1582"/>
                <a:gd name="T9" fmla="*/ 0 h 1804"/>
                <a:gd name="T10" fmla="*/ 1186 w 1582"/>
                <a:gd name="T11" fmla="*/ 190 h 1804"/>
                <a:gd name="T12" fmla="*/ 1052 w 1582"/>
                <a:gd name="T13" fmla="*/ 309 h 1804"/>
                <a:gd name="T14" fmla="*/ 925 w 1582"/>
                <a:gd name="T15" fmla="*/ 332 h 1804"/>
                <a:gd name="T16" fmla="*/ 791 w 1582"/>
                <a:gd name="T17" fmla="*/ 380 h 1804"/>
                <a:gd name="T18" fmla="*/ 728 w 1582"/>
                <a:gd name="T19" fmla="*/ 364 h 1804"/>
                <a:gd name="T20" fmla="*/ 672 w 1582"/>
                <a:gd name="T21" fmla="*/ 388 h 1804"/>
                <a:gd name="T22" fmla="*/ 657 w 1582"/>
                <a:gd name="T23" fmla="*/ 364 h 1804"/>
                <a:gd name="T24" fmla="*/ 712 w 1582"/>
                <a:gd name="T25" fmla="*/ 348 h 1804"/>
                <a:gd name="T26" fmla="*/ 672 w 1582"/>
                <a:gd name="T27" fmla="*/ 332 h 1804"/>
                <a:gd name="T28" fmla="*/ 641 w 1582"/>
                <a:gd name="T29" fmla="*/ 340 h 1804"/>
                <a:gd name="T30" fmla="*/ 577 w 1582"/>
                <a:gd name="T31" fmla="*/ 317 h 1804"/>
                <a:gd name="T32" fmla="*/ 506 w 1582"/>
                <a:gd name="T33" fmla="*/ 285 h 1804"/>
                <a:gd name="T34" fmla="*/ 459 w 1582"/>
                <a:gd name="T35" fmla="*/ 261 h 1804"/>
                <a:gd name="T36" fmla="*/ 0 w 1582"/>
                <a:gd name="T37" fmla="*/ 356 h 1804"/>
                <a:gd name="T38" fmla="*/ 0 w 1582"/>
                <a:gd name="T39" fmla="*/ 356 h 1804"/>
                <a:gd name="T40" fmla="*/ 151 w 1582"/>
                <a:gd name="T41" fmla="*/ 1574 h 1804"/>
                <a:gd name="T42" fmla="*/ 166 w 1582"/>
                <a:gd name="T43" fmla="*/ 1558 h 1804"/>
                <a:gd name="T44" fmla="*/ 253 w 1582"/>
                <a:gd name="T45" fmla="*/ 1565 h 1804"/>
                <a:gd name="T46" fmla="*/ 317 w 1582"/>
                <a:gd name="T47" fmla="*/ 1574 h 1804"/>
                <a:gd name="T48" fmla="*/ 364 w 1582"/>
                <a:gd name="T49" fmla="*/ 1645 h 1804"/>
                <a:gd name="T50" fmla="*/ 419 w 1582"/>
                <a:gd name="T51" fmla="*/ 1700 h 1804"/>
                <a:gd name="T52" fmla="*/ 530 w 1582"/>
                <a:gd name="T53" fmla="*/ 1700 h 1804"/>
                <a:gd name="T54" fmla="*/ 617 w 1582"/>
                <a:gd name="T55" fmla="*/ 1755 h 1804"/>
                <a:gd name="T56" fmla="*/ 664 w 1582"/>
                <a:gd name="T57" fmla="*/ 1708 h 1804"/>
                <a:gd name="T58" fmla="*/ 728 w 1582"/>
                <a:gd name="T59" fmla="*/ 1732 h 1804"/>
                <a:gd name="T60" fmla="*/ 759 w 1582"/>
                <a:gd name="T61" fmla="*/ 1716 h 1804"/>
                <a:gd name="T62" fmla="*/ 783 w 1582"/>
                <a:gd name="T63" fmla="*/ 1708 h 1804"/>
                <a:gd name="T64" fmla="*/ 807 w 1582"/>
                <a:gd name="T65" fmla="*/ 1684 h 1804"/>
                <a:gd name="T66" fmla="*/ 830 w 1582"/>
                <a:gd name="T67" fmla="*/ 1676 h 1804"/>
                <a:gd name="T68" fmla="*/ 854 w 1582"/>
                <a:gd name="T69" fmla="*/ 1652 h 1804"/>
                <a:gd name="T70" fmla="*/ 870 w 1582"/>
                <a:gd name="T71" fmla="*/ 1668 h 1804"/>
                <a:gd name="T72" fmla="*/ 870 w 1582"/>
                <a:gd name="T73" fmla="*/ 1676 h 1804"/>
                <a:gd name="T74" fmla="*/ 894 w 1582"/>
                <a:gd name="T75" fmla="*/ 1700 h 1804"/>
                <a:gd name="T76" fmla="*/ 910 w 1582"/>
                <a:gd name="T77" fmla="*/ 1724 h 1804"/>
                <a:gd name="T78" fmla="*/ 965 w 1582"/>
                <a:gd name="T79" fmla="*/ 1747 h 1804"/>
                <a:gd name="T80" fmla="*/ 981 w 1582"/>
                <a:gd name="T81" fmla="*/ 1771 h 1804"/>
                <a:gd name="T82" fmla="*/ 1012 w 1582"/>
                <a:gd name="T83" fmla="*/ 1803 h 1804"/>
                <a:gd name="T84" fmla="*/ 1060 w 1582"/>
                <a:gd name="T85" fmla="*/ 1787 h 1804"/>
                <a:gd name="T86" fmla="*/ 1083 w 1582"/>
                <a:gd name="T87" fmla="*/ 1739 h 1804"/>
                <a:gd name="T88" fmla="*/ 1123 w 1582"/>
                <a:gd name="T89" fmla="*/ 1708 h 1804"/>
                <a:gd name="T90" fmla="*/ 1123 w 1582"/>
                <a:gd name="T91" fmla="*/ 1637 h 1804"/>
                <a:gd name="T92" fmla="*/ 1123 w 1582"/>
                <a:gd name="T93" fmla="*/ 1550 h 1804"/>
                <a:gd name="T94" fmla="*/ 1163 w 1582"/>
                <a:gd name="T95" fmla="*/ 1479 h 1804"/>
                <a:gd name="T96" fmla="*/ 1226 w 1582"/>
                <a:gd name="T97" fmla="*/ 1510 h 1804"/>
                <a:gd name="T98" fmla="*/ 1218 w 1582"/>
                <a:gd name="T99" fmla="*/ 1376 h 1804"/>
                <a:gd name="T100" fmla="*/ 1281 w 1582"/>
                <a:gd name="T101" fmla="*/ 1328 h 1804"/>
                <a:gd name="T102" fmla="*/ 1305 w 1582"/>
                <a:gd name="T103" fmla="*/ 1257 h 1804"/>
                <a:gd name="T104" fmla="*/ 1360 w 1582"/>
                <a:gd name="T105" fmla="*/ 1265 h 1804"/>
                <a:gd name="T106" fmla="*/ 1423 w 1582"/>
                <a:gd name="T107" fmla="*/ 1257 h 1804"/>
                <a:gd name="T108" fmla="*/ 1502 w 1582"/>
                <a:gd name="T109" fmla="*/ 1154 h 1804"/>
                <a:gd name="T110" fmla="*/ 1510 w 1582"/>
                <a:gd name="T111" fmla="*/ 1012 h 1804"/>
                <a:gd name="T112" fmla="*/ 1550 w 1582"/>
                <a:gd name="T113" fmla="*/ 957 h 1804"/>
                <a:gd name="T114" fmla="*/ 1550 w 1582"/>
                <a:gd name="T115" fmla="*/ 830 h 1804"/>
                <a:gd name="T116" fmla="*/ 1565 w 1582"/>
                <a:gd name="T117" fmla="*/ 799 h 1804"/>
                <a:gd name="T118" fmla="*/ 1550 w 1582"/>
                <a:gd name="T119" fmla="*/ 720 h 1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2" h="1804">
                  <a:moveTo>
                    <a:pt x="1550" y="720"/>
                  </a:moveTo>
                  <a:lnTo>
                    <a:pt x="1550" y="720"/>
                  </a:lnTo>
                  <a:cubicBezTo>
                    <a:pt x="1550" y="696"/>
                    <a:pt x="1542" y="664"/>
                    <a:pt x="1542" y="648"/>
                  </a:cubicBezTo>
                  <a:cubicBezTo>
                    <a:pt x="1534" y="641"/>
                    <a:pt x="1550" y="633"/>
                    <a:pt x="1565" y="641"/>
                  </a:cubicBezTo>
                  <a:cubicBezTo>
                    <a:pt x="1447" y="0"/>
                    <a:pt x="1447" y="0"/>
                    <a:pt x="1447" y="0"/>
                  </a:cubicBezTo>
                  <a:cubicBezTo>
                    <a:pt x="1352" y="56"/>
                    <a:pt x="1210" y="151"/>
                    <a:pt x="1186" y="190"/>
                  </a:cubicBezTo>
                  <a:cubicBezTo>
                    <a:pt x="1154" y="230"/>
                    <a:pt x="1083" y="309"/>
                    <a:pt x="1052" y="309"/>
                  </a:cubicBezTo>
                  <a:cubicBezTo>
                    <a:pt x="1012" y="309"/>
                    <a:pt x="949" y="309"/>
                    <a:pt x="925" y="332"/>
                  </a:cubicBezTo>
                  <a:cubicBezTo>
                    <a:pt x="910" y="356"/>
                    <a:pt x="807" y="395"/>
                    <a:pt x="791" y="380"/>
                  </a:cubicBezTo>
                  <a:cubicBezTo>
                    <a:pt x="767" y="364"/>
                    <a:pt x="728" y="356"/>
                    <a:pt x="728" y="364"/>
                  </a:cubicBezTo>
                  <a:cubicBezTo>
                    <a:pt x="720" y="372"/>
                    <a:pt x="688" y="380"/>
                    <a:pt x="672" y="388"/>
                  </a:cubicBezTo>
                  <a:cubicBezTo>
                    <a:pt x="657" y="395"/>
                    <a:pt x="648" y="372"/>
                    <a:pt x="657" y="364"/>
                  </a:cubicBezTo>
                  <a:cubicBezTo>
                    <a:pt x="672" y="356"/>
                    <a:pt x="712" y="364"/>
                    <a:pt x="712" y="348"/>
                  </a:cubicBezTo>
                  <a:cubicBezTo>
                    <a:pt x="704" y="332"/>
                    <a:pt x="696" y="324"/>
                    <a:pt x="672" y="332"/>
                  </a:cubicBezTo>
                  <a:cubicBezTo>
                    <a:pt x="648" y="348"/>
                    <a:pt x="657" y="364"/>
                    <a:pt x="641" y="340"/>
                  </a:cubicBezTo>
                  <a:cubicBezTo>
                    <a:pt x="625" y="324"/>
                    <a:pt x="617" y="332"/>
                    <a:pt x="577" y="317"/>
                  </a:cubicBezTo>
                  <a:cubicBezTo>
                    <a:pt x="538" y="301"/>
                    <a:pt x="538" y="309"/>
                    <a:pt x="506" y="285"/>
                  </a:cubicBezTo>
                  <a:cubicBezTo>
                    <a:pt x="483" y="277"/>
                    <a:pt x="459" y="285"/>
                    <a:pt x="459" y="261"/>
                  </a:cubicBezTo>
                  <a:cubicBezTo>
                    <a:pt x="332" y="301"/>
                    <a:pt x="16" y="380"/>
                    <a:pt x="0" y="356"/>
                  </a:cubicBezTo>
                  <a:lnTo>
                    <a:pt x="0" y="356"/>
                  </a:lnTo>
                  <a:cubicBezTo>
                    <a:pt x="151" y="1574"/>
                    <a:pt x="151" y="1574"/>
                    <a:pt x="151" y="1574"/>
                  </a:cubicBezTo>
                  <a:cubicBezTo>
                    <a:pt x="151" y="1558"/>
                    <a:pt x="158" y="1558"/>
                    <a:pt x="166" y="1558"/>
                  </a:cubicBezTo>
                  <a:cubicBezTo>
                    <a:pt x="198" y="1558"/>
                    <a:pt x="222" y="1558"/>
                    <a:pt x="253" y="1565"/>
                  </a:cubicBezTo>
                  <a:cubicBezTo>
                    <a:pt x="285" y="1574"/>
                    <a:pt x="293" y="1542"/>
                    <a:pt x="317" y="1574"/>
                  </a:cubicBezTo>
                  <a:cubicBezTo>
                    <a:pt x="340" y="1613"/>
                    <a:pt x="340" y="1629"/>
                    <a:pt x="364" y="1645"/>
                  </a:cubicBezTo>
                  <a:cubicBezTo>
                    <a:pt x="388" y="1660"/>
                    <a:pt x="372" y="1700"/>
                    <a:pt x="419" y="1700"/>
                  </a:cubicBezTo>
                  <a:cubicBezTo>
                    <a:pt x="467" y="1708"/>
                    <a:pt x="514" y="1684"/>
                    <a:pt x="530" y="1700"/>
                  </a:cubicBezTo>
                  <a:cubicBezTo>
                    <a:pt x="546" y="1724"/>
                    <a:pt x="593" y="1763"/>
                    <a:pt x="617" y="1755"/>
                  </a:cubicBezTo>
                  <a:cubicBezTo>
                    <a:pt x="641" y="1747"/>
                    <a:pt x="633" y="1700"/>
                    <a:pt x="664" y="1708"/>
                  </a:cubicBezTo>
                  <a:cubicBezTo>
                    <a:pt x="696" y="1716"/>
                    <a:pt x="704" y="1732"/>
                    <a:pt x="728" y="1732"/>
                  </a:cubicBezTo>
                  <a:cubicBezTo>
                    <a:pt x="743" y="1732"/>
                    <a:pt x="751" y="1724"/>
                    <a:pt x="759" y="1716"/>
                  </a:cubicBezTo>
                  <a:cubicBezTo>
                    <a:pt x="759" y="1700"/>
                    <a:pt x="775" y="1700"/>
                    <a:pt x="783" y="1708"/>
                  </a:cubicBezTo>
                  <a:cubicBezTo>
                    <a:pt x="791" y="1708"/>
                    <a:pt x="799" y="1692"/>
                    <a:pt x="807" y="1684"/>
                  </a:cubicBezTo>
                  <a:lnTo>
                    <a:pt x="830" y="1676"/>
                  </a:lnTo>
                  <a:cubicBezTo>
                    <a:pt x="854" y="1652"/>
                    <a:pt x="854" y="1652"/>
                    <a:pt x="854" y="1652"/>
                  </a:cubicBezTo>
                  <a:cubicBezTo>
                    <a:pt x="870" y="1668"/>
                    <a:pt x="870" y="1668"/>
                    <a:pt x="870" y="1668"/>
                  </a:cubicBezTo>
                  <a:cubicBezTo>
                    <a:pt x="870" y="1668"/>
                    <a:pt x="870" y="1668"/>
                    <a:pt x="870" y="1676"/>
                  </a:cubicBezTo>
                  <a:cubicBezTo>
                    <a:pt x="878" y="1692"/>
                    <a:pt x="886" y="1700"/>
                    <a:pt x="894" y="1700"/>
                  </a:cubicBezTo>
                  <a:cubicBezTo>
                    <a:pt x="910" y="1708"/>
                    <a:pt x="901" y="1708"/>
                    <a:pt x="910" y="1724"/>
                  </a:cubicBezTo>
                  <a:cubicBezTo>
                    <a:pt x="925" y="1732"/>
                    <a:pt x="949" y="1739"/>
                    <a:pt x="965" y="1747"/>
                  </a:cubicBezTo>
                  <a:cubicBezTo>
                    <a:pt x="981" y="1747"/>
                    <a:pt x="981" y="1763"/>
                    <a:pt x="981" y="1771"/>
                  </a:cubicBezTo>
                  <a:cubicBezTo>
                    <a:pt x="988" y="1779"/>
                    <a:pt x="1004" y="1795"/>
                    <a:pt x="1012" y="1803"/>
                  </a:cubicBezTo>
                  <a:cubicBezTo>
                    <a:pt x="1028" y="1795"/>
                    <a:pt x="1044" y="1795"/>
                    <a:pt x="1060" y="1787"/>
                  </a:cubicBezTo>
                  <a:cubicBezTo>
                    <a:pt x="1091" y="1787"/>
                    <a:pt x="1083" y="1779"/>
                    <a:pt x="1083" y="1739"/>
                  </a:cubicBezTo>
                  <a:cubicBezTo>
                    <a:pt x="1083" y="1708"/>
                    <a:pt x="1099" y="1716"/>
                    <a:pt x="1123" y="1708"/>
                  </a:cubicBezTo>
                  <a:cubicBezTo>
                    <a:pt x="1139" y="1700"/>
                    <a:pt x="1131" y="1660"/>
                    <a:pt x="1123" y="1637"/>
                  </a:cubicBezTo>
                  <a:cubicBezTo>
                    <a:pt x="1107" y="1613"/>
                    <a:pt x="1131" y="1581"/>
                    <a:pt x="1123" y="1550"/>
                  </a:cubicBezTo>
                  <a:cubicBezTo>
                    <a:pt x="1123" y="1526"/>
                    <a:pt x="1147" y="1487"/>
                    <a:pt x="1163" y="1479"/>
                  </a:cubicBezTo>
                  <a:cubicBezTo>
                    <a:pt x="1170" y="1463"/>
                    <a:pt x="1202" y="1494"/>
                    <a:pt x="1226" y="1510"/>
                  </a:cubicBezTo>
                  <a:cubicBezTo>
                    <a:pt x="1241" y="1526"/>
                    <a:pt x="1226" y="1415"/>
                    <a:pt x="1218" y="1376"/>
                  </a:cubicBezTo>
                  <a:cubicBezTo>
                    <a:pt x="1210" y="1344"/>
                    <a:pt x="1257" y="1336"/>
                    <a:pt x="1281" y="1328"/>
                  </a:cubicBezTo>
                  <a:cubicBezTo>
                    <a:pt x="1305" y="1321"/>
                    <a:pt x="1297" y="1289"/>
                    <a:pt x="1305" y="1257"/>
                  </a:cubicBezTo>
                  <a:cubicBezTo>
                    <a:pt x="1313" y="1226"/>
                    <a:pt x="1336" y="1249"/>
                    <a:pt x="1360" y="1265"/>
                  </a:cubicBezTo>
                  <a:cubicBezTo>
                    <a:pt x="1392" y="1281"/>
                    <a:pt x="1392" y="1265"/>
                    <a:pt x="1423" y="1257"/>
                  </a:cubicBezTo>
                  <a:cubicBezTo>
                    <a:pt x="1447" y="1257"/>
                    <a:pt x="1487" y="1186"/>
                    <a:pt x="1502" y="1154"/>
                  </a:cubicBezTo>
                  <a:cubicBezTo>
                    <a:pt x="1526" y="1131"/>
                    <a:pt x="1518" y="1068"/>
                    <a:pt x="1510" y="1012"/>
                  </a:cubicBezTo>
                  <a:cubicBezTo>
                    <a:pt x="1510" y="949"/>
                    <a:pt x="1542" y="973"/>
                    <a:pt x="1550" y="957"/>
                  </a:cubicBezTo>
                  <a:cubicBezTo>
                    <a:pt x="1565" y="949"/>
                    <a:pt x="1550" y="870"/>
                    <a:pt x="1550" y="830"/>
                  </a:cubicBezTo>
                  <a:cubicBezTo>
                    <a:pt x="1542" y="791"/>
                    <a:pt x="1550" y="807"/>
                    <a:pt x="1565" y="799"/>
                  </a:cubicBezTo>
                  <a:cubicBezTo>
                    <a:pt x="1581" y="791"/>
                    <a:pt x="1558" y="751"/>
                    <a:pt x="1550" y="720"/>
                  </a:cubicBezTo>
                </a:path>
              </a:pathLst>
            </a:custGeom>
            <a:grpFill/>
            <a:ln>
              <a:solidFill>
                <a:schemeClr val="bg1">
                  <a:lumMod val="95000"/>
                </a:schemeClr>
              </a:solidFill>
            </a:ln>
            <a:effectLst/>
          </p:spPr>
          <p:txBody>
            <a:bodyPr wrap="none" anchor="ctr"/>
            <a:lstStyle/>
            <a:p>
              <a:endParaRPr lang="en-US" sz="900"/>
            </a:p>
          </p:txBody>
        </p:sp>
        <p:sp>
          <p:nvSpPr>
            <p:cNvPr id="118" name="Freeform 786"/>
            <p:cNvSpPr>
              <a:spLocks noChangeArrowheads="1"/>
            </p:cNvSpPr>
            <p:nvPr/>
          </p:nvSpPr>
          <p:spPr bwMode="auto">
            <a:xfrm>
              <a:off x="14428644" y="5166412"/>
              <a:ext cx="837269" cy="953235"/>
            </a:xfrm>
            <a:custGeom>
              <a:avLst/>
              <a:gdLst>
                <a:gd name="T0" fmla="*/ 989 w 1590"/>
                <a:gd name="T1" fmla="*/ 1787 h 1812"/>
                <a:gd name="T2" fmla="*/ 909 w 1590"/>
                <a:gd name="T3" fmla="*/ 1716 h 1812"/>
                <a:gd name="T4" fmla="*/ 862 w 1590"/>
                <a:gd name="T5" fmla="*/ 1668 h 1812"/>
                <a:gd name="T6" fmla="*/ 783 w 1590"/>
                <a:gd name="T7" fmla="*/ 1716 h 1812"/>
                <a:gd name="T8" fmla="*/ 672 w 1590"/>
                <a:gd name="T9" fmla="*/ 1716 h 1812"/>
                <a:gd name="T10" fmla="*/ 617 w 1590"/>
                <a:gd name="T11" fmla="*/ 1763 h 1812"/>
                <a:gd name="T12" fmla="*/ 443 w 1590"/>
                <a:gd name="T13" fmla="*/ 1716 h 1812"/>
                <a:gd name="T14" fmla="*/ 340 w 1590"/>
                <a:gd name="T15" fmla="*/ 1613 h 1812"/>
                <a:gd name="T16" fmla="*/ 269 w 1590"/>
                <a:gd name="T17" fmla="*/ 1582 h 1812"/>
                <a:gd name="T18" fmla="*/ 159 w 1590"/>
                <a:gd name="T19" fmla="*/ 1582 h 1812"/>
                <a:gd name="T20" fmla="*/ 8 w 1590"/>
                <a:gd name="T21" fmla="*/ 356 h 1812"/>
                <a:gd name="T22" fmla="*/ 475 w 1590"/>
                <a:gd name="T23" fmla="*/ 269 h 1812"/>
                <a:gd name="T24" fmla="*/ 554 w 1590"/>
                <a:gd name="T25" fmla="*/ 309 h 1812"/>
                <a:gd name="T26" fmla="*/ 656 w 1590"/>
                <a:gd name="T27" fmla="*/ 356 h 1812"/>
                <a:gd name="T28" fmla="*/ 720 w 1590"/>
                <a:gd name="T29" fmla="*/ 356 h 1812"/>
                <a:gd name="T30" fmla="*/ 665 w 1590"/>
                <a:gd name="T31" fmla="*/ 388 h 1812"/>
                <a:gd name="T32" fmla="*/ 728 w 1590"/>
                <a:gd name="T33" fmla="*/ 372 h 1812"/>
                <a:gd name="T34" fmla="*/ 933 w 1590"/>
                <a:gd name="T35" fmla="*/ 340 h 1812"/>
                <a:gd name="T36" fmla="*/ 1463 w 1590"/>
                <a:gd name="T37" fmla="*/ 0 h 1812"/>
                <a:gd name="T38" fmla="*/ 1566 w 1590"/>
                <a:gd name="T39" fmla="*/ 649 h 1812"/>
                <a:gd name="T40" fmla="*/ 1566 w 1590"/>
                <a:gd name="T41" fmla="*/ 728 h 1812"/>
                <a:gd name="T42" fmla="*/ 1558 w 1590"/>
                <a:gd name="T43" fmla="*/ 838 h 1812"/>
                <a:gd name="T44" fmla="*/ 1526 w 1590"/>
                <a:gd name="T45" fmla="*/ 1020 h 1812"/>
                <a:gd name="T46" fmla="*/ 1408 w 1590"/>
                <a:gd name="T47" fmla="*/ 1281 h 1812"/>
                <a:gd name="T48" fmla="*/ 1329 w 1590"/>
                <a:gd name="T49" fmla="*/ 1249 h 1812"/>
                <a:gd name="T50" fmla="*/ 1273 w 1590"/>
                <a:gd name="T51" fmla="*/ 1344 h 1812"/>
                <a:gd name="T52" fmla="*/ 1234 w 1590"/>
                <a:gd name="T53" fmla="*/ 1518 h 1812"/>
                <a:gd name="T54" fmla="*/ 1131 w 1590"/>
                <a:gd name="T55" fmla="*/ 1597 h 1812"/>
                <a:gd name="T56" fmla="*/ 1115 w 1590"/>
                <a:gd name="T57" fmla="*/ 1724 h 1812"/>
                <a:gd name="T58" fmla="*/ 1020 w 1590"/>
                <a:gd name="T59" fmla="*/ 1811 h 1812"/>
                <a:gd name="T60" fmla="*/ 878 w 1590"/>
                <a:gd name="T61" fmla="*/ 1676 h 1812"/>
                <a:gd name="T62" fmla="*/ 925 w 1590"/>
                <a:gd name="T63" fmla="*/ 1732 h 1812"/>
                <a:gd name="T64" fmla="*/ 1020 w 1590"/>
                <a:gd name="T65" fmla="*/ 1803 h 1812"/>
                <a:gd name="T66" fmla="*/ 1115 w 1590"/>
                <a:gd name="T67" fmla="*/ 1716 h 1812"/>
                <a:gd name="T68" fmla="*/ 1123 w 1590"/>
                <a:gd name="T69" fmla="*/ 1597 h 1812"/>
                <a:gd name="T70" fmla="*/ 1210 w 1590"/>
                <a:gd name="T71" fmla="*/ 1502 h 1812"/>
                <a:gd name="T72" fmla="*/ 1273 w 1590"/>
                <a:gd name="T73" fmla="*/ 1336 h 1812"/>
                <a:gd name="T74" fmla="*/ 1329 w 1590"/>
                <a:gd name="T75" fmla="*/ 1242 h 1812"/>
                <a:gd name="T76" fmla="*/ 1408 w 1590"/>
                <a:gd name="T77" fmla="*/ 1273 h 1812"/>
                <a:gd name="T78" fmla="*/ 1518 w 1590"/>
                <a:gd name="T79" fmla="*/ 1020 h 1812"/>
                <a:gd name="T80" fmla="*/ 1550 w 1590"/>
                <a:gd name="T81" fmla="*/ 838 h 1812"/>
                <a:gd name="T82" fmla="*/ 1558 w 1590"/>
                <a:gd name="T83" fmla="*/ 728 h 1812"/>
                <a:gd name="T84" fmla="*/ 1566 w 1590"/>
                <a:gd name="T85" fmla="*/ 641 h 1812"/>
                <a:gd name="T86" fmla="*/ 1060 w 1590"/>
                <a:gd name="T87" fmla="*/ 325 h 1812"/>
                <a:gd name="T88" fmla="*/ 743 w 1590"/>
                <a:gd name="T89" fmla="*/ 372 h 1812"/>
                <a:gd name="T90" fmla="*/ 672 w 1590"/>
                <a:gd name="T91" fmla="*/ 403 h 1812"/>
                <a:gd name="T92" fmla="*/ 712 w 1590"/>
                <a:gd name="T93" fmla="*/ 356 h 1812"/>
                <a:gd name="T94" fmla="*/ 665 w 1590"/>
                <a:gd name="T95" fmla="*/ 356 h 1812"/>
                <a:gd name="T96" fmla="*/ 585 w 1590"/>
                <a:gd name="T97" fmla="*/ 325 h 1812"/>
                <a:gd name="T98" fmla="*/ 467 w 1590"/>
                <a:gd name="T99" fmla="*/ 277 h 1812"/>
                <a:gd name="T100" fmla="*/ 174 w 1590"/>
                <a:gd name="T101" fmla="*/ 1558 h 1812"/>
                <a:gd name="T102" fmla="*/ 285 w 1590"/>
                <a:gd name="T103" fmla="*/ 1566 h 1812"/>
                <a:gd name="T104" fmla="*/ 372 w 1590"/>
                <a:gd name="T105" fmla="*/ 1653 h 1812"/>
                <a:gd name="T106" fmla="*/ 483 w 1590"/>
                <a:gd name="T107" fmla="*/ 1700 h 1812"/>
                <a:gd name="T108" fmla="*/ 625 w 1590"/>
                <a:gd name="T109" fmla="*/ 1755 h 1812"/>
                <a:gd name="T110" fmla="*/ 712 w 1590"/>
                <a:gd name="T111" fmla="*/ 1724 h 1812"/>
                <a:gd name="T112" fmla="*/ 791 w 1590"/>
                <a:gd name="T113" fmla="*/ 1708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0" h="1812">
                  <a:moveTo>
                    <a:pt x="1020" y="1811"/>
                  </a:moveTo>
                  <a:lnTo>
                    <a:pt x="1020" y="1811"/>
                  </a:lnTo>
                  <a:lnTo>
                    <a:pt x="1020" y="1811"/>
                  </a:lnTo>
                  <a:cubicBezTo>
                    <a:pt x="1004" y="1803"/>
                    <a:pt x="989" y="1787"/>
                    <a:pt x="989" y="1787"/>
                  </a:cubicBezTo>
                  <a:cubicBezTo>
                    <a:pt x="989" y="1779"/>
                    <a:pt x="989" y="1779"/>
                    <a:pt x="981" y="1771"/>
                  </a:cubicBezTo>
                  <a:cubicBezTo>
                    <a:pt x="981" y="1763"/>
                    <a:pt x="981" y="1755"/>
                    <a:pt x="973" y="1755"/>
                  </a:cubicBezTo>
                  <a:cubicBezTo>
                    <a:pt x="941" y="1747"/>
                    <a:pt x="925" y="1740"/>
                    <a:pt x="918" y="1732"/>
                  </a:cubicBezTo>
                  <a:cubicBezTo>
                    <a:pt x="909" y="1724"/>
                    <a:pt x="909" y="1724"/>
                    <a:pt x="909" y="1716"/>
                  </a:cubicBezTo>
                  <a:cubicBezTo>
                    <a:pt x="909" y="1716"/>
                    <a:pt x="909" y="1716"/>
                    <a:pt x="902" y="1716"/>
                  </a:cubicBezTo>
                  <a:cubicBezTo>
                    <a:pt x="894" y="1708"/>
                    <a:pt x="878" y="1700"/>
                    <a:pt x="878" y="1692"/>
                  </a:cubicBezTo>
                  <a:cubicBezTo>
                    <a:pt x="870" y="1684"/>
                    <a:pt x="870" y="1676"/>
                    <a:pt x="870" y="1676"/>
                  </a:cubicBezTo>
                  <a:cubicBezTo>
                    <a:pt x="862" y="1668"/>
                    <a:pt x="862" y="1668"/>
                    <a:pt x="862" y="1668"/>
                  </a:cubicBezTo>
                  <a:cubicBezTo>
                    <a:pt x="838" y="1684"/>
                    <a:pt x="838" y="1684"/>
                    <a:pt x="838" y="1684"/>
                  </a:cubicBezTo>
                  <a:cubicBezTo>
                    <a:pt x="831" y="1692"/>
                    <a:pt x="815" y="1692"/>
                    <a:pt x="815" y="1700"/>
                  </a:cubicBezTo>
                  <a:cubicBezTo>
                    <a:pt x="807" y="1716"/>
                    <a:pt x="799" y="1716"/>
                    <a:pt x="791" y="1716"/>
                  </a:cubicBezTo>
                  <a:lnTo>
                    <a:pt x="783" y="1716"/>
                  </a:lnTo>
                  <a:cubicBezTo>
                    <a:pt x="775" y="1716"/>
                    <a:pt x="767" y="1716"/>
                    <a:pt x="767" y="1724"/>
                  </a:cubicBezTo>
                  <a:cubicBezTo>
                    <a:pt x="767" y="1732"/>
                    <a:pt x="751" y="1740"/>
                    <a:pt x="736" y="1740"/>
                  </a:cubicBezTo>
                  <a:cubicBezTo>
                    <a:pt x="720" y="1740"/>
                    <a:pt x="712" y="1740"/>
                    <a:pt x="704" y="1732"/>
                  </a:cubicBezTo>
                  <a:cubicBezTo>
                    <a:pt x="696" y="1732"/>
                    <a:pt x="688" y="1724"/>
                    <a:pt x="672" y="1716"/>
                  </a:cubicBezTo>
                  <a:lnTo>
                    <a:pt x="665" y="1716"/>
                  </a:lnTo>
                  <a:cubicBezTo>
                    <a:pt x="656" y="1716"/>
                    <a:pt x="656" y="1724"/>
                    <a:pt x="649" y="1740"/>
                  </a:cubicBezTo>
                  <a:cubicBezTo>
                    <a:pt x="641" y="1747"/>
                    <a:pt x="641" y="1763"/>
                    <a:pt x="625" y="1763"/>
                  </a:cubicBezTo>
                  <a:cubicBezTo>
                    <a:pt x="625" y="1763"/>
                    <a:pt x="625" y="1763"/>
                    <a:pt x="617" y="1763"/>
                  </a:cubicBezTo>
                  <a:cubicBezTo>
                    <a:pt x="593" y="1763"/>
                    <a:pt x="546" y="1732"/>
                    <a:pt x="538" y="1708"/>
                  </a:cubicBezTo>
                  <a:cubicBezTo>
                    <a:pt x="530" y="1708"/>
                    <a:pt x="522" y="1708"/>
                    <a:pt x="514" y="1708"/>
                  </a:cubicBezTo>
                  <a:cubicBezTo>
                    <a:pt x="506" y="1708"/>
                    <a:pt x="498" y="1708"/>
                    <a:pt x="491" y="1708"/>
                  </a:cubicBezTo>
                  <a:cubicBezTo>
                    <a:pt x="475" y="1716"/>
                    <a:pt x="459" y="1716"/>
                    <a:pt x="443" y="1716"/>
                  </a:cubicBezTo>
                  <a:cubicBezTo>
                    <a:pt x="435" y="1716"/>
                    <a:pt x="427" y="1716"/>
                    <a:pt x="427" y="1716"/>
                  </a:cubicBezTo>
                  <a:cubicBezTo>
                    <a:pt x="396" y="1708"/>
                    <a:pt x="388" y="1692"/>
                    <a:pt x="380" y="1676"/>
                  </a:cubicBezTo>
                  <a:cubicBezTo>
                    <a:pt x="380" y="1668"/>
                    <a:pt x="380" y="1660"/>
                    <a:pt x="372" y="1653"/>
                  </a:cubicBezTo>
                  <a:cubicBezTo>
                    <a:pt x="356" y="1645"/>
                    <a:pt x="348" y="1637"/>
                    <a:pt x="340" y="1613"/>
                  </a:cubicBezTo>
                  <a:cubicBezTo>
                    <a:pt x="332" y="1605"/>
                    <a:pt x="325" y="1597"/>
                    <a:pt x="317" y="1582"/>
                  </a:cubicBezTo>
                  <a:cubicBezTo>
                    <a:pt x="309" y="1573"/>
                    <a:pt x="301" y="1573"/>
                    <a:pt x="301" y="1573"/>
                  </a:cubicBezTo>
                  <a:lnTo>
                    <a:pt x="293" y="1573"/>
                  </a:lnTo>
                  <a:cubicBezTo>
                    <a:pt x="285" y="1573"/>
                    <a:pt x="277" y="1582"/>
                    <a:pt x="269" y="1582"/>
                  </a:cubicBezTo>
                  <a:lnTo>
                    <a:pt x="261" y="1582"/>
                  </a:lnTo>
                  <a:cubicBezTo>
                    <a:pt x="230" y="1573"/>
                    <a:pt x="206" y="1566"/>
                    <a:pt x="174" y="1566"/>
                  </a:cubicBezTo>
                  <a:lnTo>
                    <a:pt x="174" y="1566"/>
                  </a:lnTo>
                  <a:cubicBezTo>
                    <a:pt x="166" y="1566"/>
                    <a:pt x="159" y="1573"/>
                    <a:pt x="159" y="1582"/>
                  </a:cubicBezTo>
                  <a:cubicBezTo>
                    <a:pt x="151" y="1589"/>
                    <a:pt x="151" y="1589"/>
                    <a:pt x="151" y="1589"/>
                  </a:cubicBezTo>
                  <a:cubicBezTo>
                    <a:pt x="0" y="348"/>
                    <a:pt x="0" y="348"/>
                    <a:pt x="0" y="348"/>
                  </a:cubicBezTo>
                  <a:cubicBezTo>
                    <a:pt x="8" y="356"/>
                    <a:pt x="8" y="356"/>
                    <a:pt x="8" y="356"/>
                  </a:cubicBezTo>
                  <a:lnTo>
                    <a:pt x="8" y="356"/>
                  </a:lnTo>
                  <a:cubicBezTo>
                    <a:pt x="8" y="364"/>
                    <a:pt x="8" y="364"/>
                    <a:pt x="8" y="364"/>
                  </a:cubicBezTo>
                  <a:cubicBezTo>
                    <a:pt x="8" y="364"/>
                    <a:pt x="16" y="364"/>
                    <a:pt x="24" y="364"/>
                  </a:cubicBezTo>
                  <a:cubicBezTo>
                    <a:pt x="103" y="364"/>
                    <a:pt x="356" y="301"/>
                    <a:pt x="467" y="269"/>
                  </a:cubicBezTo>
                  <a:cubicBezTo>
                    <a:pt x="475" y="269"/>
                    <a:pt x="475" y="269"/>
                    <a:pt x="475" y="269"/>
                  </a:cubicBezTo>
                  <a:cubicBezTo>
                    <a:pt x="475" y="277"/>
                    <a:pt x="475" y="277"/>
                    <a:pt x="475" y="277"/>
                  </a:cubicBezTo>
                  <a:cubicBezTo>
                    <a:pt x="467" y="277"/>
                    <a:pt x="475" y="277"/>
                    <a:pt x="491" y="285"/>
                  </a:cubicBezTo>
                  <a:cubicBezTo>
                    <a:pt x="498" y="285"/>
                    <a:pt x="506" y="285"/>
                    <a:pt x="522" y="293"/>
                  </a:cubicBezTo>
                  <a:cubicBezTo>
                    <a:pt x="538" y="301"/>
                    <a:pt x="546" y="301"/>
                    <a:pt x="554" y="309"/>
                  </a:cubicBezTo>
                  <a:cubicBezTo>
                    <a:pt x="562" y="309"/>
                    <a:pt x="570" y="309"/>
                    <a:pt x="585" y="317"/>
                  </a:cubicBezTo>
                  <a:cubicBezTo>
                    <a:pt x="601" y="325"/>
                    <a:pt x="609" y="325"/>
                    <a:pt x="617" y="325"/>
                  </a:cubicBezTo>
                  <a:cubicBezTo>
                    <a:pt x="633" y="332"/>
                    <a:pt x="641" y="332"/>
                    <a:pt x="649" y="348"/>
                  </a:cubicBezTo>
                  <a:cubicBezTo>
                    <a:pt x="656" y="356"/>
                    <a:pt x="656" y="356"/>
                    <a:pt x="656" y="356"/>
                  </a:cubicBezTo>
                  <a:cubicBezTo>
                    <a:pt x="656" y="356"/>
                    <a:pt x="656" y="356"/>
                    <a:pt x="665" y="348"/>
                  </a:cubicBezTo>
                  <a:cubicBezTo>
                    <a:pt x="665" y="348"/>
                    <a:pt x="672" y="340"/>
                    <a:pt x="680" y="340"/>
                  </a:cubicBezTo>
                  <a:cubicBezTo>
                    <a:pt x="688" y="332"/>
                    <a:pt x="688" y="332"/>
                    <a:pt x="696" y="332"/>
                  </a:cubicBezTo>
                  <a:cubicBezTo>
                    <a:pt x="712" y="332"/>
                    <a:pt x="712" y="340"/>
                    <a:pt x="720" y="356"/>
                  </a:cubicBezTo>
                  <a:lnTo>
                    <a:pt x="720" y="364"/>
                  </a:lnTo>
                  <a:cubicBezTo>
                    <a:pt x="712" y="372"/>
                    <a:pt x="704" y="372"/>
                    <a:pt x="688" y="372"/>
                  </a:cubicBezTo>
                  <a:cubicBezTo>
                    <a:pt x="680" y="372"/>
                    <a:pt x="672" y="372"/>
                    <a:pt x="672" y="380"/>
                  </a:cubicBezTo>
                  <a:cubicBezTo>
                    <a:pt x="665" y="380"/>
                    <a:pt x="665" y="380"/>
                    <a:pt x="665" y="388"/>
                  </a:cubicBezTo>
                  <a:lnTo>
                    <a:pt x="672" y="396"/>
                  </a:lnTo>
                  <a:cubicBezTo>
                    <a:pt x="680" y="396"/>
                    <a:pt x="680" y="396"/>
                    <a:pt x="680" y="396"/>
                  </a:cubicBezTo>
                  <a:cubicBezTo>
                    <a:pt x="688" y="388"/>
                    <a:pt x="696" y="388"/>
                    <a:pt x="704" y="380"/>
                  </a:cubicBezTo>
                  <a:cubicBezTo>
                    <a:pt x="712" y="380"/>
                    <a:pt x="728" y="372"/>
                    <a:pt x="728" y="372"/>
                  </a:cubicBezTo>
                  <a:cubicBezTo>
                    <a:pt x="728" y="372"/>
                    <a:pt x="736" y="364"/>
                    <a:pt x="743" y="364"/>
                  </a:cubicBezTo>
                  <a:cubicBezTo>
                    <a:pt x="759" y="364"/>
                    <a:pt x="783" y="372"/>
                    <a:pt x="799" y="388"/>
                  </a:cubicBezTo>
                  <a:lnTo>
                    <a:pt x="807" y="388"/>
                  </a:lnTo>
                  <a:cubicBezTo>
                    <a:pt x="846" y="388"/>
                    <a:pt x="918" y="356"/>
                    <a:pt x="933" y="340"/>
                  </a:cubicBezTo>
                  <a:cubicBezTo>
                    <a:pt x="957" y="317"/>
                    <a:pt x="1012" y="317"/>
                    <a:pt x="1060" y="317"/>
                  </a:cubicBezTo>
                  <a:cubicBezTo>
                    <a:pt x="1091" y="317"/>
                    <a:pt x="1155" y="245"/>
                    <a:pt x="1194" y="190"/>
                  </a:cubicBezTo>
                  <a:cubicBezTo>
                    <a:pt x="1218" y="159"/>
                    <a:pt x="1352" y="64"/>
                    <a:pt x="1455" y="8"/>
                  </a:cubicBezTo>
                  <a:cubicBezTo>
                    <a:pt x="1463" y="0"/>
                    <a:pt x="1463" y="0"/>
                    <a:pt x="1463" y="0"/>
                  </a:cubicBezTo>
                  <a:cubicBezTo>
                    <a:pt x="1463" y="8"/>
                    <a:pt x="1463" y="8"/>
                    <a:pt x="1463" y="8"/>
                  </a:cubicBezTo>
                  <a:cubicBezTo>
                    <a:pt x="1582" y="649"/>
                    <a:pt x="1582" y="649"/>
                    <a:pt x="1582" y="649"/>
                  </a:cubicBezTo>
                  <a:cubicBezTo>
                    <a:pt x="1573" y="649"/>
                    <a:pt x="1573" y="649"/>
                    <a:pt x="1573" y="649"/>
                  </a:cubicBezTo>
                  <a:cubicBezTo>
                    <a:pt x="1573" y="649"/>
                    <a:pt x="1573" y="649"/>
                    <a:pt x="1566" y="649"/>
                  </a:cubicBezTo>
                  <a:cubicBezTo>
                    <a:pt x="1558" y="649"/>
                    <a:pt x="1550" y="649"/>
                    <a:pt x="1550" y="656"/>
                  </a:cubicBezTo>
                  <a:lnTo>
                    <a:pt x="1550" y="656"/>
                  </a:lnTo>
                  <a:cubicBezTo>
                    <a:pt x="1550" y="665"/>
                    <a:pt x="1558" y="672"/>
                    <a:pt x="1558" y="688"/>
                  </a:cubicBezTo>
                  <a:cubicBezTo>
                    <a:pt x="1558" y="704"/>
                    <a:pt x="1566" y="712"/>
                    <a:pt x="1566" y="728"/>
                  </a:cubicBezTo>
                  <a:cubicBezTo>
                    <a:pt x="1566" y="736"/>
                    <a:pt x="1573" y="751"/>
                    <a:pt x="1573" y="759"/>
                  </a:cubicBezTo>
                  <a:cubicBezTo>
                    <a:pt x="1582" y="783"/>
                    <a:pt x="1589" y="799"/>
                    <a:pt x="1573" y="807"/>
                  </a:cubicBezTo>
                  <a:lnTo>
                    <a:pt x="1566" y="807"/>
                  </a:lnTo>
                  <a:cubicBezTo>
                    <a:pt x="1558" y="815"/>
                    <a:pt x="1558" y="815"/>
                    <a:pt x="1558" y="838"/>
                  </a:cubicBezTo>
                  <a:cubicBezTo>
                    <a:pt x="1558" y="846"/>
                    <a:pt x="1558" y="862"/>
                    <a:pt x="1566" y="878"/>
                  </a:cubicBezTo>
                  <a:cubicBezTo>
                    <a:pt x="1566" y="925"/>
                    <a:pt x="1573" y="957"/>
                    <a:pt x="1566" y="973"/>
                  </a:cubicBezTo>
                  <a:cubicBezTo>
                    <a:pt x="1558" y="973"/>
                    <a:pt x="1550" y="973"/>
                    <a:pt x="1542" y="981"/>
                  </a:cubicBezTo>
                  <a:cubicBezTo>
                    <a:pt x="1534" y="981"/>
                    <a:pt x="1518" y="981"/>
                    <a:pt x="1526" y="1020"/>
                  </a:cubicBezTo>
                  <a:cubicBezTo>
                    <a:pt x="1534" y="1083"/>
                    <a:pt x="1534" y="1139"/>
                    <a:pt x="1518" y="1170"/>
                  </a:cubicBezTo>
                  <a:cubicBezTo>
                    <a:pt x="1510" y="1178"/>
                    <a:pt x="1502" y="1186"/>
                    <a:pt x="1495" y="1202"/>
                  </a:cubicBezTo>
                  <a:cubicBezTo>
                    <a:pt x="1471" y="1234"/>
                    <a:pt x="1455" y="1265"/>
                    <a:pt x="1431" y="1273"/>
                  </a:cubicBezTo>
                  <a:cubicBezTo>
                    <a:pt x="1423" y="1273"/>
                    <a:pt x="1415" y="1273"/>
                    <a:pt x="1408" y="1281"/>
                  </a:cubicBezTo>
                  <a:cubicBezTo>
                    <a:pt x="1408" y="1281"/>
                    <a:pt x="1400" y="1281"/>
                    <a:pt x="1392" y="1281"/>
                  </a:cubicBezTo>
                  <a:cubicBezTo>
                    <a:pt x="1384" y="1281"/>
                    <a:pt x="1376" y="1281"/>
                    <a:pt x="1368" y="1273"/>
                  </a:cubicBezTo>
                  <a:cubicBezTo>
                    <a:pt x="1368" y="1273"/>
                    <a:pt x="1360" y="1273"/>
                    <a:pt x="1360" y="1265"/>
                  </a:cubicBezTo>
                  <a:cubicBezTo>
                    <a:pt x="1344" y="1257"/>
                    <a:pt x="1336" y="1249"/>
                    <a:pt x="1329" y="1249"/>
                  </a:cubicBezTo>
                  <a:cubicBezTo>
                    <a:pt x="1329" y="1249"/>
                    <a:pt x="1321" y="1249"/>
                    <a:pt x="1321" y="1265"/>
                  </a:cubicBezTo>
                  <a:cubicBezTo>
                    <a:pt x="1321" y="1273"/>
                    <a:pt x="1313" y="1281"/>
                    <a:pt x="1313" y="1289"/>
                  </a:cubicBezTo>
                  <a:cubicBezTo>
                    <a:pt x="1313" y="1313"/>
                    <a:pt x="1313" y="1329"/>
                    <a:pt x="1289" y="1336"/>
                  </a:cubicBezTo>
                  <a:cubicBezTo>
                    <a:pt x="1289" y="1344"/>
                    <a:pt x="1281" y="1344"/>
                    <a:pt x="1273" y="1344"/>
                  </a:cubicBezTo>
                  <a:cubicBezTo>
                    <a:pt x="1249" y="1360"/>
                    <a:pt x="1226" y="1368"/>
                    <a:pt x="1234" y="1384"/>
                  </a:cubicBezTo>
                  <a:cubicBezTo>
                    <a:pt x="1242" y="1415"/>
                    <a:pt x="1249" y="1502"/>
                    <a:pt x="1242" y="1518"/>
                  </a:cubicBezTo>
                  <a:cubicBezTo>
                    <a:pt x="1242" y="1526"/>
                    <a:pt x="1234" y="1526"/>
                    <a:pt x="1234" y="1526"/>
                  </a:cubicBezTo>
                  <a:cubicBezTo>
                    <a:pt x="1234" y="1526"/>
                    <a:pt x="1234" y="1526"/>
                    <a:pt x="1234" y="1518"/>
                  </a:cubicBezTo>
                  <a:cubicBezTo>
                    <a:pt x="1226" y="1518"/>
                    <a:pt x="1218" y="1510"/>
                    <a:pt x="1210" y="1502"/>
                  </a:cubicBezTo>
                  <a:cubicBezTo>
                    <a:pt x="1194" y="1495"/>
                    <a:pt x="1178" y="1479"/>
                    <a:pt x="1171" y="1487"/>
                  </a:cubicBezTo>
                  <a:cubicBezTo>
                    <a:pt x="1155" y="1495"/>
                    <a:pt x="1139" y="1534"/>
                    <a:pt x="1139" y="1558"/>
                  </a:cubicBezTo>
                  <a:cubicBezTo>
                    <a:pt x="1139" y="1573"/>
                    <a:pt x="1139" y="1589"/>
                    <a:pt x="1131" y="1597"/>
                  </a:cubicBezTo>
                  <a:cubicBezTo>
                    <a:pt x="1131" y="1613"/>
                    <a:pt x="1123" y="1629"/>
                    <a:pt x="1131" y="1645"/>
                  </a:cubicBezTo>
                  <a:cubicBezTo>
                    <a:pt x="1139" y="1653"/>
                    <a:pt x="1147" y="1684"/>
                    <a:pt x="1139" y="1708"/>
                  </a:cubicBezTo>
                  <a:cubicBezTo>
                    <a:pt x="1139" y="1716"/>
                    <a:pt x="1131" y="1716"/>
                    <a:pt x="1131" y="1716"/>
                  </a:cubicBezTo>
                  <a:cubicBezTo>
                    <a:pt x="1123" y="1724"/>
                    <a:pt x="1115" y="1724"/>
                    <a:pt x="1115" y="1724"/>
                  </a:cubicBezTo>
                  <a:cubicBezTo>
                    <a:pt x="1099" y="1724"/>
                    <a:pt x="1099" y="1724"/>
                    <a:pt x="1099" y="1747"/>
                  </a:cubicBezTo>
                  <a:cubicBezTo>
                    <a:pt x="1099" y="1755"/>
                    <a:pt x="1099" y="1755"/>
                    <a:pt x="1099" y="1755"/>
                  </a:cubicBezTo>
                  <a:cubicBezTo>
                    <a:pt x="1099" y="1787"/>
                    <a:pt x="1099" y="1795"/>
                    <a:pt x="1068" y="1803"/>
                  </a:cubicBezTo>
                  <a:cubicBezTo>
                    <a:pt x="1052" y="1803"/>
                    <a:pt x="1036" y="1811"/>
                    <a:pt x="1020" y="1811"/>
                  </a:cubicBezTo>
                  <a:close/>
                  <a:moveTo>
                    <a:pt x="862" y="1660"/>
                  </a:moveTo>
                  <a:lnTo>
                    <a:pt x="862" y="1660"/>
                  </a:lnTo>
                  <a:cubicBezTo>
                    <a:pt x="878" y="1668"/>
                    <a:pt x="878" y="1668"/>
                    <a:pt x="878" y="1668"/>
                  </a:cubicBezTo>
                  <a:cubicBezTo>
                    <a:pt x="878" y="1676"/>
                    <a:pt x="878" y="1676"/>
                    <a:pt x="878" y="1676"/>
                  </a:cubicBezTo>
                  <a:cubicBezTo>
                    <a:pt x="878" y="1676"/>
                    <a:pt x="878" y="1676"/>
                    <a:pt x="886" y="1684"/>
                  </a:cubicBezTo>
                  <a:cubicBezTo>
                    <a:pt x="886" y="1692"/>
                    <a:pt x="894" y="1700"/>
                    <a:pt x="902" y="1708"/>
                  </a:cubicBezTo>
                  <a:cubicBezTo>
                    <a:pt x="909" y="1708"/>
                    <a:pt x="918" y="1716"/>
                    <a:pt x="918" y="1716"/>
                  </a:cubicBezTo>
                  <a:cubicBezTo>
                    <a:pt x="918" y="1716"/>
                    <a:pt x="918" y="1724"/>
                    <a:pt x="925" y="1732"/>
                  </a:cubicBezTo>
                  <a:cubicBezTo>
                    <a:pt x="925" y="1740"/>
                    <a:pt x="949" y="1747"/>
                    <a:pt x="973" y="1747"/>
                  </a:cubicBezTo>
                  <a:cubicBezTo>
                    <a:pt x="989" y="1755"/>
                    <a:pt x="989" y="1763"/>
                    <a:pt x="989" y="1771"/>
                  </a:cubicBezTo>
                  <a:lnTo>
                    <a:pt x="996" y="1779"/>
                  </a:lnTo>
                  <a:cubicBezTo>
                    <a:pt x="996" y="1787"/>
                    <a:pt x="1004" y="1787"/>
                    <a:pt x="1020" y="1803"/>
                  </a:cubicBezTo>
                  <a:cubicBezTo>
                    <a:pt x="1036" y="1803"/>
                    <a:pt x="1052" y="1795"/>
                    <a:pt x="1068" y="1795"/>
                  </a:cubicBezTo>
                  <a:cubicBezTo>
                    <a:pt x="1091" y="1787"/>
                    <a:pt x="1091" y="1787"/>
                    <a:pt x="1091" y="1755"/>
                  </a:cubicBezTo>
                  <a:cubicBezTo>
                    <a:pt x="1091" y="1747"/>
                    <a:pt x="1091" y="1747"/>
                    <a:pt x="1091" y="1747"/>
                  </a:cubicBezTo>
                  <a:cubicBezTo>
                    <a:pt x="1091" y="1724"/>
                    <a:pt x="1099" y="1716"/>
                    <a:pt x="1115" y="1716"/>
                  </a:cubicBezTo>
                  <a:lnTo>
                    <a:pt x="1123" y="1716"/>
                  </a:lnTo>
                  <a:cubicBezTo>
                    <a:pt x="1131" y="1708"/>
                    <a:pt x="1131" y="1708"/>
                    <a:pt x="1131" y="1708"/>
                  </a:cubicBezTo>
                  <a:cubicBezTo>
                    <a:pt x="1139" y="1692"/>
                    <a:pt x="1131" y="1668"/>
                    <a:pt x="1123" y="1645"/>
                  </a:cubicBezTo>
                  <a:cubicBezTo>
                    <a:pt x="1115" y="1629"/>
                    <a:pt x="1123" y="1613"/>
                    <a:pt x="1123" y="1597"/>
                  </a:cubicBezTo>
                  <a:cubicBezTo>
                    <a:pt x="1131" y="1582"/>
                    <a:pt x="1131" y="1573"/>
                    <a:pt x="1131" y="1558"/>
                  </a:cubicBezTo>
                  <a:cubicBezTo>
                    <a:pt x="1131" y="1534"/>
                    <a:pt x="1155" y="1495"/>
                    <a:pt x="1162" y="1479"/>
                  </a:cubicBezTo>
                  <a:cubicBezTo>
                    <a:pt x="1171" y="1479"/>
                    <a:pt x="1171" y="1479"/>
                    <a:pt x="1178" y="1479"/>
                  </a:cubicBezTo>
                  <a:cubicBezTo>
                    <a:pt x="1186" y="1479"/>
                    <a:pt x="1202" y="1487"/>
                    <a:pt x="1210" y="1502"/>
                  </a:cubicBezTo>
                  <a:cubicBezTo>
                    <a:pt x="1218" y="1502"/>
                    <a:pt x="1226" y="1510"/>
                    <a:pt x="1234" y="1518"/>
                  </a:cubicBezTo>
                  <a:lnTo>
                    <a:pt x="1234" y="1518"/>
                  </a:lnTo>
                  <a:cubicBezTo>
                    <a:pt x="1242" y="1510"/>
                    <a:pt x="1234" y="1431"/>
                    <a:pt x="1226" y="1392"/>
                  </a:cubicBezTo>
                  <a:cubicBezTo>
                    <a:pt x="1218" y="1360"/>
                    <a:pt x="1249" y="1344"/>
                    <a:pt x="1273" y="1336"/>
                  </a:cubicBezTo>
                  <a:cubicBezTo>
                    <a:pt x="1273" y="1336"/>
                    <a:pt x="1281" y="1336"/>
                    <a:pt x="1289" y="1336"/>
                  </a:cubicBezTo>
                  <a:cubicBezTo>
                    <a:pt x="1305" y="1329"/>
                    <a:pt x="1305" y="1305"/>
                    <a:pt x="1305" y="1289"/>
                  </a:cubicBezTo>
                  <a:cubicBezTo>
                    <a:pt x="1305" y="1281"/>
                    <a:pt x="1313" y="1273"/>
                    <a:pt x="1313" y="1265"/>
                  </a:cubicBezTo>
                  <a:cubicBezTo>
                    <a:pt x="1313" y="1249"/>
                    <a:pt x="1321" y="1242"/>
                    <a:pt x="1329" y="1242"/>
                  </a:cubicBezTo>
                  <a:cubicBezTo>
                    <a:pt x="1336" y="1242"/>
                    <a:pt x="1344" y="1249"/>
                    <a:pt x="1360" y="1265"/>
                  </a:cubicBezTo>
                  <a:cubicBezTo>
                    <a:pt x="1368" y="1265"/>
                    <a:pt x="1368" y="1265"/>
                    <a:pt x="1376" y="1273"/>
                  </a:cubicBezTo>
                  <a:cubicBezTo>
                    <a:pt x="1376" y="1273"/>
                    <a:pt x="1384" y="1281"/>
                    <a:pt x="1392" y="1281"/>
                  </a:cubicBezTo>
                  <a:cubicBezTo>
                    <a:pt x="1400" y="1281"/>
                    <a:pt x="1400" y="1273"/>
                    <a:pt x="1408" y="1273"/>
                  </a:cubicBezTo>
                  <a:cubicBezTo>
                    <a:pt x="1415" y="1273"/>
                    <a:pt x="1423" y="1265"/>
                    <a:pt x="1431" y="1265"/>
                  </a:cubicBezTo>
                  <a:cubicBezTo>
                    <a:pt x="1447" y="1257"/>
                    <a:pt x="1471" y="1226"/>
                    <a:pt x="1487" y="1194"/>
                  </a:cubicBezTo>
                  <a:cubicBezTo>
                    <a:pt x="1495" y="1186"/>
                    <a:pt x="1502" y="1170"/>
                    <a:pt x="1510" y="1162"/>
                  </a:cubicBezTo>
                  <a:cubicBezTo>
                    <a:pt x="1534" y="1139"/>
                    <a:pt x="1526" y="1076"/>
                    <a:pt x="1518" y="1020"/>
                  </a:cubicBezTo>
                  <a:cubicBezTo>
                    <a:pt x="1510" y="981"/>
                    <a:pt x="1526" y="973"/>
                    <a:pt x="1542" y="973"/>
                  </a:cubicBezTo>
                  <a:cubicBezTo>
                    <a:pt x="1550" y="973"/>
                    <a:pt x="1558" y="965"/>
                    <a:pt x="1558" y="965"/>
                  </a:cubicBezTo>
                  <a:cubicBezTo>
                    <a:pt x="1566" y="957"/>
                    <a:pt x="1558" y="909"/>
                    <a:pt x="1558" y="878"/>
                  </a:cubicBezTo>
                  <a:cubicBezTo>
                    <a:pt x="1558" y="862"/>
                    <a:pt x="1550" y="846"/>
                    <a:pt x="1550" y="838"/>
                  </a:cubicBezTo>
                  <a:cubicBezTo>
                    <a:pt x="1550" y="807"/>
                    <a:pt x="1550" y="807"/>
                    <a:pt x="1566" y="807"/>
                  </a:cubicBezTo>
                  <a:lnTo>
                    <a:pt x="1573" y="799"/>
                  </a:lnTo>
                  <a:cubicBezTo>
                    <a:pt x="1582" y="799"/>
                    <a:pt x="1573" y="775"/>
                    <a:pt x="1566" y="759"/>
                  </a:cubicBezTo>
                  <a:cubicBezTo>
                    <a:pt x="1566" y="751"/>
                    <a:pt x="1558" y="743"/>
                    <a:pt x="1558" y="728"/>
                  </a:cubicBezTo>
                  <a:cubicBezTo>
                    <a:pt x="1558" y="720"/>
                    <a:pt x="1550" y="704"/>
                    <a:pt x="1550" y="688"/>
                  </a:cubicBezTo>
                  <a:cubicBezTo>
                    <a:pt x="1550" y="680"/>
                    <a:pt x="1542" y="665"/>
                    <a:pt x="1542" y="656"/>
                  </a:cubicBezTo>
                  <a:lnTo>
                    <a:pt x="1542" y="649"/>
                  </a:lnTo>
                  <a:cubicBezTo>
                    <a:pt x="1550" y="641"/>
                    <a:pt x="1558" y="641"/>
                    <a:pt x="1566" y="641"/>
                  </a:cubicBezTo>
                  <a:cubicBezTo>
                    <a:pt x="1573" y="641"/>
                    <a:pt x="1573" y="641"/>
                    <a:pt x="1573" y="641"/>
                  </a:cubicBezTo>
                  <a:cubicBezTo>
                    <a:pt x="1455" y="16"/>
                    <a:pt x="1455" y="16"/>
                    <a:pt x="1455" y="16"/>
                  </a:cubicBezTo>
                  <a:cubicBezTo>
                    <a:pt x="1352" y="72"/>
                    <a:pt x="1226" y="166"/>
                    <a:pt x="1194" y="198"/>
                  </a:cubicBezTo>
                  <a:cubicBezTo>
                    <a:pt x="1171" y="230"/>
                    <a:pt x="1099" y="325"/>
                    <a:pt x="1060" y="325"/>
                  </a:cubicBezTo>
                  <a:cubicBezTo>
                    <a:pt x="1036" y="325"/>
                    <a:pt x="957" y="325"/>
                    <a:pt x="941" y="340"/>
                  </a:cubicBezTo>
                  <a:cubicBezTo>
                    <a:pt x="918" y="364"/>
                    <a:pt x="846" y="396"/>
                    <a:pt x="807" y="396"/>
                  </a:cubicBezTo>
                  <a:cubicBezTo>
                    <a:pt x="799" y="396"/>
                    <a:pt x="799" y="396"/>
                    <a:pt x="791" y="388"/>
                  </a:cubicBezTo>
                  <a:cubicBezTo>
                    <a:pt x="783" y="380"/>
                    <a:pt x="759" y="372"/>
                    <a:pt x="743" y="372"/>
                  </a:cubicBezTo>
                  <a:cubicBezTo>
                    <a:pt x="736" y="372"/>
                    <a:pt x="736" y="372"/>
                    <a:pt x="736" y="372"/>
                  </a:cubicBezTo>
                  <a:cubicBezTo>
                    <a:pt x="736" y="380"/>
                    <a:pt x="728" y="388"/>
                    <a:pt x="704" y="388"/>
                  </a:cubicBezTo>
                  <a:cubicBezTo>
                    <a:pt x="696" y="396"/>
                    <a:pt x="688" y="396"/>
                    <a:pt x="680" y="396"/>
                  </a:cubicBezTo>
                  <a:cubicBezTo>
                    <a:pt x="680" y="403"/>
                    <a:pt x="680" y="403"/>
                    <a:pt x="672" y="403"/>
                  </a:cubicBezTo>
                  <a:cubicBezTo>
                    <a:pt x="665" y="403"/>
                    <a:pt x="656" y="396"/>
                    <a:pt x="656" y="388"/>
                  </a:cubicBezTo>
                  <a:cubicBezTo>
                    <a:pt x="656" y="380"/>
                    <a:pt x="656" y="372"/>
                    <a:pt x="665" y="372"/>
                  </a:cubicBezTo>
                  <a:cubicBezTo>
                    <a:pt x="672" y="364"/>
                    <a:pt x="680" y="364"/>
                    <a:pt x="688" y="364"/>
                  </a:cubicBezTo>
                  <a:cubicBezTo>
                    <a:pt x="696" y="364"/>
                    <a:pt x="712" y="364"/>
                    <a:pt x="712" y="356"/>
                  </a:cubicBezTo>
                  <a:lnTo>
                    <a:pt x="712" y="356"/>
                  </a:lnTo>
                  <a:cubicBezTo>
                    <a:pt x="712" y="348"/>
                    <a:pt x="704" y="340"/>
                    <a:pt x="696" y="340"/>
                  </a:cubicBezTo>
                  <a:cubicBezTo>
                    <a:pt x="696" y="340"/>
                    <a:pt x="688" y="340"/>
                    <a:pt x="680" y="348"/>
                  </a:cubicBezTo>
                  <a:cubicBezTo>
                    <a:pt x="672" y="348"/>
                    <a:pt x="672" y="356"/>
                    <a:pt x="665" y="356"/>
                  </a:cubicBezTo>
                  <a:cubicBezTo>
                    <a:pt x="665" y="356"/>
                    <a:pt x="665" y="364"/>
                    <a:pt x="656" y="364"/>
                  </a:cubicBezTo>
                  <a:cubicBezTo>
                    <a:pt x="656" y="364"/>
                    <a:pt x="649" y="356"/>
                    <a:pt x="641" y="356"/>
                  </a:cubicBezTo>
                  <a:cubicBezTo>
                    <a:pt x="633" y="340"/>
                    <a:pt x="633" y="340"/>
                    <a:pt x="617" y="332"/>
                  </a:cubicBezTo>
                  <a:cubicBezTo>
                    <a:pt x="609" y="332"/>
                    <a:pt x="601" y="332"/>
                    <a:pt x="585" y="325"/>
                  </a:cubicBezTo>
                  <a:cubicBezTo>
                    <a:pt x="570" y="317"/>
                    <a:pt x="562" y="317"/>
                    <a:pt x="554" y="317"/>
                  </a:cubicBezTo>
                  <a:cubicBezTo>
                    <a:pt x="538" y="309"/>
                    <a:pt x="530" y="309"/>
                    <a:pt x="514" y="301"/>
                  </a:cubicBezTo>
                  <a:cubicBezTo>
                    <a:pt x="506" y="293"/>
                    <a:pt x="498" y="293"/>
                    <a:pt x="483" y="293"/>
                  </a:cubicBezTo>
                  <a:cubicBezTo>
                    <a:pt x="475" y="285"/>
                    <a:pt x="467" y="285"/>
                    <a:pt x="467" y="277"/>
                  </a:cubicBezTo>
                  <a:cubicBezTo>
                    <a:pt x="356" y="309"/>
                    <a:pt x="103" y="372"/>
                    <a:pt x="24" y="372"/>
                  </a:cubicBezTo>
                  <a:cubicBezTo>
                    <a:pt x="16" y="372"/>
                    <a:pt x="16" y="372"/>
                    <a:pt x="8" y="372"/>
                  </a:cubicBezTo>
                  <a:cubicBezTo>
                    <a:pt x="159" y="1566"/>
                    <a:pt x="159" y="1566"/>
                    <a:pt x="159" y="1566"/>
                  </a:cubicBezTo>
                  <a:cubicBezTo>
                    <a:pt x="159" y="1566"/>
                    <a:pt x="166" y="1558"/>
                    <a:pt x="174" y="1558"/>
                  </a:cubicBezTo>
                  <a:lnTo>
                    <a:pt x="174" y="1558"/>
                  </a:lnTo>
                  <a:cubicBezTo>
                    <a:pt x="206" y="1558"/>
                    <a:pt x="230" y="1566"/>
                    <a:pt x="261" y="1573"/>
                  </a:cubicBezTo>
                  <a:lnTo>
                    <a:pt x="269" y="1573"/>
                  </a:lnTo>
                  <a:cubicBezTo>
                    <a:pt x="277" y="1573"/>
                    <a:pt x="285" y="1573"/>
                    <a:pt x="285" y="1566"/>
                  </a:cubicBezTo>
                  <a:cubicBezTo>
                    <a:pt x="293" y="1566"/>
                    <a:pt x="293" y="1566"/>
                    <a:pt x="301" y="1566"/>
                  </a:cubicBezTo>
                  <a:cubicBezTo>
                    <a:pt x="309" y="1566"/>
                    <a:pt x="317" y="1566"/>
                    <a:pt x="325" y="1582"/>
                  </a:cubicBezTo>
                  <a:cubicBezTo>
                    <a:pt x="332" y="1589"/>
                    <a:pt x="340" y="1605"/>
                    <a:pt x="340" y="1613"/>
                  </a:cubicBezTo>
                  <a:cubicBezTo>
                    <a:pt x="356" y="1629"/>
                    <a:pt x="356" y="1645"/>
                    <a:pt x="372" y="1653"/>
                  </a:cubicBezTo>
                  <a:cubicBezTo>
                    <a:pt x="380" y="1660"/>
                    <a:pt x="388" y="1668"/>
                    <a:pt x="388" y="1676"/>
                  </a:cubicBezTo>
                  <a:cubicBezTo>
                    <a:pt x="396" y="1692"/>
                    <a:pt x="396" y="1700"/>
                    <a:pt x="427" y="1708"/>
                  </a:cubicBezTo>
                  <a:cubicBezTo>
                    <a:pt x="435" y="1708"/>
                    <a:pt x="435" y="1708"/>
                    <a:pt x="443" y="1708"/>
                  </a:cubicBezTo>
                  <a:cubicBezTo>
                    <a:pt x="459" y="1708"/>
                    <a:pt x="475" y="1708"/>
                    <a:pt x="483" y="1700"/>
                  </a:cubicBezTo>
                  <a:cubicBezTo>
                    <a:pt x="498" y="1700"/>
                    <a:pt x="506" y="1700"/>
                    <a:pt x="514" y="1700"/>
                  </a:cubicBezTo>
                  <a:cubicBezTo>
                    <a:pt x="530" y="1700"/>
                    <a:pt x="538" y="1700"/>
                    <a:pt x="538" y="1708"/>
                  </a:cubicBezTo>
                  <a:cubicBezTo>
                    <a:pt x="554" y="1724"/>
                    <a:pt x="593" y="1755"/>
                    <a:pt x="617" y="1755"/>
                  </a:cubicBezTo>
                  <a:lnTo>
                    <a:pt x="625" y="1755"/>
                  </a:lnTo>
                  <a:cubicBezTo>
                    <a:pt x="633" y="1755"/>
                    <a:pt x="641" y="1747"/>
                    <a:pt x="641" y="1740"/>
                  </a:cubicBezTo>
                  <a:cubicBezTo>
                    <a:pt x="649" y="1724"/>
                    <a:pt x="649" y="1708"/>
                    <a:pt x="665" y="1708"/>
                  </a:cubicBezTo>
                  <a:cubicBezTo>
                    <a:pt x="672" y="1708"/>
                    <a:pt x="672" y="1708"/>
                    <a:pt x="672" y="1716"/>
                  </a:cubicBezTo>
                  <a:cubicBezTo>
                    <a:pt x="688" y="1716"/>
                    <a:pt x="704" y="1724"/>
                    <a:pt x="712" y="1724"/>
                  </a:cubicBezTo>
                  <a:cubicBezTo>
                    <a:pt x="720" y="1732"/>
                    <a:pt x="720" y="1740"/>
                    <a:pt x="728" y="1732"/>
                  </a:cubicBezTo>
                  <a:cubicBezTo>
                    <a:pt x="751" y="1732"/>
                    <a:pt x="759" y="1724"/>
                    <a:pt x="759" y="1716"/>
                  </a:cubicBezTo>
                  <a:cubicBezTo>
                    <a:pt x="767" y="1716"/>
                    <a:pt x="767" y="1708"/>
                    <a:pt x="783" y="1708"/>
                  </a:cubicBezTo>
                  <a:lnTo>
                    <a:pt x="791" y="1708"/>
                  </a:lnTo>
                  <a:cubicBezTo>
                    <a:pt x="799" y="1708"/>
                    <a:pt x="799" y="1708"/>
                    <a:pt x="807" y="1692"/>
                  </a:cubicBezTo>
                  <a:cubicBezTo>
                    <a:pt x="815" y="1692"/>
                    <a:pt x="823" y="1684"/>
                    <a:pt x="831" y="1676"/>
                  </a:cubicBezTo>
                  <a:lnTo>
                    <a:pt x="862" y="1660"/>
                  </a:lnTo>
                  <a:close/>
                </a:path>
              </a:pathLst>
            </a:custGeom>
            <a:grpFill/>
            <a:ln>
              <a:solidFill>
                <a:schemeClr val="bg1">
                  <a:lumMod val="95000"/>
                </a:schemeClr>
              </a:solidFill>
            </a:ln>
            <a:effectLst/>
          </p:spPr>
          <p:txBody>
            <a:bodyPr wrap="none" anchor="ctr"/>
            <a:lstStyle/>
            <a:p>
              <a:endParaRPr lang="en-US" sz="900"/>
            </a:p>
          </p:txBody>
        </p:sp>
        <p:grpSp>
          <p:nvGrpSpPr>
            <p:cNvPr id="119" name="Group 118"/>
            <p:cNvGrpSpPr/>
            <p:nvPr/>
          </p:nvGrpSpPr>
          <p:grpSpPr>
            <a:xfrm>
              <a:off x="8857671" y="5150178"/>
              <a:ext cx="1085435" cy="1370709"/>
              <a:chOff x="14001891" y="6008321"/>
              <a:chExt cx="1085435" cy="1370709"/>
            </a:xfrm>
            <a:grpFill/>
          </p:grpSpPr>
          <p:sp>
            <p:nvSpPr>
              <p:cNvPr id="120" name="Freeform 131"/>
              <p:cNvSpPr>
                <a:spLocks noChangeArrowheads="1"/>
              </p:cNvSpPr>
              <p:nvPr/>
            </p:nvSpPr>
            <p:spPr bwMode="auto">
              <a:xfrm>
                <a:off x="14001891" y="6008321"/>
                <a:ext cx="1085435" cy="1370709"/>
              </a:xfrm>
              <a:custGeom>
                <a:avLst/>
                <a:gdLst>
                  <a:gd name="T0" fmla="*/ 2040 w 2064"/>
                  <a:gd name="T1" fmla="*/ 711 h 2608"/>
                  <a:gd name="T2" fmla="*/ 2040 w 2064"/>
                  <a:gd name="T3" fmla="*/ 711 h 2608"/>
                  <a:gd name="T4" fmla="*/ 1344 w 2064"/>
                  <a:gd name="T5" fmla="*/ 632 h 2608"/>
                  <a:gd name="T6" fmla="*/ 1415 w 2064"/>
                  <a:gd name="T7" fmla="*/ 174 h 2608"/>
                  <a:gd name="T8" fmla="*/ 403 w 2064"/>
                  <a:gd name="T9" fmla="*/ 0 h 2608"/>
                  <a:gd name="T10" fmla="*/ 0 w 2064"/>
                  <a:gd name="T11" fmla="*/ 2315 h 2608"/>
                  <a:gd name="T12" fmla="*/ 0 w 2064"/>
                  <a:gd name="T13" fmla="*/ 2315 h 2608"/>
                  <a:gd name="T14" fmla="*/ 24 w 2064"/>
                  <a:gd name="T15" fmla="*/ 2323 h 2608"/>
                  <a:gd name="T16" fmla="*/ 24 w 2064"/>
                  <a:gd name="T17" fmla="*/ 2323 h 2608"/>
                  <a:gd name="T18" fmla="*/ 40 w 2064"/>
                  <a:gd name="T19" fmla="*/ 2323 h 2608"/>
                  <a:gd name="T20" fmla="*/ 40 w 2064"/>
                  <a:gd name="T21" fmla="*/ 2323 h 2608"/>
                  <a:gd name="T22" fmla="*/ 1818 w 2064"/>
                  <a:gd name="T23" fmla="*/ 2607 h 2608"/>
                  <a:gd name="T24" fmla="*/ 2063 w 2064"/>
                  <a:gd name="T25" fmla="*/ 735 h 2608"/>
                  <a:gd name="T26" fmla="*/ 2040 w 2064"/>
                  <a:gd name="T27" fmla="*/ 711 h 2608"/>
                  <a:gd name="T28" fmla="*/ 941 w 2064"/>
                  <a:gd name="T29" fmla="*/ 569 h 2608"/>
                  <a:gd name="T30" fmla="*/ 941 w 2064"/>
                  <a:gd name="T31" fmla="*/ 569 h 2608"/>
                  <a:gd name="T32" fmla="*/ 917 w 2064"/>
                  <a:gd name="T33" fmla="*/ 521 h 2608"/>
                  <a:gd name="T34" fmla="*/ 886 w 2064"/>
                  <a:gd name="T35" fmla="*/ 490 h 2608"/>
                  <a:gd name="T36" fmla="*/ 893 w 2064"/>
                  <a:gd name="T37" fmla="*/ 577 h 2608"/>
                  <a:gd name="T38" fmla="*/ 886 w 2064"/>
                  <a:gd name="T39" fmla="*/ 632 h 2608"/>
                  <a:gd name="T40" fmla="*/ 830 w 2064"/>
                  <a:gd name="T41" fmla="*/ 664 h 2608"/>
                  <a:gd name="T42" fmla="*/ 814 w 2064"/>
                  <a:gd name="T43" fmla="*/ 616 h 2608"/>
                  <a:gd name="T44" fmla="*/ 798 w 2064"/>
                  <a:gd name="T45" fmla="*/ 577 h 2608"/>
                  <a:gd name="T46" fmla="*/ 791 w 2064"/>
                  <a:gd name="T47" fmla="*/ 537 h 2608"/>
                  <a:gd name="T48" fmla="*/ 775 w 2064"/>
                  <a:gd name="T49" fmla="*/ 466 h 2608"/>
                  <a:gd name="T50" fmla="*/ 743 w 2064"/>
                  <a:gd name="T51" fmla="*/ 490 h 2608"/>
                  <a:gd name="T52" fmla="*/ 711 w 2064"/>
                  <a:gd name="T53" fmla="*/ 466 h 2608"/>
                  <a:gd name="T54" fmla="*/ 719 w 2064"/>
                  <a:gd name="T55" fmla="*/ 371 h 2608"/>
                  <a:gd name="T56" fmla="*/ 688 w 2064"/>
                  <a:gd name="T57" fmla="*/ 316 h 2608"/>
                  <a:gd name="T58" fmla="*/ 680 w 2064"/>
                  <a:gd name="T59" fmla="*/ 221 h 2608"/>
                  <a:gd name="T60" fmla="*/ 719 w 2064"/>
                  <a:gd name="T61" fmla="*/ 158 h 2608"/>
                  <a:gd name="T62" fmla="*/ 775 w 2064"/>
                  <a:gd name="T63" fmla="*/ 166 h 2608"/>
                  <a:gd name="T64" fmla="*/ 767 w 2064"/>
                  <a:gd name="T65" fmla="*/ 190 h 2608"/>
                  <a:gd name="T66" fmla="*/ 759 w 2064"/>
                  <a:gd name="T67" fmla="*/ 205 h 2608"/>
                  <a:gd name="T68" fmla="*/ 822 w 2064"/>
                  <a:gd name="T69" fmla="*/ 316 h 2608"/>
                  <a:gd name="T70" fmla="*/ 830 w 2064"/>
                  <a:gd name="T71" fmla="*/ 379 h 2608"/>
                  <a:gd name="T72" fmla="*/ 854 w 2064"/>
                  <a:gd name="T73" fmla="*/ 395 h 2608"/>
                  <a:gd name="T74" fmla="*/ 893 w 2064"/>
                  <a:gd name="T75" fmla="*/ 411 h 2608"/>
                  <a:gd name="T76" fmla="*/ 933 w 2064"/>
                  <a:gd name="T77" fmla="*/ 498 h 2608"/>
                  <a:gd name="T78" fmla="*/ 941 w 2064"/>
                  <a:gd name="T79" fmla="*/ 569 h 2608"/>
                  <a:gd name="T80" fmla="*/ 2040 w 2064"/>
                  <a:gd name="T81" fmla="*/ 711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4" h="2608">
                    <a:moveTo>
                      <a:pt x="2040" y="711"/>
                    </a:moveTo>
                    <a:lnTo>
                      <a:pt x="2040" y="711"/>
                    </a:lnTo>
                    <a:cubicBezTo>
                      <a:pt x="1344" y="632"/>
                      <a:pt x="1344" y="632"/>
                      <a:pt x="1344" y="632"/>
                    </a:cubicBezTo>
                    <a:cubicBezTo>
                      <a:pt x="1415" y="174"/>
                      <a:pt x="1415" y="174"/>
                      <a:pt x="1415" y="174"/>
                    </a:cubicBezTo>
                    <a:cubicBezTo>
                      <a:pt x="1075" y="118"/>
                      <a:pt x="735" y="63"/>
                      <a:pt x="403" y="0"/>
                    </a:cubicBezTo>
                    <a:cubicBezTo>
                      <a:pt x="0" y="2315"/>
                      <a:pt x="0" y="2315"/>
                      <a:pt x="0" y="2315"/>
                    </a:cubicBezTo>
                    <a:lnTo>
                      <a:pt x="0" y="2315"/>
                    </a:lnTo>
                    <a:cubicBezTo>
                      <a:pt x="8" y="2315"/>
                      <a:pt x="8" y="2323"/>
                      <a:pt x="24" y="2323"/>
                    </a:cubicBezTo>
                    <a:lnTo>
                      <a:pt x="24" y="2323"/>
                    </a:lnTo>
                    <a:cubicBezTo>
                      <a:pt x="24" y="2323"/>
                      <a:pt x="32" y="2323"/>
                      <a:pt x="40" y="2323"/>
                    </a:cubicBezTo>
                    <a:lnTo>
                      <a:pt x="40" y="2323"/>
                    </a:lnTo>
                    <a:cubicBezTo>
                      <a:pt x="206" y="2354"/>
                      <a:pt x="814" y="2481"/>
                      <a:pt x="1818" y="2607"/>
                    </a:cubicBezTo>
                    <a:cubicBezTo>
                      <a:pt x="2063" y="735"/>
                      <a:pt x="2063" y="735"/>
                      <a:pt x="2063" y="735"/>
                    </a:cubicBezTo>
                    <a:cubicBezTo>
                      <a:pt x="2040" y="711"/>
                      <a:pt x="2040" y="711"/>
                      <a:pt x="2040" y="711"/>
                    </a:cubicBezTo>
                    <a:lnTo>
                      <a:pt x="941" y="569"/>
                    </a:lnTo>
                    <a:lnTo>
                      <a:pt x="941" y="569"/>
                    </a:lnTo>
                    <a:cubicBezTo>
                      <a:pt x="933" y="585"/>
                      <a:pt x="925" y="561"/>
                      <a:pt x="917" y="521"/>
                    </a:cubicBezTo>
                    <a:cubicBezTo>
                      <a:pt x="901" y="482"/>
                      <a:pt x="901" y="498"/>
                      <a:pt x="886" y="490"/>
                    </a:cubicBezTo>
                    <a:cubicBezTo>
                      <a:pt x="862" y="482"/>
                      <a:pt x="886" y="529"/>
                      <a:pt x="893" y="577"/>
                    </a:cubicBezTo>
                    <a:cubicBezTo>
                      <a:pt x="893" y="616"/>
                      <a:pt x="893" y="601"/>
                      <a:pt x="886" y="632"/>
                    </a:cubicBezTo>
                    <a:cubicBezTo>
                      <a:pt x="877" y="664"/>
                      <a:pt x="854" y="648"/>
                      <a:pt x="830" y="664"/>
                    </a:cubicBezTo>
                    <a:cubicBezTo>
                      <a:pt x="806" y="672"/>
                      <a:pt x="814" y="632"/>
                      <a:pt x="814" y="616"/>
                    </a:cubicBezTo>
                    <a:cubicBezTo>
                      <a:pt x="806" y="601"/>
                      <a:pt x="798" y="601"/>
                      <a:pt x="798" y="577"/>
                    </a:cubicBezTo>
                    <a:cubicBezTo>
                      <a:pt x="798" y="545"/>
                      <a:pt x="798" y="537"/>
                      <a:pt x="791" y="537"/>
                    </a:cubicBezTo>
                    <a:cubicBezTo>
                      <a:pt x="783" y="529"/>
                      <a:pt x="775" y="482"/>
                      <a:pt x="775" y="466"/>
                    </a:cubicBezTo>
                    <a:cubicBezTo>
                      <a:pt x="767" y="450"/>
                      <a:pt x="759" y="458"/>
                      <a:pt x="743" y="490"/>
                    </a:cubicBezTo>
                    <a:cubicBezTo>
                      <a:pt x="719" y="514"/>
                      <a:pt x="719" y="498"/>
                      <a:pt x="711" y="466"/>
                    </a:cubicBezTo>
                    <a:cubicBezTo>
                      <a:pt x="711" y="443"/>
                      <a:pt x="719" y="403"/>
                      <a:pt x="719" y="371"/>
                    </a:cubicBezTo>
                    <a:cubicBezTo>
                      <a:pt x="719" y="340"/>
                      <a:pt x="704" y="348"/>
                      <a:pt x="688" y="316"/>
                    </a:cubicBezTo>
                    <a:cubicBezTo>
                      <a:pt x="664" y="292"/>
                      <a:pt x="680" y="245"/>
                      <a:pt x="680" y="221"/>
                    </a:cubicBezTo>
                    <a:cubicBezTo>
                      <a:pt x="680" y="205"/>
                      <a:pt x="711" y="166"/>
                      <a:pt x="719" y="158"/>
                    </a:cubicBezTo>
                    <a:cubicBezTo>
                      <a:pt x="735" y="142"/>
                      <a:pt x="759" y="150"/>
                      <a:pt x="775" y="166"/>
                    </a:cubicBezTo>
                    <a:cubicBezTo>
                      <a:pt x="791" y="174"/>
                      <a:pt x="775" y="181"/>
                      <a:pt x="767" y="190"/>
                    </a:cubicBezTo>
                    <a:cubicBezTo>
                      <a:pt x="751" y="197"/>
                      <a:pt x="759" y="205"/>
                      <a:pt x="759" y="205"/>
                    </a:cubicBezTo>
                    <a:cubicBezTo>
                      <a:pt x="751" y="237"/>
                      <a:pt x="791" y="292"/>
                      <a:pt x="822" y="316"/>
                    </a:cubicBezTo>
                    <a:cubicBezTo>
                      <a:pt x="846" y="332"/>
                      <a:pt x="830" y="348"/>
                      <a:pt x="830" y="379"/>
                    </a:cubicBezTo>
                    <a:cubicBezTo>
                      <a:pt x="830" y="411"/>
                      <a:pt x="846" y="403"/>
                      <a:pt x="854" y="395"/>
                    </a:cubicBezTo>
                    <a:cubicBezTo>
                      <a:pt x="870" y="395"/>
                      <a:pt x="886" y="395"/>
                      <a:pt x="893" y="411"/>
                    </a:cubicBezTo>
                    <a:cubicBezTo>
                      <a:pt x="893" y="427"/>
                      <a:pt x="917" y="466"/>
                      <a:pt x="933" y="498"/>
                    </a:cubicBezTo>
                    <a:cubicBezTo>
                      <a:pt x="957" y="529"/>
                      <a:pt x="941" y="545"/>
                      <a:pt x="941" y="569"/>
                    </a:cubicBezTo>
                    <a:lnTo>
                      <a:pt x="2040" y="711"/>
                    </a:lnTo>
                  </a:path>
                </a:pathLst>
              </a:custGeom>
              <a:solidFill>
                <a:schemeClr val="accent2"/>
              </a:solidFill>
              <a:ln>
                <a:solidFill>
                  <a:schemeClr val="bg1">
                    <a:lumMod val="95000"/>
                  </a:schemeClr>
                </a:solidFill>
              </a:ln>
              <a:effectLst/>
            </p:spPr>
            <p:txBody>
              <a:bodyPr wrap="none" anchor="ctr"/>
              <a:lstStyle/>
              <a:p>
                <a:endParaRPr lang="en-US" sz="900"/>
              </a:p>
            </p:txBody>
          </p:sp>
          <p:sp>
            <p:nvSpPr>
              <p:cNvPr id="121" name="Freeform 1061"/>
              <p:cNvSpPr>
                <a:spLocks noChangeArrowheads="1"/>
              </p:cNvSpPr>
              <p:nvPr/>
            </p:nvSpPr>
            <p:spPr bwMode="auto">
              <a:xfrm>
                <a:off x="14306109" y="6070942"/>
                <a:ext cx="221161" cy="329230"/>
              </a:xfrm>
              <a:custGeom>
                <a:avLst/>
                <a:gdLst>
                  <a:gd name="T0" fmla="*/ 31 w 388"/>
                  <a:gd name="T1" fmla="*/ 143 h 579"/>
                  <a:gd name="T2" fmla="*/ 86 w 388"/>
                  <a:gd name="T3" fmla="*/ 32 h 579"/>
                  <a:gd name="T4" fmla="*/ 173 w 388"/>
                  <a:gd name="T5" fmla="*/ 0 h 579"/>
                  <a:gd name="T6" fmla="*/ 387 w 388"/>
                  <a:gd name="T7" fmla="*/ 435 h 579"/>
                  <a:gd name="T8" fmla="*/ 150 w 388"/>
                  <a:gd name="T9" fmla="*/ 578 h 579"/>
                  <a:gd name="T10" fmla="*/ 0 w 388"/>
                  <a:gd name="T11" fmla="*/ 111 h 579"/>
                  <a:gd name="T12" fmla="*/ 31 w 388"/>
                  <a:gd name="T13" fmla="*/ 143 h 579"/>
                </a:gdLst>
                <a:ahLst/>
                <a:cxnLst>
                  <a:cxn ang="0">
                    <a:pos x="T0" y="T1"/>
                  </a:cxn>
                  <a:cxn ang="0">
                    <a:pos x="T2" y="T3"/>
                  </a:cxn>
                  <a:cxn ang="0">
                    <a:pos x="T4" y="T5"/>
                  </a:cxn>
                  <a:cxn ang="0">
                    <a:pos x="T6" y="T7"/>
                  </a:cxn>
                  <a:cxn ang="0">
                    <a:pos x="T8" y="T9"/>
                  </a:cxn>
                  <a:cxn ang="0">
                    <a:pos x="T10" y="T11"/>
                  </a:cxn>
                  <a:cxn ang="0">
                    <a:pos x="T12" y="T13"/>
                  </a:cxn>
                </a:cxnLst>
                <a:rect l="0" t="0" r="r" b="b"/>
                <a:pathLst>
                  <a:path w="388" h="579">
                    <a:moveTo>
                      <a:pt x="31" y="143"/>
                    </a:moveTo>
                    <a:lnTo>
                      <a:pt x="86" y="32"/>
                    </a:lnTo>
                    <a:lnTo>
                      <a:pt x="173" y="0"/>
                    </a:lnTo>
                    <a:lnTo>
                      <a:pt x="387" y="435"/>
                    </a:lnTo>
                    <a:lnTo>
                      <a:pt x="150" y="578"/>
                    </a:lnTo>
                    <a:lnTo>
                      <a:pt x="0" y="111"/>
                    </a:lnTo>
                    <a:lnTo>
                      <a:pt x="31" y="143"/>
                    </a:lnTo>
                  </a:path>
                </a:pathLst>
              </a:custGeom>
              <a:grpFill/>
              <a:ln>
                <a:solidFill>
                  <a:schemeClr val="bg1">
                    <a:lumMod val="95000"/>
                  </a:schemeClr>
                </a:solidFill>
              </a:ln>
              <a:effectLst/>
            </p:spPr>
            <p:txBody>
              <a:bodyPr wrap="none" anchor="ctr"/>
              <a:lstStyle/>
              <a:p>
                <a:endParaRPr lang="en-US" sz="900"/>
              </a:p>
            </p:txBody>
          </p:sp>
        </p:grpSp>
      </p:grpSp>
      <p:sp>
        <p:nvSpPr>
          <p:cNvPr id="122" name="Oval 121"/>
          <p:cNvSpPr/>
          <p:nvPr/>
        </p:nvSpPr>
        <p:spPr bwMode="auto">
          <a:xfrm>
            <a:off x="2341511" y="1680778"/>
            <a:ext cx="556538" cy="5566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123" name="Content Placeholder 2"/>
          <p:cNvSpPr txBox="1">
            <a:spLocks/>
          </p:cNvSpPr>
          <p:nvPr/>
        </p:nvSpPr>
        <p:spPr bwMode="auto">
          <a:xfrm>
            <a:off x="1768043" y="2604455"/>
            <a:ext cx="1714054" cy="7530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lnSpc>
                <a:spcPct val="120000"/>
              </a:lnSpc>
              <a:spcBef>
                <a:spcPct val="20000"/>
              </a:spcBef>
              <a:buFont typeface="Arial" charset="0"/>
              <a:buNone/>
            </a:pPr>
            <a:r>
              <a:rPr lang="en-US" sz="1200" dirty="0">
                <a:solidFill>
                  <a:schemeClr val="tx1">
                    <a:lumMod val="75000"/>
                    <a:lumOff val="25000"/>
                  </a:schemeClr>
                </a:solidFill>
                <a:latin typeface="+mj-lt"/>
                <a:cs typeface="Lato Light"/>
              </a:rPr>
              <a:t>Lorem ipsum dolor sit amet, consectetur adipiscing elit.</a:t>
            </a:r>
          </a:p>
        </p:txBody>
      </p:sp>
      <p:sp>
        <p:nvSpPr>
          <p:cNvPr id="124" name="Oval 123"/>
          <p:cNvSpPr/>
          <p:nvPr/>
        </p:nvSpPr>
        <p:spPr bwMode="auto">
          <a:xfrm>
            <a:off x="2883201" y="4333840"/>
            <a:ext cx="556538" cy="556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0959" tIns="30479" rIns="60959" bIns="30479" anchor="ctr"/>
          <a:lstStyle/>
          <a:p>
            <a:pPr algn="ctr">
              <a:defRPr/>
            </a:pPr>
            <a:endParaRPr lang="en-US" sz="900" dirty="0">
              <a:solidFill>
                <a:schemeClr val="tx2"/>
              </a:solidFill>
            </a:endParaRPr>
          </a:p>
        </p:txBody>
      </p:sp>
      <p:sp>
        <p:nvSpPr>
          <p:cNvPr id="125" name="Oval 124"/>
          <p:cNvSpPr/>
          <p:nvPr/>
        </p:nvSpPr>
        <p:spPr bwMode="auto">
          <a:xfrm>
            <a:off x="5830205" y="4843676"/>
            <a:ext cx="556538" cy="55668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0959" tIns="30479" rIns="60959" bIns="30479" anchor="ctr"/>
          <a:lstStyle/>
          <a:p>
            <a:pPr algn="ctr">
              <a:defRPr/>
            </a:pPr>
            <a:endParaRPr lang="en-US" sz="900" dirty="0">
              <a:solidFill>
                <a:schemeClr val="tx2"/>
              </a:solidFill>
            </a:endParaRPr>
          </a:p>
        </p:txBody>
      </p:sp>
      <p:sp>
        <p:nvSpPr>
          <p:cNvPr id="126" name="Oval 125"/>
          <p:cNvSpPr/>
          <p:nvPr/>
        </p:nvSpPr>
        <p:spPr bwMode="auto">
          <a:xfrm>
            <a:off x="9383263" y="1680778"/>
            <a:ext cx="556538" cy="556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dirty="0">
              <a:solidFill>
                <a:schemeClr val="tx2"/>
              </a:solidFill>
            </a:endParaRPr>
          </a:p>
        </p:txBody>
      </p:sp>
      <p:sp>
        <p:nvSpPr>
          <p:cNvPr id="127" name="Oval 126"/>
          <p:cNvSpPr/>
          <p:nvPr/>
        </p:nvSpPr>
        <p:spPr bwMode="auto">
          <a:xfrm>
            <a:off x="8862694" y="4333840"/>
            <a:ext cx="556538" cy="556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0959" tIns="30479" rIns="60959" bIns="30479" anchor="ctr"/>
          <a:lstStyle/>
          <a:p>
            <a:pPr algn="ctr">
              <a:defRPr/>
            </a:pPr>
            <a:endParaRPr lang="en-US" sz="900" dirty="0">
              <a:solidFill>
                <a:schemeClr val="tx2"/>
              </a:solidFill>
            </a:endParaRPr>
          </a:p>
        </p:txBody>
      </p:sp>
      <p:sp>
        <p:nvSpPr>
          <p:cNvPr id="128" name="AutoShape 66"/>
          <p:cNvSpPr>
            <a:spLocks noChangeAspect="1"/>
          </p:cNvSpPr>
          <p:nvPr/>
        </p:nvSpPr>
        <p:spPr bwMode="auto">
          <a:xfrm>
            <a:off x="9536766" y="1827326"/>
            <a:ext cx="269127" cy="269197"/>
          </a:xfrm>
          <a:custGeom>
            <a:avLst/>
            <a:gdLst>
              <a:gd name="T0" fmla="*/ 10799 w 21598"/>
              <a:gd name="T1" fmla="*/ 10800 h 21600"/>
              <a:gd name="T2" fmla="*/ 10799 w 21598"/>
              <a:gd name="T3" fmla="*/ 10800 h 21600"/>
              <a:gd name="T4" fmla="*/ 10799 w 21598"/>
              <a:gd name="T5" fmla="*/ 10800 h 21600"/>
              <a:gd name="T6" fmla="*/ 10799 w 21598"/>
              <a:gd name="T7" fmla="*/ 10800 h 21600"/>
            </a:gdLst>
            <a:ahLst/>
            <a:cxnLst>
              <a:cxn ang="0">
                <a:pos x="T0" y="T1"/>
              </a:cxn>
              <a:cxn ang="0">
                <a:pos x="T2" y="T3"/>
              </a:cxn>
              <a:cxn ang="0">
                <a:pos x="T4" y="T5"/>
              </a:cxn>
              <a:cxn ang="0">
                <a:pos x="T6" y="T7"/>
              </a:cxn>
            </a:cxnLst>
            <a:rect l="0" t="0" r="r" b="b"/>
            <a:pathLst>
              <a:path w="21598" h="21600">
                <a:moveTo>
                  <a:pt x="17537" y="12697"/>
                </a:moveTo>
                <a:lnTo>
                  <a:pt x="19798" y="9997"/>
                </a:lnTo>
                <a:lnTo>
                  <a:pt x="19798" y="17284"/>
                </a:lnTo>
                <a:cubicBezTo>
                  <a:pt x="19798" y="17874"/>
                  <a:pt x="19700" y="18429"/>
                  <a:pt x="19505" y="18949"/>
                </a:cubicBezTo>
                <a:cubicBezTo>
                  <a:pt x="19309" y="19469"/>
                  <a:pt x="19049" y="19928"/>
                  <a:pt x="18721" y="20321"/>
                </a:cubicBezTo>
                <a:cubicBezTo>
                  <a:pt x="18394" y="20715"/>
                  <a:pt x="18014" y="21027"/>
                  <a:pt x="17583" y="21256"/>
                </a:cubicBezTo>
                <a:cubicBezTo>
                  <a:pt x="17153" y="21485"/>
                  <a:pt x="16690" y="21599"/>
                  <a:pt x="16188" y="21599"/>
                </a:cubicBezTo>
                <a:lnTo>
                  <a:pt x="3595" y="21599"/>
                </a:lnTo>
                <a:cubicBezTo>
                  <a:pt x="3103" y="21599"/>
                  <a:pt x="2635" y="21485"/>
                  <a:pt x="2195" y="21256"/>
                </a:cubicBezTo>
                <a:cubicBezTo>
                  <a:pt x="1754" y="21027"/>
                  <a:pt x="1372" y="20715"/>
                  <a:pt x="1052" y="20321"/>
                </a:cubicBezTo>
                <a:cubicBezTo>
                  <a:pt x="734" y="19928"/>
                  <a:pt x="477" y="19469"/>
                  <a:pt x="286" y="18949"/>
                </a:cubicBezTo>
                <a:cubicBezTo>
                  <a:pt x="95" y="18429"/>
                  <a:pt x="0" y="17874"/>
                  <a:pt x="0" y="17284"/>
                </a:cubicBezTo>
                <a:lnTo>
                  <a:pt x="0" y="4315"/>
                </a:lnTo>
                <a:cubicBezTo>
                  <a:pt x="0" y="3722"/>
                  <a:pt x="95" y="3164"/>
                  <a:pt x="286" y="2632"/>
                </a:cubicBezTo>
                <a:cubicBezTo>
                  <a:pt x="477" y="2106"/>
                  <a:pt x="734" y="1645"/>
                  <a:pt x="1052" y="1263"/>
                </a:cubicBezTo>
                <a:cubicBezTo>
                  <a:pt x="1372" y="878"/>
                  <a:pt x="1754" y="572"/>
                  <a:pt x="2195" y="343"/>
                </a:cubicBezTo>
                <a:cubicBezTo>
                  <a:pt x="2635" y="114"/>
                  <a:pt x="3103" y="0"/>
                  <a:pt x="3595" y="0"/>
                </a:cubicBezTo>
                <a:lnTo>
                  <a:pt x="16188" y="0"/>
                </a:lnTo>
                <a:cubicBezTo>
                  <a:pt x="16401" y="0"/>
                  <a:pt x="16605" y="26"/>
                  <a:pt x="16798" y="82"/>
                </a:cubicBezTo>
                <a:lnTo>
                  <a:pt x="14608" y="2714"/>
                </a:lnTo>
                <a:lnTo>
                  <a:pt x="3595" y="2714"/>
                </a:lnTo>
                <a:cubicBezTo>
                  <a:pt x="3228" y="2714"/>
                  <a:pt x="2914" y="2867"/>
                  <a:pt x="2652" y="3184"/>
                </a:cubicBezTo>
                <a:cubicBezTo>
                  <a:pt x="2391" y="3496"/>
                  <a:pt x="2261" y="3875"/>
                  <a:pt x="2261" y="4315"/>
                </a:cubicBezTo>
                <a:lnTo>
                  <a:pt x="2261" y="17284"/>
                </a:lnTo>
                <a:cubicBezTo>
                  <a:pt x="2261" y="17724"/>
                  <a:pt x="2391" y="18101"/>
                  <a:pt x="2652" y="18412"/>
                </a:cubicBezTo>
                <a:cubicBezTo>
                  <a:pt x="2914" y="18729"/>
                  <a:pt x="3228" y="18888"/>
                  <a:pt x="3595" y="18888"/>
                </a:cubicBezTo>
                <a:lnTo>
                  <a:pt x="16188" y="18888"/>
                </a:lnTo>
                <a:cubicBezTo>
                  <a:pt x="16556" y="18888"/>
                  <a:pt x="16874" y="18729"/>
                  <a:pt x="17138" y="18412"/>
                </a:cubicBezTo>
                <a:cubicBezTo>
                  <a:pt x="17405" y="18101"/>
                  <a:pt x="17537" y="17724"/>
                  <a:pt x="17537" y="17284"/>
                </a:cubicBezTo>
                <a:lnTo>
                  <a:pt x="17537" y="12697"/>
                </a:lnTo>
                <a:close/>
                <a:moveTo>
                  <a:pt x="21333" y="2796"/>
                </a:moveTo>
                <a:cubicBezTo>
                  <a:pt x="21514" y="3011"/>
                  <a:pt x="21599" y="3272"/>
                  <a:pt x="21597" y="3578"/>
                </a:cubicBezTo>
                <a:cubicBezTo>
                  <a:pt x="21592" y="3881"/>
                  <a:pt x="21504" y="4136"/>
                  <a:pt x="21333" y="4342"/>
                </a:cubicBezTo>
                <a:lnTo>
                  <a:pt x="13005" y="14346"/>
                </a:lnTo>
                <a:lnTo>
                  <a:pt x="11854" y="15721"/>
                </a:lnTo>
                <a:cubicBezTo>
                  <a:pt x="11676" y="15938"/>
                  <a:pt x="11458" y="16044"/>
                  <a:pt x="11206" y="16044"/>
                </a:cubicBezTo>
                <a:cubicBezTo>
                  <a:pt x="10951" y="16044"/>
                  <a:pt x="10733" y="15938"/>
                  <a:pt x="10555" y="15721"/>
                </a:cubicBezTo>
                <a:lnTo>
                  <a:pt x="9383" y="14346"/>
                </a:lnTo>
                <a:lnTo>
                  <a:pt x="4779" y="8787"/>
                </a:lnTo>
                <a:cubicBezTo>
                  <a:pt x="4600" y="8573"/>
                  <a:pt x="4507" y="8314"/>
                  <a:pt x="4507" y="8006"/>
                </a:cubicBezTo>
                <a:cubicBezTo>
                  <a:pt x="4507" y="7703"/>
                  <a:pt x="4600" y="7441"/>
                  <a:pt x="4779" y="7227"/>
                </a:cubicBezTo>
                <a:lnTo>
                  <a:pt x="5927" y="5846"/>
                </a:lnTo>
                <a:cubicBezTo>
                  <a:pt x="6106" y="5635"/>
                  <a:pt x="6323" y="5526"/>
                  <a:pt x="6578" y="5526"/>
                </a:cubicBezTo>
                <a:cubicBezTo>
                  <a:pt x="6830" y="5526"/>
                  <a:pt x="7043" y="5634"/>
                  <a:pt x="7214" y="5846"/>
                </a:cubicBezTo>
                <a:lnTo>
                  <a:pt x="11198" y="10632"/>
                </a:lnTo>
                <a:lnTo>
                  <a:pt x="18861" y="1404"/>
                </a:lnTo>
                <a:cubicBezTo>
                  <a:pt x="19040" y="1186"/>
                  <a:pt x="19262" y="1084"/>
                  <a:pt x="19524" y="1087"/>
                </a:cubicBezTo>
                <a:cubicBezTo>
                  <a:pt x="19786" y="1092"/>
                  <a:pt x="20001" y="1198"/>
                  <a:pt x="20173" y="1404"/>
                </a:cubicBezTo>
                <a:lnTo>
                  <a:pt x="21333" y="2796"/>
                </a:lnTo>
                <a:close/>
              </a:path>
            </a:pathLst>
          </a:custGeom>
          <a:solidFill>
            <a:schemeClr val="bg1"/>
          </a:solidFill>
          <a:ln>
            <a:noFill/>
          </a:ln>
          <a:effectLst/>
        </p:spPr>
        <p:txBody>
          <a:bodyPr lIns="50789" tIns="50789" rIns="50789" bIns="50789" anchor="ctr"/>
          <a:lstStyle/>
          <a:p>
            <a:pPr defTabSz="457098">
              <a:defRPr/>
            </a:pPr>
            <a:endParaRPr lang="es-ES" sz="36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29" name="Freeform 128"/>
          <p:cNvSpPr>
            <a:spLocks noChangeAspect="1" noChangeArrowheads="1"/>
          </p:cNvSpPr>
          <p:nvPr/>
        </p:nvSpPr>
        <p:spPr bwMode="auto">
          <a:xfrm>
            <a:off x="3016313" y="4470086"/>
            <a:ext cx="265600" cy="317884"/>
          </a:xfrm>
          <a:custGeom>
            <a:avLst/>
            <a:gdLst>
              <a:gd name="connsiteX0" fmla="*/ 206367 w 449768"/>
              <a:gd name="connsiteY0" fmla="*/ 423375 h 538305"/>
              <a:gd name="connsiteX1" fmla="*/ 208536 w 449768"/>
              <a:gd name="connsiteY1" fmla="*/ 434347 h 538305"/>
              <a:gd name="connsiteX2" fmla="*/ 136133 w 449768"/>
              <a:gd name="connsiteY2" fmla="*/ 527584 h 538305"/>
              <a:gd name="connsiteX3" fmla="*/ 120760 w 449768"/>
              <a:gd name="connsiteY3" fmla="*/ 517169 h 538305"/>
              <a:gd name="connsiteX4" fmla="*/ 192667 w 449768"/>
              <a:gd name="connsiteY4" fmla="*/ 423933 h 538305"/>
              <a:gd name="connsiteX5" fmla="*/ 206367 w 449768"/>
              <a:gd name="connsiteY5" fmla="*/ 423375 h 538305"/>
              <a:gd name="connsiteX6" fmla="*/ 158371 w 449768"/>
              <a:gd name="connsiteY6" fmla="*/ 386315 h 538305"/>
              <a:gd name="connsiteX7" fmla="*/ 160292 w 449768"/>
              <a:gd name="connsiteY7" fmla="*/ 397002 h 538305"/>
              <a:gd name="connsiteX8" fmla="*/ 51725 w 449768"/>
              <a:gd name="connsiteY8" fmla="*/ 536376 h 538305"/>
              <a:gd name="connsiteX9" fmla="*/ 41315 w 449768"/>
              <a:gd name="connsiteY9" fmla="*/ 525997 h 538305"/>
              <a:gd name="connsiteX10" fmla="*/ 144924 w 449768"/>
              <a:gd name="connsiteY10" fmla="*/ 387118 h 538305"/>
              <a:gd name="connsiteX11" fmla="*/ 158371 w 449768"/>
              <a:gd name="connsiteY11" fmla="*/ 386315 h 538305"/>
              <a:gd name="connsiteX12" fmla="*/ 112005 w 449768"/>
              <a:gd name="connsiteY12" fmla="*/ 349971 h 538305"/>
              <a:gd name="connsiteX13" fmla="*/ 113740 w 449768"/>
              <a:gd name="connsiteY13" fmla="*/ 362927 h 538305"/>
              <a:gd name="connsiteX14" fmla="*/ 41338 w 449768"/>
              <a:gd name="connsiteY14" fmla="*/ 455221 h 538305"/>
              <a:gd name="connsiteX15" fmla="*/ 25965 w 449768"/>
              <a:gd name="connsiteY15" fmla="*/ 444857 h 538305"/>
              <a:gd name="connsiteX16" fmla="*/ 98367 w 449768"/>
              <a:gd name="connsiteY16" fmla="*/ 352562 h 538305"/>
              <a:gd name="connsiteX17" fmla="*/ 112005 w 449768"/>
              <a:gd name="connsiteY17" fmla="*/ 349971 h 538305"/>
              <a:gd name="connsiteX18" fmla="*/ 287508 w 449768"/>
              <a:gd name="connsiteY18" fmla="*/ 153269 h 538305"/>
              <a:gd name="connsiteX19" fmla="*/ 261020 w 449768"/>
              <a:gd name="connsiteY19" fmla="*/ 165441 h 538305"/>
              <a:gd name="connsiteX20" fmla="*/ 255548 w 449768"/>
              <a:gd name="connsiteY20" fmla="*/ 175874 h 538305"/>
              <a:gd name="connsiteX21" fmla="*/ 276441 w 449768"/>
              <a:gd name="connsiteY21" fmla="*/ 232511 h 538305"/>
              <a:gd name="connsiteX22" fmla="*/ 328174 w 449768"/>
              <a:gd name="connsiteY22" fmla="*/ 227543 h 538305"/>
              <a:gd name="connsiteX23" fmla="*/ 333645 w 449768"/>
              <a:gd name="connsiteY23" fmla="*/ 217110 h 538305"/>
              <a:gd name="connsiteX24" fmla="*/ 317727 w 449768"/>
              <a:gd name="connsiteY24" fmla="*/ 160472 h 538305"/>
              <a:gd name="connsiteX25" fmla="*/ 287508 w 449768"/>
              <a:gd name="connsiteY25" fmla="*/ 153269 h 538305"/>
              <a:gd name="connsiteX26" fmla="*/ 437111 w 449768"/>
              <a:gd name="connsiteY26" fmla="*/ 0 h 538305"/>
              <a:gd name="connsiteX27" fmla="*/ 442086 w 449768"/>
              <a:gd name="connsiteY27" fmla="*/ 0 h 538305"/>
              <a:gd name="connsiteX28" fmla="*/ 447557 w 449768"/>
              <a:gd name="connsiteY28" fmla="*/ 4968 h 538305"/>
              <a:gd name="connsiteX29" fmla="*/ 447557 w 449768"/>
              <a:gd name="connsiteY29" fmla="*/ 9937 h 538305"/>
              <a:gd name="connsiteX30" fmla="*/ 447557 w 449768"/>
              <a:gd name="connsiteY30" fmla="*/ 20370 h 538305"/>
              <a:gd name="connsiteX31" fmla="*/ 447557 w 449768"/>
              <a:gd name="connsiteY31" fmla="*/ 46204 h 538305"/>
              <a:gd name="connsiteX32" fmla="*/ 442086 w 449768"/>
              <a:gd name="connsiteY32" fmla="*/ 103338 h 538305"/>
              <a:gd name="connsiteX33" fmla="*/ 442086 w 449768"/>
              <a:gd name="connsiteY33" fmla="*/ 113771 h 538305"/>
              <a:gd name="connsiteX34" fmla="*/ 437111 w 449768"/>
              <a:gd name="connsiteY34" fmla="*/ 134141 h 538305"/>
              <a:gd name="connsiteX35" fmla="*/ 421194 w 449768"/>
              <a:gd name="connsiteY35" fmla="*/ 175874 h 538305"/>
              <a:gd name="connsiteX36" fmla="*/ 354040 w 449768"/>
              <a:gd name="connsiteY36" fmla="*/ 289645 h 538305"/>
              <a:gd name="connsiteX37" fmla="*/ 344091 w 449768"/>
              <a:gd name="connsiteY37" fmla="*/ 325913 h 538305"/>
              <a:gd name="connsiteX38" fmla="*/ 276441 w 449768"/>
              <a:gd name="connsiteY38" fmla="*/ 506754 h 538305"/>
              <a:gd name="connsiteX39" fmla="*/ 261020 w 449768"/>
              <a:gd name="connsiteY39" fmla="*/ 496321 h 538305"/>
              <a:gd name="connsiteX40" fmla="*/ 17278 w 449768"/>
              <a:gd name="connsiteY40" fmla="*/ 310511 h 538305"/>
              <a:gd name="connsiteX41" fmla="*/ 1858 w 449768"/>
              <a:gd name="connsiteY41" fmla="*/ 289645 h 538305"/>
              <a:gd name="connsiteX42" fmla="*/ 162528 w 449768"/>
              <a:gd name="connsiteY42" fmla="*/ 186307 h 538305"/>
              <a:gd name="connsiteX43" fmla="*/ 193369 w 449768"/>
              <a:gd name="connsiteY43" fmla="*/ 165441 h 538305"/>
              <a:gd name="connsiteX44" fmla="*/ 312753 w 449768"/>
              <a:gd name="connsiteY44" fmla="*/ 51669 h 538305"/>
              <a:gd name="connsiteX45" fmla="*/ 400799 w 449768"/>
              <a:gd name="connsiteY45" fmla="*/ 9937 h 538305"/>
              <a:gd name="connsiteX46" fmla="*/ 426665 w 449768"/>
              <a:gd name="connsiteY46" fmla="*/ 4968 h 538305"/>
              <a:gd name="connsiteX47" fmla="*/ 437111 w 449768"/>
              <a:gd name="connsiteY47" fmla="*/ 0 h 53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49768" h="538305">
                <a:moveTo>
                  <a:pt x="206367" y="423375"/>
                </a:moveTo>
                <a:cubicBezTo>
                  <a:pt x="209652" y="425297"/>
                  <a:pt x="211016" y="429140"/>
                  <a:pt x="208536" y="434347"/>
                </a:cubicBezTo>
                <a:cubicBezTo>
                  <a:pt x="198122" y="460136"/>
                  <a:pt x="172335" y="506754"/>
                  <a:pt x="136133" y="527584"/>
                </a:cubicBezTo>
                <a:cubicBezTo>
                  <a:pt x="125719" y="532543"/>
                  <a:pt x="115305" y="527584"/>
                  <a:pt x="120760" y="517169"/>
                </a:cubicBezTo>
                <a:cubicBezTo>
                  <a:pt x="130678" y="491380"/>
                  <a:pt x="151507" y="450217"/>
                  <a:pt x="192667" y="423933"/>
                </a:cubicBezTo>
                <a:cubicBezTo>
                  <a:pt x="197874" y="421453"/>
                  <a:pt x="203081" y="421453"/>
                  <a:pt x="206367" y="423375"/>
                </a:cubicBezTo>
                <a:close/>
                <a:moveTo>
                  <a:pt x="158371" y="386315"/>
                </a:moveTo>
                <a:cubicBezTo>
                  <a:pt x="161532" y="388230"/>
                  <a:pt x="162771" y="392060"/>
                  <a:pt x="160292" y="397002"/>
                </a:cubicBezTo>
                <a:cubicBezTo>
                  <a:pt x="144924" y="433081"/>
                  <a:pt x="113693" y="500297"/>
                  <a:pt x="51725" y="536376"/>
                </a:cubicBezTo>
                <a:cubicBezTo>
                  <a:pt x="41315" y="541318"/>
                  <a:pt x="36357" y="536376"/>
                  <a:pt x="41315" y="525997"/>
                </a:cubicBezTo>
                <a:cubicBezTo>
                  <a:pt x="51725" y="489918"/>
                  <a:pt x="82957" y="422702"/>
                  <a:pt x="144924" y="387118"/>
                </a:cubicBezTo>
                <a:cubicBezTo>
                  <a:pt x="150130" y="384399"/>
                  <a:pt x="155211" y="384399"/>
                  <a:pt x="158371" y="386315"/>
                </a:cubicBezTo>
                <a:close/>
                <a:moveTo>
                  <a:pt x="112005" y="349971"/>
                </a:moveTo>
                <a:cubicBezTo>
                  <a:pt x="115228" y="352562"/>
                  <a:pt x="116468" y="357744"/>
                  <a:pt x="113740" y="362927"/>
                </a:cubicBezTo>
                <a:cubicBezTo>
                  <a:pt x="103326" y="388591"/>
                  <a:pt x="77539" y="429556"/>
                  <a:pt x="41338" y="455221"/>
                </a:cubicBezTo>
                <a:cubicBezTo>
                  <a:pt x="25965" y="460157"/>
                  <a:pt x="21006" y="455221"/>
                  <a:pt x="25965" y="444857"/>
                </a:cubicBezTo>
                <a:cubicBezTo>
                  <a:pt x="36379" y="419192"/>
                  <a:pt x="57207" y="378227"/>
                  <a:pt x="98367" y="352562"/>
                </a:cubicBezTo>
                <a:cubicBezTo>
                  <a:pt x="103574" y="347380"/>
                  <a:pt x="108781" y="347380"/>
                  <a:pt x="112005" y="349971"/>
                </a:cubicBezTo>
                <a:close/>
                <a:moveTo>
                  <a:pt x="287508" y="153269"/>
                </a:moveTo>
                <a:cubicBezTo>
                  <a:pt x="277809" y="153890"/>
                  <a:pt x="268730" y="157740"/>
                  <a:pt x="261020" y="165441"/>
                </a:cubicBezTo>
                <a:cubicBezTo>
                  <a:pt x="261020" y="170409"/>
                  <a:pt x="261020" y="170409"/>
                  <a:pt x="255548" y="175874"/>
                </a:cubicBezTo>
                <a:cubicBezTo>
                  <a:pt x="245600" y="196243"/>
                  <a:pt x="250574" y="222575"/>
                  <a:pt x="276441" y="232511"/>
                </a:cubicBezTo>
                <a:cubicBezTo>
                  <a:pt x="291861" y="242944"/>
                  <a:pt x="317727" y="242944"/>
                  <a:pt x="328174" y="227543"/>
                </a:cubicBezTo>
                <a:cubicBezTo>
                  <a:pt x="333645" y="222575"/>
                  <a:pt x="333645" y="222575"/>
                  <a:pt x="333645" y="217110"/>
                </a:cubicBezTo>
                <a:cubicBezTo>
                  <a:pt x="349066" y="196243"/>
                  <a:pt x="338620" y="170409"/>
                  <a:pt x="317727" y="160472"/>
                </a:cubicBezTo>
                <a:cubicBezTo>
                  <a:pt x="307530" y="155256"/>
                  <a:pt x="297208" y="152648"/>
                  <a:pt x="287508" y="153269"/>
                </a:cubicBezTo>
                <a:close/>
                <a:moveTo>
                  <a:pt x="437111" y="0"/>
                </a:moveTo>
                <a:lnTo>
                  <a:pt x="442086" y="0"/>
                </a:lnTo>
                <a:cubicBezTo>
                  <a:pt x="447557" y="0"/>
                  <a:pt x="452532" y="0"/>
                  <a:pt x="447557" y="4968"/>
                </a:cubicBezTo>
                <a:lnTo>
                  <a:pt x="447557" y="9937"/>
                </a:lnTo>
                <a:cubicBezTo>
                  <a:pt x="452532" y="15402"/>
                  <a:pt x="447557" y="15402"/>
                  <a:pt x="447557" y="20370"/>
                </a:cubicBezTo>
                <a:cubicBezTo>
                  <a:pt x="447557" y="25835"/>
                  <a:pt x="447557" y="36268"/>
                  <a:pt x="447557" y="46204"/>
                </a:cubicBezTo>
                <a:cubicBezTo>
                  <a:pt x="447557" y="62102"/>
                  <a:pt x="447557" y="82472"/>
                  <a:pt x="442086" y="103338"/>
                </a:cubicBezTo>
                <a:cubicBezTo>
                  <a:pt x="442086" y="108306"/>
                  <a:pt x="442086" y="108306"/>
                  <a:pt x="442086" y="113771"/>
                </a:cubicBezTo>
                <a:cubicBezTo>
                  <a:pt x="437111" y="124205"/>
                  <a:pt x="437111" y="129173"/>
                  <a:pt x="437111" y="134141"/>
                </a:cubicBezTo>
                <a:cubicBezTo>
                  <a:pt x="431640" y="150039"/>
                  <a:pt x="426665" y="165441"/>
                  <a:pt x="421194" y="175874"/>
                </a:cubicBezTo>
                <a:cubicBezTo>
                  <a:pt x="406271" y="212141"/>
                  <a:pt x="385378" y="248409"/>
                  <a:pt x="354040" y="289645"/>
                </a:cubicBezTo>
                <a:cubicBezTo>
                  <a:pt x="349066" y="294613"/>
                  <a:pt x="344091" y="315479"/>
                  <a:pt x="344091" y="325913"/>
                </a:cubicBezTo>
                <a:cubicBezTo>
                  <a:pt x="354040" y="367148"/>
                  <a:pt x="359512" y="460053"/>
                  <a:pt x="276441" y="506754"/>
                </a:cubicBezTo>
                <a:cubicBezTo>
                  <a:pt x="265994" y="517187"/>
                  <a:pt x="255548" y="512219"/>
                  <a:pt x="261020" y="496321"/>
                </a:cubicBezTo>
                <a:cubicBezTo>
                  <a:pt x="261020" y="439684"/>
                  <a:pt x="240128" y="305046"/>
                  <a:pt x="17278" y="310511"/>
                </a:cubicBezTo>
                <a:cubicBezTo>
                  <a:pt x="1858" y="310511"/>
                  <a:pt x="-3117" y="300078"/>
                  <a:pt x="1858" y="289645"/>
                </a:cubicBezTo>
                <a:cubicBezTo>
                  <a:pt x="17278" y="253377"/>
                  <a:pt x="59062" y="180842"/>
                  <a:pt x="162528" y="186307"/>
                </a:cubicBezTo>
                <a:cubicBezTo>
                  <a:pt x="172975" y="186307"/>
                  <a:pt x="188395" y="175874"/>
                  <a:pt x="193369" y="165441"/>
                </a:cubicBezTo>
                <a:cubicBezTo>
                  <a:pt x="214261" y="139606"/>
                  <a:pt x="250574" y="87937"/>
                  <a:pt x="312753" y="51669"/>
                </a:cubicBezTo>
                <a:cubicBezTo>
                  <a:pt x="349066" y="25835"/>
                  <a:pt x="379907" y="15402"/>
                  <a:pt x="400799" y="9937"/>
                </a:cubicBezTo>
                <a:cubicBezTo>
                  <a:pt x="416219" y="9937"/>
                  <a:pt x="426665" y="9937"/>
                  <a:pt x="426665" y="4968"/>
                </a:cubicBezTo>
                <a:cubicBezTo>
                  <a:pt x="431640" y="4968"/>
                  <a:pt x="431640" y="0"/>
                  <a:pt x="437111" y="0"/>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pPr>
              <a:defRPr/>
            </a:pPr>
            <a:endParaRPr lang="en-US" sz="2400" dirty="0">
              <a:ea typeface="SimSun" charset="0"/>
            </a:endParaRPr>
          </a:p>
        </p:txBody>
      </p:sp>
      <p:sp>
        <p:nvSpPr>
          <p:cNvPr id="130" name="AutoShape 87"/>
          <p:cNvSpPr>
            <a:spLocks noChangeAspect="1"/>
          </p:cNvSpPr>
          <p:nvPr/>
        </p:nvSpPr>
        <p:spPr bwMode="auto">
          <a:xfrm>
            <a:off x="5933198" y="4953264"/>
            <a:ext cx="346195" cy="320865"/>
          </a:xfrm>
          <a:custGeom>
            <a:avLst/>
            <a:gdLst>
              <a:gd name="T0" fmla="+- 0 10798 9"/>
              <a:gd name="T1" fmla="*/ T0 w 21578"/>
              <a:gd name="T2" fmla="*/ 10800 h 21600"/>
              <a:gd name="T3" fmla="+- 0 10798 9"/>
              <a:gd name="T4" fmla="*/ T3 w 21578"/>
              <a:gd name="T5" fmla="*/ 10800 h 21600"/>
              <a:gd name="T6" fmla="+- 0 10798 9"/>
              <a:gd name="T7" fmla="*/ T6 w 21578"/>
              <a:gd name="T8" fmla="*/ 10800 h 21600"/>
              <a:gd name="T9" fmla="+- 0 10798 9"/>
              <a:gd name="T10" fmla="*/ T9 w 21578"/>
              <a:gd name="T11" fmla="*/ 10800 h 21600"/>
            </a:gdLst>
            <a:ahLst/>
            <a:cxnLst>
              <a:cxn ang="0">
                <a:pos x="T1" y="T2"/>
              </a:cxn>
              <a:cxn ang="0">
                <a:pos x="T4" y="T5"/>
              </a:cxn>
              <a:cxn ang="0">
                <a:pos x="T7" y="T8"/>
              </a:cxn>
              <a:cxn ang="0">
                <a:pos x="T10" y="T11"/>
              </a:cxn>
            </a:cxnLst>
            <a:rect l="0" t="0" r="r" b="b"/>
            <a:pathLst>
              <a:path w="21578" h="21600">
                <a:moveTo>
                  <a:pt x="21416" y="10074"/>
                </a:moveTo>
                <a:cubicBezTo>
                  <a:pt x="21507" y="10166"/>
                  <a:pt x="21562" y="10284"/>
                  <a:pt x="21574" y="10428"/>
                </a:cubicBezTo>
                <a:cubicBezTo>
                  <a:pt x="21590" y="10569"/>
                  <a:pt x="21562" y="10702"/>
                  <a:pt x="21483" y="10820"/>
                </a:cubicBezTo>
                <a:lnTo>
                  <a:pt x="20967" y="11551"/>
                </a:lnTo>
                <a:cubicBezTo>
                  <a:pt x="20891" y="11678"/>
                  <a:pt x="20778" y="11744"/>
                  <a:pt x="20634" y="11744"/>
                </a:cubicBezTo>
                <a:lnTo>
                  <a:pt x="19889" y="11744"/>
                </a:lnTo>
                <a:cubicBezTo>
                  <a:pt x="19769" y="11744"/>
                  <a:pt x="19671" y="11704"/>
                  <a:pt x="19601" y="11632"/>
                </a:cubicBezTo>
                <a:lnTo>
                  <a:pt x="11078" y="3253"/>
                </a:lnTo>
                <a:cubicBezTo>
                  <a:pt x="10884" y="3072"/>
                  <a:pt x="10695" y="3072"/>
                  <a:pt x="10503" y="3253"/>
                </a:cubicBezTo>
                <a:lnTo>
                  <a:pt x="1980" y="11632"/>
                </a:lnTo>
                <a:cubicBezTo>
                  <a:pt x="1918" y="11704"/>
                  <a:pt x="1819" y="11744"/>
                  <a:pt x="1692" y="11744"/>
                </a:cubicBezTo>
                <a:lnTo>
                  <a:pt x="944" y="11744"/>
                </a:lnTo>
                <a:cubicBezTo>
                  <a:pt x="808" y="11744"/>
                  <a:pt x="695" y="11678"/>
                  <a:pt x="611" y="11551"/>
                </a:cubicBezTo>
                <a:lnTo>
                  <a:pt x="96" y="10820"/>
                </a:lnTo>
                <a:cubicBezTo>
                  <a:pt x="19" y="10710"/>
                  <a:pt x="-9" y="10584"/>
                  <a:pt x="2" y="10440"/>
                </a:cubicBezTo>
                <a:cubicBezTo>
                  <a:pt x="19" y="10298"/>
                  <a:pt x="74" y="10175"/>
                  <a:pt x="165" y="10074"/>
                </a:cubicBezTo>
                <a:lnTo>
                  <a:pt x="10112" y="287"/>
                </a:lnTo>
                <a:cubicBezTo>
                  <a:pt x="10321" y="106"/>
                  <a:pt x="10546" y="8"/>
                  <a:pt x="10788" y="0"/>
                </a:cubicBezTo>
                <a:cubicBezTo>
                  <a:pt x="11042" y="0"/>
                  <a:pt x="11267" y="97"/>
                  <a:pt x="11469" y="287"/>
                </a:cubicBezTo>
                <a:lnTo>
                  <a:pt x="14220" y="2991"/>
                </a:lnTo>
                <a:lnTo>
                  <a:pt x="14220" y="1586"/>
                </a:lnTo>
                <a:cubicBezTo>
                  <a:pt x="14220" y="1436"/>
                  <a:pt x="14266" y="1313"/>
                  <a:pt x="14352" y="1206"/>
                </a:cubicBezTo>
                <a:cubicBezTo>
                  <a:pt x="14441" y="1099"/>
                  <a:pt x="14546" y="1048"/>
                  <a:pt x="14669" y="1048"/>
                </a:cubicBezTo>
                <a:lnTo>
                  <a:pt x="17226" y="1048"/>
                </a:lnTo>
                <a:cubicBezTo>
                  <a:pt x="17348" y="1048"/>
                  <a:pt x="17451" y="1099"/>
                  <a:pt x="17530" y="1206"/>
                </a:cubicBezTo>
                <a:cubicBezTo>
                  <a:pt x="17609" y="1312"/>
                  <a:pt x="17653" y="1436"/>
                  <a:pt x="17653" y="1586"/>
                </a:cubicBezTo>
                <a:lnTo>
                  <a:pt x="17653" y="6383"/>
                </a:lnTo>
                <a:lnTo>
                  <a:pt x="21416" y="10074"/>
                </a:lnTo>
                <a:close/>
                <a:moveTo>
                  <a:pt x="18523" y="11977"/>
                </a:moveTo>
                <a:lnTo>
                  <a:pt x="18523" y="20551"/>
                </a:lnTo>
                <a:cubicBezTo>
                  <a:pt x="18523" y="20854"/>
                  <a:pt x="18441" y="21104"/>
                  <a:pt x="18276" y="21300"/>
                </a:cubicBezTo>
                <a:cubicBezTo>
                  <a:pt x="18110" y="21502"/>
                  <a:pt x="17904" y="21599"/>
                  <a:pt x="17653" y="21599"/>
                </a:cubicBezTo>
                <a:lnTo>
                  <a:pt x="12809" y="21599"/>
                </a:lnTo>
                <a:lnTo>
                  <a:pt x="12809" y="14736"/>
                </a:lnTo>
                <a:lnTo>
                  <a:pt x="8772" y="14736"/>
                </a:lnTo>
                <a:lnTo>
                  <a:pt x="8772" y="21599"/>
                </a:lnTo>
                <a:lnTo>
                  <a:pt x="3928" y="21599"/>
                </a:lnTo>
                <a:cubicBezTo>
                  <a:pt x="3677" y="21599"/>
                  <a:pt x="3468" y="21502"/>
                  <a:pt x="3303" y="21300"/>
                </a:cubicBezTo>
                <a:cubicBezTo>
                  <a:pt x="3140" y="21104"/>
                  <a:pt x="3056" y="20854"/>
                  <a:pt x="3056" y="20551"/>
                </a:cubicBezTo>
                <a:lnTo>
                  <a:pt x="3056" y="11977"/>
                </a:lnTo>
                <a:lnTo>
                  <a:pt x="10788" y="4356"/>
                </a:lnTo>
                <a:lnTo>
                  <a:pt x="18523" y="11977"/>
                </a:lnTo>
                <a:close/>
              </a:path>
            </a:pathLst>
          </a:custGeom>
          <a:solidFill>
            <a:schemeClr val="bg1"/>
          </a:solidFill>
          <a:ln>
            <a:noFill/>
          </a:ln>
          <a:effectLst/>
        </p:spPr>
        <p:txBody>
          <a:bodyPr lIns="101578" tIns="101578" rIns="101578" bIns="101578" anchor="ctr"/>
          <a:lstStyle/>
          <a:p>
            <a:pPr defTabSz="914195">
              <a:defRPr/>
            </a:pPr>
            <a:endParaRPr lang="es-ES" sz="66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31" name="Freeform 102"/>
          <p:cNvSpPr>
            <a:spLocks noEditPoints="1"/>
          </p:cNvSpPr>
          <p:nvPr/>
        </p:nvSpPr>
        <p:spPr bwMode="auto">
          <a:xfrm>
            <a:off x="8995000" y="4466218"/>
            <a:ext cx="291925" cy="291925"/>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28 w 64"/>
              <a:gd name="T11" fmla="*/ 8 h 64"/>
              <a:gd name="T12" fmla="*/ 36 w 64"/>
              <a:gd name="T13" fmla="*/ 8 h 64"/>
              <a:gd name="T14" fmla="*/ 36 w 64"/>
              <a:gd name="T15" fmla="*/ 28 h 64"/>
              <a:gd name="T16" fmla="*/ 28 w 64"/>
              <a:gd name="T17" fmla="*/ 28 h 64"/>
              <a:gd name="T18" fmla="*/ 28 w 64"/>
              <a:gd name="T19" fmla="*/ 8 h 64"/>
              <a:gd name="T20" fmla="*/ 32 w 64"/>
              <a:gd name="T21" fmla="*/ 53 h 64"/>
              <a:gd name="T22" fmla="*/ 11 w 64"/>
              <a:gd name="T23" fmla="*/ 32 h 64"/>
              <a:gd name="T24" fmla="*/ 24 w 64"/>
              <a:gd name="T25" fmla="*/ 13 h 64"/>
              <a:gd name="T26" fmla="*/ 24 w 64"/>
              <a:gd name="T27" fmla="*/ 12 h 64"/>
              <a:gd name="T28" fmla="*/ 24 w 64"/>
              <a:gd name="T29" fmla="*/ 20 h 64"/>
              <a:gd name="T30" fmla="*/ 17 w 64"/>
              <a:gd name="T31" fmla="*/ 32 h 64"/>
              <a:gd name="T32" fmla="*/ 32 w 64"/>
              <a:gd name="T33" fmla="*/ 47 h 64"/>
              <a:gd name="T34" fmla="*/ 47 w 64"/>
              <a:gd name="T35" fmla="*/ 32 h 64"/>
              <a:gd name="T36" fmla="*/ 40 w 64"/>
              <a:gd name="T37" fmla="*/ 20 h 64"/>
              <a:gd name="T38" fmla="*/ 40 w 64"/>
              <a:gd name="T39" fmla="*/ 12 h 64"/>
              <a:gd name="T40" fmla="*/ 40 w 64"/>
              <a:gd name="T41" fmla="*/ 13 h 64"/>
              <a:gd name="T42" fmla="*/ 53 w 64"/>
              <a:gd name="T43" fmla="*/ 32 h 64"/>
              <a:gd name="T44" fmla="*/ 32 w 64"/>
              <a:gd name="T45"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64">
                <a:moveTo>
                  <a:pt x="32" y="0"/>
                </a:moveTo>
                <a:cubicBezTo>
                  <a:pt x="14" y="0"/>
                  <a:pt x="0" y="14"/>
                  <a:pt x="0" y="32"/>
                </a:cubicBezTo>
                <a:cubicBezTo>
                  <a:pt x="0" y="50"/>
                  <a:pt x="14" y="64"/>
                  <a:pt x="32" y="64"/>
                </a:cubicBezTo>
                <a:cubicBezTo>
                  <a:pt x="50" y="64"/>
                  <a:pt x="64" y="50"/>
                  <a:pt x="64" y="32"/>
                </a:cubicBezTo>
                <a:cubicBezTo>
                  <a:pt x="64" y="14"/>
                  <a:pt x="50" y="0"/>
                  <a:pt x="32" y="0"/>
                </a:cubicBezTo>
                <a:close/>
                <a:moveTo>
                  <a:pt x="28" y="8"/>
                </a:moveTo>
                <a:cubicBezTo>
                  <a:pt x="36" y="8"/>
                  <a:pt x="36" y="8"/>
                  <a:pt x="36" y="8"/>
                </a:cubicBezTo>
                <a:cubicBezTo>
                  <a:pt x="36" y="28"/>
                  <a:pt x="36" y="28"/>
                  <a:pt x="36" y="28"/>
                </a:cubicBezTo>
                <a:cubicBezTo>
                  <a:pt x="28" y="28"/>
                  <a:pt x="28" y="28"/>
                  <a:pt x="28" y="28"/>
                </a:cubicBezTo>
                <a:lnTo>
                  <a:pt x="28" y="8"/>
                </a:lnTo>
                <a:close/>
                <a:moveTo>
                  <a:pt x="32" y="53"/>
                </a:moveTo>
                <a:cubicBezTo>
                  <a:pt x="20" y="53"/>
                  <a:pt x="11" y="44"/>
                  <a:pt x="11" y="32"/>
                </a:cubicBezTo>
                <a:cubicBezTo>
                  <a:pt x="11" y="24"/>
                  <a:pt x="16" y="16"/>
                  <a:pt x="24" y="13"/>
                </a:cubicBezTo>
                <a:cubicBezTo>
                  <a:pt x="24" y="12"/>
                  <a:pt x="24" y="12"/>
                  <a:pt x="24" y="12"/>
                </a:cubicBezTo>
                <a:cubicBezTo>
                  <a:pt x="24" y="20"/>
                  <a:pt x="24" y="20"/>
                  <a:pt x="24" y="20"/>
                </a:cubicBezTo>
                <a:cubicBezTo>
                  <a:pt x="20" y="22"/>
                  <a:pt x="17" y="27"/>
                  <a:pt x="17" y="32"/>
                </a:cubicBezTo>
                <a:cubicBezTo>
                  <a:pt x="17" y="40"/>
                  <a:pt x="24" y="47"/>
                  <a:pt x="32" y="47"/>
                </a:cubicBezTo>
                <a:cubicBezTo>
                  <a:pt x="40" y="47"/>
                  <a:pt x="47" y="40"/>
                  <a:pt x="47" y="32"/>
                </a:cubicBezTo>
                <a:cubicBezTo>
                  <a:pt x="47" y="27"/>
                  <a:pt x="44" y="22"/>
                  <a:pt x="40" y="20"/>
                </a:cubicBezTo>
                <a:cubicBezTo>
                  <a:pt x="40" y="12"/>
                  <a:pt x="40" y="12"/>
                  <a:pt x="40" y="12"/>
                </a:cubicBezTo>
                <a:cubicBezTo>
                  <a:pt x="40" y="13"/>
                  <a:pt x="40" y="13"/>
                  <a:pt x="40" y="13"/>
                </a:cubicBezTo>
                <a:cubicBezTo>
                  <a:pt x="48" y="16"/>
                  <a:pt x="53" y="24"/>
                  <a:pt x="53" y="32"/>
                </a:cubicBezTo>
                <a:cubicBezTo>
                  <a:pt x="53" y="44"/>
                  <a:pt x="44" y="53"/>
                  <a:pt x="32"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93"/>
          <p:cNvSpPr>
            <a:spLocks noEditPoints="1"/>
          </p:cNvSpPr>
          <p:nvPr/>
        </p:nvSpPr>
        <p:spPr bwMode="auto">
          <a:xfrm>
            <a:off x="2449715" y="1789054"/>
            <a:ext cx="340129" cy="34012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7 w 64"/>
              <a:gd name="T11" fmla="*/ 53 h 64"/>
              <a:gd name="T12" fmla="*/ 32 w 64"/>
              <a:gd name="T13" fmla="*/ 42 h 64"/>
              <a:gd name="T14" fmla="*/ 17 w 64"/>
              <a:gd name="T15" fmla="*/ 53 h 64"/>
              <a:gd name="T16" fmla="*/ 23 w 64"/>
              <a:gd name="T17" fmla="*/ 35 h 64"/>
              <a:gd name="T18" fmla="*/ 8 w 64"/>
              <a:gd name="T19" fmla="*/ 24 h 64"/>
              <a:gd name="T20" fmla="*/ 26 w 64"/>
              <a:gd name="T21" fmla="*/ 24 h 64"/>
              <a:gd name="T22" fmla="*/ 32 w 64"/>
              <a:gd name="T23" fmla="*/ 7 h 64"/>
              <a:gd name="T24" fmla="*/ 38 w 64"/>
              <a:gd name="T25" fmla="*/ 24 h 64"/>
              <a:gd name="T26" fmla="*/ 56 w 64"/>
              <a:gd name="T27" fmla="*/ 24 h 64"/>
              <a:gd name="T28" fmla="*/ 41 w 64"/>
              <a:gd name="T29" fmla="*/ 35 h 64"/>
              <a:gd name="T30" fmla="*/ 47 w 64"/>
              <a:gd name="T31"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4">
                <a:moveTo>
                  <a:pt x="32" y="0"/>
                </a:moveTo>
                <a:cubicBezTo>
                  <a:pt x="14" y="0"/>
                  <a:pt x="0" y="14"/>
                  <a:pt x="0" y="32"/>
                </a:cubicBezTo>
                <a:cubicBezTo>
                  <a:pt x="0" y="50"/>
                  <a:pt x="14" y="64"/>
                  <a:pt x="32" y="64"/>
                </a:cubicBezTo>
                <a:cubicBezTo>
                  <a:pt x="50" y="64"/>
                  <a:pt x="64" y="50"/>
                  <a:pt x="64" y="32"/>
                </a:cubicBezTo>
                <a:cubicBezTo>
                  <a:pt x="64" y="14"/>
                  <a:pt x="50" y="0"/>
                  <a:pt x="32" y="0"/>
                </a:cubicBezTo>
                <a:close/>
                <a:moveTo>
                  <a:pt x="47" y="53"/>
                </a:moveTo>
                <a:cubicBezTo>
                  <a:pt x="32" y="42"/>
                  <a:pt x="32" y="42"/>
                  <a:pt x="32" y="42"/>
                </a:cubicBezTo>
                <a:cubicBezTo>
                  <a:pt x="17" y="53"/>
                  <a:pt x="17" y="53"/>
                  <a:pt x="17" y="53"/>
                </a:cubicBezTo>
                <a:cubicBezTo>
                  <a:pt x="23" y="35"/>
                  <a:pt x="23" y="35"/>
                  <a:pt x="23" y="35"/>
                </a:cubicBezTo>
                <a:cubicBezTo>
                  <a:pt x="8" y="24"/>
                  <a:pt x="8" y="24"/>
                  <a:pt x="8" y="24"/>
                </a:cubicBezTo>
                <a:cubicBezTo>
                  <a:pt x="26" y="24"/>
                  <a:pt x="26" y="24"/>
                  <a:pt x="26" y="24"/>
                </a:cubicBezTo>
                <a:cubicBezTo>
                  <a:pt x="32" y="7"/>
                  <a:pt x="32" y="7"/>
                  <a:pt x="32" y="7"/>
                </a:cubicBezTo>
                <a:cubicBezTo>
                  <a:pt x="38" y="24"/>
                  <a:pt x="38" y="24"/>
                  <a:pt x="38" y="24"/>
                </a:cubicBezTo>
                <a:cubicBezTo>
                  <a:pt x="56" y="24"/>
                  <a:pt x="56" y="24"/>
                  <a:pt x="56" y="24"/>
                </a:cubicBezTo>
                <a:cubicBezTo>
                  <a:pt x="41" y="35"/>
                  <a:pt x="41" y="35"/>
                  <a:pt x="41" y="35"/>
                </a:cubicBezTo>
                <a:lnTo>
                  <a:pt x="47" y="5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id-ID"/>
          </a:p>
        </p:txBody>
      </p:sp>
      <p:sp>
        <p:nvSpPr>
          <p:cNvPr id="133" name="Rectangle 132"/>
          <p:cNvSpPr/>
          <p:nvPr/>
        </p:nvSpPr>
        <p:spPr>
          <a:xfrm>
            <a:off x="2076202" y="2328478"/>
            <a:ext cx="1087157" cy="276999"/>
          </a:xfrm>
          <a:prstGeom prst="rect">
            <a:avLst/>
          </a:prstGeom>
        </p:spPr>
        <p:txBody>
          <a:bodyPr wrap="none">
            <a:spAutoFit/>
          </a:bodyPr>
          <a:lstStyle/>
          <a:p>
            <a:pPr algn="ctr">
              <a:spcBef>
                <a:spcPct val="20000"/>
              </a:spcBef>
              <a:buFont typeface="Arial" charset="0"/>
              <a:buNone/>
            </a:pPr>
            <a:r>
              <a:rPr lang="en-US" sz="1200" b="1" dirty="0">
                <a:solidFill>
                  <a:schemeClr val="tx1">
                    <a:lumMod val="75000"/>
                    <a:lumOff val="25000"/>
                  </a:schemeClr>
                </a:solidFill>
                <a:latin typeface="Montserrat" panose="00000500000000000000" pitchFamily="2" charset="0"/>
                <a:ea typeface="Kozuka Gothic Pro B" panose="020B0800000000000000" pitchFamily="34" charset="-128"/>
                <a:cs typeface="Lato Regular"/>
              </a:rPr>
              <a:t>STAROUND</a:t>
            </a:r>
          </a:p>
        </p:txBody>
      </p:sp>
      <p:sp>
        <p:nvSpPr>
          <p:cNvPr id="134" name="Content Placeholder 2"/>
          <p:cNvSpPr txBox="1">
            <a:spLocks/>
          </p:cNvSpPr>
          <p:nvPr/>
        </p:nvSpPr>
        <p:spPr bwMode="auto">
          <a:xfrm>
            <a:off x="8811908" y="2604455"/>
            <a:ext cx="1714054" cy="7530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lnSpc>
                <a:spcPct val="120000"/>
              </a:lnSpc>
              <a:spcBef>
                <a:spcPct val="20000"/>
              </a:spcBef>
              <a:buFont typeface="Arial" charset="0"/>
              <a:buNone/>
            </a:pPr>
            <a:r>
              <a:rPr lang="en-US" sz="1200">
                <a:solidFill>
                  <a:schemeClr val="tx1">
                    <a:lumMod val="75000"/>
                    <a:lumOff val="25000"/>
                  </a:schemeClr>
                </a:solidFill>
                <a:latin typeface="+mj-lt"/>
                <a:cs typeface="Lato Light"/>
              </a:rPr>
              <a:t>Lorem </a:t>
            </a:r>
            <a:r>
              <a:rPr lang="en-US" sz="1200" dirty="0">
                <a:solidFill>
                  <a:schemeClr val="tx1">
                    <a:lumMod val="75000"/>
                    <a:lumOff val="25000"/>
                  </a:schemeClr>
                </a:solidFill>
                <a:latin typeface="+mj-lt"/>
                <a:cs typeface="Lato Light"/>
              </a:rPr>
              <a:t>ipsum dolor sit amet, consectetur adipiscing elit.</a:t>
            </a:r>
          </a:p>
        </p:txBody>
      </p:sp>
      <p:sp>
        <p:nvSpPr>
          <p:cNvPr id="135" name="Rectangle 134"/>
          <p:cNvSpPr/>
          <p:nvPr/>
        </p:nvSpPr>
        <p:spPr>
          <a:xfrm>
            <a:off x="9206628" y="2328478"/>
            <a:ext cx="914033" cy="276999"/>
          </a:xfrm>
          <a:prstGeom prst="rect">
            <a:avLst/>
          </a:prstGeom>
        </p:spPr>
        <p:txBody>
          <a:bodyPr wrap="none">
            <a:spAutoFit/>
          </a:bodyPr>
          <a:lstStyle/>
          <a:p>
            <a:pPr algn="ctr">
              <a:spcBef>
                <a:spcPct val="20000"/>
              </a:spcBef>
              <a:buFont typeface="Arial" charset="0"/>
              <a:buNone/>
            </a:pPr>
            <a:r>
              <a:rPr lang="en-US" sz="1200" b="1" dirty="0">
                <a:solidFill>
                  <a:schemeClr val="tx1">
                    <a:lumMod val="75000"/>
                    <a:lumOff val="25000"/>
                  </a:schemeClr>
                </a:solidFill>
                <a:latin typeface="Montserrat" panose="00000500000000000000" pitchFamily="2" charset="0"/>
                <a:ea typeface="Kozuka Gothic Pro B" panose="020B0800000000000000" pitchFamily="34" charset="-128"/>
                <a:cs typeface="Lato Regular"/>
              </a:rPr>
              <a:t>SUCCESS</a:t>
            </a:r>
          </a:p>
        </p:txBody>
      </p:sp>
      <p:sp>
        <p:nvSpPr>
          <p:cNvPr id="136" name="Content Placeholder 2"/>
          <p:cNvSpPr txBox="1">
            <a:spLocks/>
          </p:cNvSpPr>
          <p:nvPr/>
        </p:nvSpPr>
        <p:spPr bwMode="auto">
          <a:xfrm>
            <a:off x="8289033" y="5220919"/>
            <a:ext cx="1714054" cy="7530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lnSpc>
                <a:spcPct val="120000"/>
              </a:lnSpc>
              <a:spcBef>
                <a:spcPct val="20000"/>
              </a:spcBef>
              <a:buFont typeface="Arial" charset="0"/>
              <a:buNone/>
            </a:pPr>
            <a:r>
              <a:rPr lang="en-US" sz="1200">
                <a:solidFill>
                  <a:schemeClr val="tx1">
                    <a:lumMod val="75000"/>
                    <a:lumOff val="25000"/>
                  </a:schemeClr>
                </a:solidFill>
                <a:latin typeface="+mj-lt"/>
                <a:cs typeface="Lato Light"/>
              </a:rPr>
              <a:t>Lorem </a:t>
            </a:r>
            <a:r>
              <a:rPr lang="en-US" sz="1200" dirty="0">
                <a:solidFill>
                  <a:schemeClr val="tx1">
                    <a:lumMod val="75000"/>
                    <a:lumOff val="25000"/>
                  </a:schemeClr>
                </a:solidFill>
                <a:latin typeface="+mj-lt"/>
                <a:cs typeface="Lato Light"/>
              </a:rPr>
              <a:t>ipsum dolor sit amet, consectetur adipiscing elit.</a:t>
            </a:r>
          </a:p>
        </p:txBody>
      </p:sp>
      <p:sp>
        <p:nvSpPr>
          <p:cNvPr id="137" name="Rectangle 136"/>
          <p:cNvSpPr/>
          <p:nvPr/>
        </p:nvSpPr>
        <p:spPr>
          <a:xfrm>
            <a:off x="8686961" y="4944942"/>
            <a:ext cx="907620" cy="276999"/>
          </a:xfrm>
          <a:prstGeom prst="rect">
            <a:avLst/>
          </a:prstGeom>
        </p:spPr>
        <p:txBody>
          <a:bodyPr wrap="none">
            <a:spAutoFit/>
          </a:bodyPr>
          <a:lstStyle/>
          <a:p>
            <a:pPr algn="ctr">
              <a:spcBef>
                <a:spcPct val="20000"/>
              </a:spcBef>
              <a:buFont typeface="Arial" charset="0"/>
              <a:buNone/>
            </a:pPr>
            <a:r>
              <a:rPr lang="en-US" sz="1200" b="1" dirty="0">
                <a:solidFill>
                  <a:schemeClr val="tx1">
                    <a:lumMod val="75000"/>
                    <a:lumOff val="25000"/>
                  </a:schemeClr>
                </a:solidFill>
                <a:latin typeface="Montserrat" panose="00000500000000000000" pitchFamily="2" charset="0"/>
                <a:ea typeface="Kozuka Gothic Pro B" panose="020B0800000000000000" pitchFamily="34" charset="-128"/>
                <a:cs typeface="Lato Regular"/>
              </a:rPr>
              <a:t>TURN ON</a:t>
            </a:r>
          </a:p>
        </p:txBody>
      </p:sp>
      <p:sp>
        <p:nvSpPr>
          <p:cNvPr id="138" name="Content Placeholder 2"/>
          <p:cNvSpPr txBox="1">
            <a:spLocks/>
          </p:cNvSpPr>
          <p:nvPr/>
        </p:nvSpPr>
        <p:spPr bwMode="auto">
          <a:xfrm>
            <a:off x="2313496" y="5220919"/>
            <a:ext cx="1714054" cy="7530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lnSpc>
                <a:spcPct val="120000"/>
              </a:lnSpc>
              <a:spcBef>
                <a:spcPct val="20000"/>
              </a:spcBef>
              <a:buFont typeface="Arial" charset="0"/>
              <a:buNone/>
            </a:pPr>
            <a:r>
              <a:rPr lang="en-US" sz="1200">
                <a:solidFill>
                  <a:schemeClr val="tx1">
                    <a:lumMod val="75000"/>
                    <a:lumOff val="25000"/>
                  </a:schemeClr>
                </a:solidFill>
                <a:latin typeface="+mj-lt"/>
                <a:cs typeface="Lato Light"/>
              </a:rPr>
              <a:t>Lorem </a:t>
            </a:r>
            <a:r>
              <a:rPr lang="en-US" sz="1200" dirty="0">
                <a:solidFill>
                  <a:schemeClr val="tx1">
                    <a:lumMod val="75000"/>
                    <a:lumOff val="25000"/>
                  </a:schemeClr>
                </a:solidFill>
                <a:latin typeface="+mj-lt"/>
                <a:cs typeface="Lato Light"/>
              </a:rPr>
              <a:t>ipsum dolor sit amet, consectetur adipiscing elit.</a:t>
            </a:r>
          </a:p>
        </p:txBody>
      </p:sp>
      <p:sp>
        <p:nvSpPr>
          <p:cNvPr id="139" name="Rectangle 138"/>
          <p:cNvSpPr/>
          <p:nvPr/>
        </p:nvSpPr>
        <p:spPr>
          <a:xfrm>
            <a:off x="2745086" y="4944942"/>
            <a:ext cx="840295" cy="276999"/>
          </a:xfrm>
          <a:prstGeom prst="rect">
            <a:avLst/>
          </a:prstGeom>
        </p:spPr>
        <p:txBody>
          <a:bodyPr wrap="none">
            <a:spAutoFit/>
          </a:bodyPr>
          <a:lstStyle/>
          <a:p>
            <a:pPr algn="ctr">
              <a:spcBef>
                <a:spcPct val="20000"/>
              </a:spcBef>
              <a:buFont typeface="Arial" charset="0"/>
              <a:buNone/>
            </a:pPr>
            <a:r>
              <a:rPr lang="en-US" sz="1200" b="1" dirty="0">
                <a:solidFill>
                  <a:schemeClr val="tx1">
                    <a:lumMod val="75000"/>
                    <a:lumOff val="25000"/>
                  </a:schemeClr>
                </a:solidFill>
                <a:latin typeface="Montserrat" panose="00000500000000000000" pitchFamily="2" charset="0"/>
                <a:ea typeface="Kozuka Gothic Pro B" panose="020B0800000000000000" pitchFamily="34" charset="-128"/>
                <a:cs typeface="Lato Regular"/>
              </a:rPr>
              <a:t>ROCKET</a:t>
            </a:r>
          </a:p>
        </p:txBody>
      </p:sp>
      <p:sp>
        <p:nvSpPr>
          <p:cNvPr id="140" name="Content Placeholder 2"/>
          <p:cNvSpPr txBox="1">
            <a:spLocks/>
          </p:cNvSpPr>
          <p:nvPr/>
        </p:nvSpPr>
        <p:spPr bwMode="auto">
          <a:xfrm>
            <a:off x="5254639" y="5734978"/>
            <a:ext cx="1714054" cy="7530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lnSpc>
                <a:spcPct val="120000"/>
              </a:lnSpc>
              <a:spcBef>
                <a:spcPct val="20000"/>
              </a:spcBef>
              <a:buFont typeface="Arial" charset="0"/>
              <a:buNone/>
            </a:pPr>
            <a:r>
              <a:rPr lang="en-US" sz="1200">
                <a:solidFill>
                  <a:schemeClr val="tx1">
                    <a:lumMod val="75000"/>
                    <a:lumOff val="25000"/>
                  </a:schemeClr>
                </a:solidFill>
                <a:latin typeface="+mj-lt"/>
                <a:cs typeface="Lato Light"/>
              </a:rPr>
              <a:t>Lorem </a:t>
            </a:r>
            <a:r>
              <a:rPr lang="en-US" sz="1200" dirty="0">
                <a:solidFill>
                  <a:schemeClr val="tx1">
                    <a:lumMod val="75000"/>
                    <a:lumOff val="25000"/>
                  </a:schemeClr>
                </a:solidFill>
                <a:latin typeface="+mj-lt"/>
                <a:cs typeface="Lato Light"/>
              </a:rPr>
              <a:t>ipsum dolor sit amet</a:t>
            </a:r>
            <a:r>
              <a:rPr lang="en-US" sz="1200">
                <a:solidFill>
                  <a:schemeClr val="tx1">
                    <a:lumMod val="75000"/>
                    <a:lumOff val="25000"/>
                  </a:schemeClr>
                </a:solidFill>
                <a:latin typeface="+mj-lt"/>
                <a:cs typeface="Lato Light"/>
              </a:rPr>
              <a:t>, consect.</a:t>
            </a:r>
            <a:endParaRPr lang="en-US" sz="1200" dirty="0">
              <a:solidFill>
                <a:schemeClr val="tx1">
                  <a:lumMod val="75000"/>
                  <a:lumOff val="25000"/>
                </a:schemeClr>
              </a:solidFill>
              <a:latin typeface="+mj-lt"/>
              <a:cs typeface="Lato Light"/>
            </a:endParaRPr>
          </a:p>
        </p:txBody>
      </p:sp>
      <p:sp>
        <p:nvSpPr>
          <p:cNvPr id="141" name="Rectangle 140"/>
          <p:cNvSpPr/>
          <p:nvPr/>
        </p:nvSpPr>
        <p:spPr>
          <a:xfrm>
            <a:off x="5734320" y="5459001"/>
            <a:ext cx="744113" cy="276999"/>
          </a:xfrm>
          <a:prstGeom prst="rect">
            <a:avLst/>
          </a:prstGeom>
        </p:spPr>
        <p:txBody>
          <a:bodyPr wrap="none">
            <a:spAutoFit/>
          </a:bodyPr>
          <a:lstStyle/>
          <a:p>
            <a:pPr algn="ctr">
              <a:spcBef>
                <a:spcPct val="20000"/>
              </a:spcBef>
              <a:buFont typeface="Arial" charset="0"/>
              <a:buNone/>
            </a:pPr>
            <a:r>
              <a:rPr lang="en-US" sz="1200" b="1" dirty="0">
                <a:solidFill>
                  <a:schemeClr val="tx1">
                    <a:lumMod val="75000"/>
                    <a:lumOff val="25000"/>
                  </a:schemeClr>
                </a:solidFill>
                <a:latin typeface="Montserrat" panose="00000500000000000000" pitchFamily="2" charset="0"/>
                <a:ea typeface="Kozuka Gothic Pro B" panose="020B0800000000000000" pitchFamily="34" charset="-128"/>
                <a:cs typeface="Lato Regular"/>
              </a:rPr>
              <a:t>HOUSE</a:t>
            </a:r>
          </a:p>
        </p:txBody>
      </p:sp>
      <p:sp>
        <p:nvSpPr>
          <p:cNvPr id="2" name="Slide Number Placeholder 1"/>
          <p:cNvSpPr>
            <a:spLocks noGrp="1"/>
          </p:cNvSpPr>
          <p:nvPr>
            <p:ph type="sldNum" sz="quarter" idx="12"/>
          </p:nvPr>
        </p:nvSpPr>
        <p:spPr/>
        <p:txBody>
          <a:bodyPr/>
          <a:lstStyle/>
          <a:p>
            <a:fld id="{DE156FE7-4276-48C2-8D29-2DA35A3BAE26}" type="slidenum">
              <a:rPr lang="en-US" smtClean="0"/>
              <a:t>23</a:t>
            </a:fld>
            <a:endParaRPr lang="en-US"/>
          </a:p>
        </p:txBody>
      </p:sp>
    </p:spTree>
    <p:extLst>
      <p:ext uri="{BB962C8B-B14F-4D97-AF65-F5344CB8AC3E}">
        <p14:creationId xmlns:p14="http://schemas.microsoft.com/office/powerpoint/2010/main" val="2313884441"/>
      </p:ext>
    </p:extLst>
  </p:cSld>
  <p:clrMapOvr>
    <a:masterClrMapping/>
  </p:clrMapOvr>
  <p:transition spd="med">
    <p:pull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81D59619-AE2D-4C93-81A7-D036023ED53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7834" b="7834"/>
          <a:stretch>
            <a:fillRect/>
          </a:stretch>
        </p:blipFill>
        <p:spPr>
          <a:solidFill>
            <a:schemeClr val="bg1">
              <a:lumMod val="85000"/>
            </a:schemeClr>
          </a:solidFill>
        </p:spPr>
      </p:pic>
      <p:sp>
        <p:nvSpPr>
          <p:cNvPr id="7" name="Rectangle 6">
            <a:extLst>
              <a:ext uri="{FF2B5EF4-FFF2-40B4-BE49-F238E27FC236}">
                <a16:creationId xmlns:a16="http://schemas.microsoft.com/office/drawing/2014/main" id="{6E378123-7DB5-46AA-BADE-FB1E0A7613BC}"/>
              </a:ext>
            </a:extLst>
          </p:cNvPr>
          <p:cNvSpPr/>
          <p:nvPr/>
        </p:nvSpPr>
        <p:spPr>
          <a:xfrm>
            <a:off x="0" y="2286048"/>
            <a:ext cx="12192000" cy="4571952"/>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4840688" y="4009086"/>
            <a:ext cx="2510624" cy="369332"/>
          </a:xfrm>
          <a:prstGeom prst="rect">
            <a:avLst/>
          </a:prstGeom>
          <a:noFill/>
        </p:spPr>
        <p:txBody>
          <a:bodyPr wrap="none" rtlCol="0">
            <a:spAutoFit/>
          </a:bodyPr>
          <a:lstStyle/>
          <a:p>
            <a:pPr algn="ctr"/>
            <a:r>
              <a:rPr lang="en-US" dirty="0">
                <a:solidFill>
                  <a:schemeClr val="bg1"/>
                </a:solidFill>
                <a:latin typeface="Montserrat Light" panose="00000400000000000000" pitchFamily="2" charset="0"/>
              </a:rPr>
              <a:t>FOR YOUR COMING!</a:t>
            </a:r>
          </a:p>
        </p:txBody>
      </p:sp>
      <p:sp>
        <p:nvSpPr>
          <p:cNvPr id="12" name="Oval 11"/>
          <p:cNvSpPr/>
          <p:nvPr/>
        </p:nvSpPr>
        <p:spPr>
          <a:xfrm>
            <a:off x="3490778" y="4662136"/>
            <a:ext cx="914400" cy="9144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anose="00000500000000000000" pitchFamily="2" charset="0"/>
            </a:endParaRPr>
          </a:p>
        </p:txBody>
      </p:sp>
      <p:sp>
        <p:nvSpPr>
          <p:cNvPr id="13" name="TextBox 12"/>
          <p:cNvSpPr txBox="1"/>
          <p:nvPr/>
        </p:nvSpPr>
        <p:spPr>
          <a:xfrm>
            <a:off x="1981064" y="4997001"/>
            <a:ext cx="1135247" cy="307777"/>
          </a:xfrm>
          <a:prstGeom prst="rect">
            <a:avLst/>
          </a:prstGeom>
          <a:noFill/>
        </p:spPr>
        <p:txBody>
          <a:bodyPr wrap="none" rtlCol="0">
            <a:spAutoFit/>
          </a:bodyPr>
          <a:lstStyle/>
          <a:p>
            <a:pPr algn="ctr"/>
            <a:r>
              <a:rPr lang="en-US" sz="1400" dirty="0">
                <a:solidFill>
                  <a:schemeClr val="bg1"/>
                </a:solidFill>
                <a:latin typeface="Montserrat" panose="00000500000000000000" pitchFamily="2" charset="0"/>
              </a:rPr>
              <a:t>012345678</a:t>
            </a:r>
          </a:p>
        </p:txBody>
      </p:sp>
      <p:sp>
        <p:nvSpPr>
          <p:cNvPr id="14" name="TextBox 13"/>
          <p:cNvSpPr txBox="1"/>
          <p:nvPr/>
        </p:nvSpPr>
        <p:spPr>
          <a:xfrm>
            <a:off x="4386774" y="4992923"/>
            <a:ext cx="1125629" cy="307777"/>
          </a:xfrm>
          <a:prstGeom prst="rect">
            <a:avLst/>
          </a:prstGeom>
          <a:noFill/>
        </p:spPr>
        <p:txBody>
          <a:bodyPr wrap="none" rtlCol="0">
            <a:spAutoFit/>
          </a:bodyPr>
          <a:lstStyle/>
          <a:p>
            <a:r>
              <a:rPr lang="en-US" sz="1400" dirty="0">
                <a:solidFill>
                  <a:schemeClr val="bg1"/>
                </a:solidFill>
                <a:latin typeface="Montserrat" panose="00000500000000000000" pitchFamily="2" charset="0"/>
              </a:rPr>
              <a:t>/Company</a:t>
            </a:r>
          </a:p>
        </p:txBody>
      </p:sp>
      <p:sp>
        <p:nvSpPr>
          <p:cNvPr id="15" name="TextBox 14"/>
          <p:cNvSpPr txBox="1"/>
          <p:nvPr/>
        </p:nvSpPr>
        <p:spPr>
          <a:xfrm>
            <a:off x="7292568" y="4992923"/>
            <a:ext cx="1125629" cy="307777"/>
          </a:xfrm>
          <a:prstGeom prst="rect">
            <a:avLst/>
          </a:prstGeom>
          <a:noFill/>
        </p:spPr>
        <p:txBody>
          <a:bodyPr wrap="none" rtlCol="0">
            <a:spAutoFit/>
          </a:bodyPr>
          <a:lstStyle/>
          <a:p>
            <a:r>
              <a:rPr lang="en-US" sz="1400" dirty="0">
                <a:solidFill>
                  <a:schemeClr val="bg1"/>
                </a:solidFill>
                <a:latin typeface="Montserrat" panose="00000500000000000000" pitchFamily="2" charset="0"/>
              </a:rPr>
              <a:t>/Company</a:t>
            </a:r>
          </a:p>
        </p:txBody>
      </p:sp>
      <p:sp>
        <p:nvSpPr>
          <p:cNvPr id="16" name="TextBox 15"/>
          <p:cNvSpPr txBox="1"/>
          <p:nvPr/>
        </p:nvSpPr>
        <p:spPr>
          <a:xfrm>
            <a:off x="10120176" y="4981636"/>
            <a:ext cx="1125629" cy="307777"/>
          </a:xfrm>
          <a:prstGeom prst="rect">
            <a:avLst/>
          </a:prstGeom>
          <a:noFill/>
        </p:spPr>
        <p:txBody>
          <a:bodyPr wrap="none" rtlCol="0">
            <a:spAutoFit/>
          </a:bodyPr>
          <a:lstStyle/>
          <a:p>
            <a:r>
              <a:rPr lang="en-US" sz="1400" dirty="0">
                <a:solidFill>
                  <a:schemeClr val="bg1"/>
                </a:solidFill>
                <a:latin typeface="Montserrat" panose="00000500000000000000" pitchFamily="2" charset="0"/>
              </a:rPr>
              <a:t>/Company</a:t>
            </a:r>
          </a:p>
        </p:txBody>
      </p:sp>
      <p:sp>
        <p:nvSpPr>
          <p:cNvPr id="17" name="Oval 16"/>
          <p:cNvSpPr/>
          <p:nvPr/>
        </p:nvSpPr>
        <p:spPr>
          <a:xfrm>
            <a:off x="876300" y="4662136"/>
            <a:ext cx="914400" cy="9144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anose="00000500000000000000" pitchFamily="2" charset="0"/>
            </a:endParaRPr>
          </a:p>
        </p:txBody>
      </p:sp>
      <p:sp>
        <p:nvSpPr>
          <p:cNvPr id="18" name="Oval 17"/>
          <p:cNvSpPr/>
          <p:nvPr/>
        </p:nvSpPr>
        <p:spPr>
          <a:xfrm>
            <a:off x="6387858" y="4662136"/>
            <a:ext cx="914400" cy="9144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anose="00000500000000000000" pitchFamily="2" charset="0"/>
            </a:endParaRPr>
          </a:p>
        </p:txBody>
      </p:sp>
      <p:sp>
        <p:nvSpPr>
          <p:cNvPr id="19" name="Oval 18"/>
          <p:cNvSpPr/>
          <p:nvPr/>
        </p:nvSpPr>
        <p:spPr>
          <a:xfrm>
            <a:off x="9215466" y="4662136"/>
            <a:ext cx="914400" cy="9144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latin typeface="Montserrat" panose="00000500000000000000" pitchFamily="2" charset="0"/>
            </a:endParaRPr>
          </a:p>
        </p:txBody>
      </p:sp>
      <p:sp>
        <p:nvSpPr>
          <p:cNvPr id="20" name="Freeform 63"/>
          <p:cNvSpPr>
            <a:spLocks/>
          </p:cNvSpPr>
          <p:nvPr/>
        </p:nvSpPr>
        <p:spPr bwMode="auto">
          <a:xfrm>
            <a:off x="6663399" y="4960199"/>
            <a:ext cx="423279" cy="348254"/>
          </a:xfrm>
          <a:custGeom>
            <a:avLst/>
            <a:gdLst>
              <a:gd name="T0" fmla="*/ 160 w 160"/>
              <a:gd name="T1" fmla="*/ 16 h 131"/>
              <a:gd name="T2" fmla="*/ 159 w 160"/>
              <a:gd name="T3" fmla="*/ 16 h 131"/>
              <a:gd name="T4" fmla="*/ 144 w 160"/>
              <a:gd name="T5" fmla="*/ 20 h 131"/>
              <a:gd name="T6" fmla="*/ 156 w 160"/>
              <a:gd name="T7" fmla="*/ 4 h 131"/>
              <a:gd name="T8" fmla="*/ 156 w 160"/>
              <a:gd name="T9" fmla="*/ 3 h 131"/>
              <a:gd name="T10" fmla="*/ 155 w 160"/>
              <a:gd name="T11" fmla="*/ 3 h 131"/>
              <a:gd name="T12" fmla="*/ 135 w 160"/>
              <a:gd name="T13" fmla="*/ 11 h 131"/>
              <a:gd name="T14" fmla="*/ 111 w 160"/>
              <a:gd name="T15" fmla="*/ 0 h 131"/>
              <a:gd name="T16" fmla="*/ 77 w 160"/>
              <a:gd name="T17" fmla="*/ 34 h 131"/>
              <a:gd name="T18" fmla="*/ 78 w 160"/>
              <a:gd name="T19" fmla="*/ 40 h 131"/>
              <a:gd name="T20" fmla="*/ 12 w 160"/>
              <a:gd name="T21" fmla="*/ 7 h 131"/>
              <a:gd name="T22" fmla="*/ 12 w 160"/>
              <a:gd name="T23" fmla="*/ 6 h 131"/>
              <a:gd name="T24" fmla="*/ 11 w 160"/>
              <a:gd name="T25" fmla="*/ 7 h 131"/>
              <a:gd name="T26" fmla="*/ 7 w 160"/>
              <a:gd name="T27" fmla="*/ 23 h 131"/>
              <a:gd name="T28" fmla="*/ 19 w 160"/>
              <a:gd name="T29" fmla="*/ 50 h 131"/>
              <a:gd name="T30" fmla="*/ 7 w 160"/>
              <a:gd name="T31" fmla="*/ 46 h 131"/>
              <a:gd name="T32" fmla="*/ 7 w 160"/>
              <a:gd name="T33" fmla="*/ 46 h 131"/>
              <a:gd name="T34" fmla="*/ 6 w 160"/>
              <a:gd name="T35" fmla="*/ 47 h 131"/>
              <a:gd name="T36" fmla="*/ 6 w 160"/>
              <a:gd name="T37" fmla="*/ 47 h 131"/>
              <a:gd name="T38" fmla="*/ 30 w 160"/>
              <a:gd name="T39" fmla="*/ 79 h 131"/>
              <a:gd name="T40" fmla="*/ 19 w 160"/>
              <a:gd name="T41" fmla="*/ 79 h 131"/>
              <a:gd name="T42" fmla="*/ 18 w 160"/>
              <a:gd name="T43" fmla="*/ 79 h 131"/>
              <a:gd name="T44" fmla="*/ 18 w 160"/>
              <a:gd name="T45" fmla="*/ 80 h 131"/>
              <a:gd name="T46" fmla="*/ 47 w 160"/>
              <a:gd name="T47" fmla="*/ 103 h 131"/>
              <a:gd name="T48" fmla="*/ 8 w 160"/>
              <a:gd name="T49" fmla="*/ 115 h 131"/>
              <a:gd name="T50" fmla="*/ 1 w 160"/>
              <a:gd name="T51" fmla="*/ 115 h 131"/>
              <a:gd name="T52" fmla="*/ 0 w 160"/>
              <a:gd name="T53" fmla="*/ 115 h 131"/>
              <a:gd name="T54" fmla="*/ 0 w 160"/>
              <a:gd name="T55" fmla="*/ 116 h 131"/>
              <a:gd name="T56" fmla="*/ 51 w 160"/>
              <a:gd name="T57" fmla="*/ 131 h 131"/>
              <a:gd name="T58" fmla="*/ 144 w 160"/>
              <a:gd name="T59" fmla="*/ 38 h 131"/>
              <a:gd name="T60" fmla="*/ 144 w 160"/>
              <a:gd name="T61" fmla="*/ 34 h 131"/>
              <a:gd name="T62" fmla="*/ 160 w 160"/>
              <a:gd name="T63" fmla="*/ 17 h 131"/>
              <a:gd name="T64" fmla="*/ 160 w 160"/>
              <a:gd name="T65" fmla="*/ 1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31">
                <a:moveTo>
                  <a:pt x="160" y="16"/>
                </a:moveTo>
                <a:cubicBezTo>
                  <a:pt x="160" y="16"/>
                  <a:pt x="160" y="16"/>
                  <a:pt x="159" y="16"/>
                </a:cubicBezTo>
                <a:cubicBezTo>
                  <a:pt x="154" y="18"/>
                  <a:pt x="149" y="19"/>
                  <a:pt x="144" y="20"/>
                </a:cubicBezTo>
                <a:cubicBezTo>
                  <a:pt x="150" y="16"/>
                  <a:pt x="154" y="10"/>
                  <a:pt x="156" y="4"/>
                </a:cubicBezTo>
                <a:cubicBezTo>
                  <a:pt x="156" y="3"/>
                  <a:pt x="156" y="3"/>
                  <a:pt x="156" y="3"/>
                </a:cubicBezTo>
                <a:cubicBezTo>
                  <a:pt x="155" y="3"/>
                  <a:pt x="155" y="3"/>
                  <a:pt x="155" y="3"/>
                </a:cubicBezTo>
                <a:cubicBezTo>
                  <a:pt x="149" y="7"/>
                  <a:pt x="142" y="9"/>
                  <a:pt x="135" y="11"/>
                </a:cubicBezTo>
                <a:cubicBezTo>
                  <a:pt x="128" y="4"/>
                  <a:pt x="120" y="0"/>
                  <a:pt x="111" y="0"/>
                </a:cubicBezTo>
                <a:cubicBezTo>
                  <a:pt x="92" y="0"/>
                  <a:pt x="77" y="15"/>
                  <a:pt x="77" y="34"/>
                </a:cubicBezTo>
                <a:cubicBezTo>
                  <a:pt x="77" y="36"/>
                  <a:pt x="77" y="38"/>
                  <a:pt x="78" y="40"/>
                </a:cubicBezTo>
                <a:cubicBezTo>
                  <a:pt x="52" y="39"/>
                  <a:pt x="29" y="26"/>
                  <a:pt x="12" y="7"/>
                </a:cubicBezTo>
                <a:cubicBezTo>
                  <a:pt x="12" y="6"/>
                  <a:pt x="12" y="6"/>
                  <a:pt x="12" y="6"/>
                </a:cubicBezTo>
                <a:cubicBezTo>
                  <a:pt x="11" y="6"/>
                  <a:pt x="11" y="6"/>
                  <a:pt x="11" y="7"/>
                </a:cubicBezTo>
                <a:cubicBezTo>
                  <a:pt x="8" y="12"/>
                  <a:pt x="7" y="18"/>
                  <a:pt x="7" y="23"/>
                </a:cubicBezTo>
                <a:cubicBezTo>
                  <a:pt x="7" y="34"/>
                  <a:pt x="11" y="43"/>
                  <a:pt x="19" y="50"/>
                </a:cubicBezTo>
                <a:cubicBezTo>
                  <a:pt x="15" y="49"/>
                  <a:pt x="11" y="48"/>
                  <a:pt x="7" y="46"/>
                </a:cubicBezTo>
                <a:cubicBezTo>
                  <a:pt x="7" y="46"/>
                  <a:pt x="7" y="46"/>
                  <a:pt x="7" y="46"/>
                </a:cubicBezTo>
                <a:cubicBezTo>
                  <a:pt x="6" y="46"/>
                  <a:pt x="6" y="46"/>
                  <a:pt x="6" y="47"/>
                </a:cubicBezTo>
                <a:cubicBezTo>
                  <a:pt x="6" y="47"/>
                  <a:pt x="6" y="47"/>
                  <a:pt x="6" y="47"/>
                </a:cubicBezTo>
                <a:cubicBezTo>
                  <a:pt x="6" y="62"/>
                  <a:pt x="16" y="75"/>
                  <a:pt x="30" y="79"/>
                </a:cubicBezTo>
                <a:cubicBezTo>
                  <a:pt x="26" y="79"/>
                  <a:pt x="22" y="79"/>
                  <a:pt x="19" y="79"/>
                </a:cubicBezTo>
                <a:cubicBezTo>
                  <a:pt x="18" y="79"/>
                  <a:pt x="18" y="79"/>
                  <a:pt x="18" y="79"/>
                </a:cubicBezTo>
                <a:cubicBezTo>
                  <a:pt x="18" y="79"/>
                  <a:pt x="18" y="79"/>
                  <a:pt x="18" y="80"/>
                </a:cubicBezTo>
                <a:cubicBezTo>
                  <a:pt x="22" y="93"/>
                  <a:pt x="33" y="102"/>
                  <a:pt x="47" y="103"/>
                </a:cubicBezTo>
                <a:cubicBezTo>
                  <a:pt x="36" y="111"/>
                  <a:pt x="22" y="115"/>
                  <a:pt x="8" y="115"/>
                </a:cubicBezTo>
                <a:cubicBezTo>
                  <a:pt x="6" y="115"/>
                  <a:pt x="3" y="115"/>
                  <a:pt x="1" y="115"/>
                </a:cubicBezTo>
                <a:cubicBezTo>
                  <a:pt x="0" y="115"/>
                  <a:pt x="0" y="115"/>
                  <a:pt x="0" y="115"/>
                </a:cubicBezTo>
                <a:cubicBezTo>
                  <a:pt x="0" y="116"/>
                  <a:pt x="0" y="116"/>
                  <a:pt x="0" y="116"/>
                </a:cubicBezTo>
                <a:cubicBezTo>
                  <a:pt x="15" y="126"/>
                  <a:pt x="33" y="131"/>
                  <a:pt x="51" y="131"/>
                </a:cubicBezTo>
                <a:cubicBezTo>
                  <a:pt x="109" y="131"/>
                  <a:pt x="144" y="83"/>
                  <a:pt x="144" y="38"/>
                </a:cubicBezTo>
                <a:cubicBezTo>
                  <a:pt x="144" y="36"/>
                  <a:pt x="144" y="35"/>
                  <a:pt x="144" y="34"/>
                </a:cubicBezTo>
                <a:cubicBezTo>
                  <a:pt x="150" y="29"/>
                  <a:pt x="156" y="23"/>
                  <a:pt x="160" y="17"/>
                </a:cubicBezTo>
                <a:cubicBezTo>
                  <a:pt x="160" y="17"/>
                  <a:pt x="160" y="16"/>
                  <a:pt x="160"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solidFill>
                <a:schemeClr val="bg1"/>
              </a:solidFill>
              <a:latin typeface="Montserrat" panose="00000500000000000000" pitchFamily="2" charset="0"/>
            </a:endParaRPr>
          </a:p>
        </p:txBody>
      </p:sp>
      <p:sp>
        <p:nvSpPr>
          <p:cNvPr id="21" name="Freeform 21"/>
          <p:cNvSpPr>
            <a:spLocks/>
          </p:cNvSpPr>
          <p:nvPr/>
        </p:nvSpPr>
        <p:spPr bwMode="auto">
          <a:xfrm>
            <a:off x="9541466" y="4906420"/>
            <a:ext cx="337044" cy="425832"/>
          </a:xfrm>
          <a:custGeom>
            <a:avLst/>
            <a:gdLst>
              <a:gd name="T0" fmla="*/ 129 w 323"/>
              <a:gd name="T1" fmla="*/ 272 h 408"/>
              <a:gd name="T2" fmla="*/ 68 w 323"/>
              <a:gd name="T3" fmla="*/ 408 h 408"/>
              <a:gd name="T4" fmla="*/ 98 w 323"/>
              <a:gd name="T5" fmla="*/ 196 h 408"/>
              <a:gd name="T6" fmla="*/ 149 w 323"/>
              <a:gd name="T7" fmla="*/ 99 h 408"/>
              <a:gd name="T8" fmla="*/ 172 w 323"/>
              <a:gd name="T9" fmla="*/ 257 h 408"/>
              <a:gd name="T10" fmla="*/ 234 w 323"/>
              <a:gd name="T11" fmla="*/ 73 h 408"/>
              <a:gd name="T12" fmla="*/ 47 w 323"/>
              <a:gd name="T13" fmla="*/ 173 h 408"/>
              <a:gd name="T14" fmla="*/ 57 w 323"/>
              <a:gd name="T15" fmla="*/ 239 h 408"/>
              <a:gd name="T16" fmla="*/ 1 w 323"/>
              <a:gd name="T17" fmla="*/ 147 h 408"/>
              <a:gd name="T18" fmla="*/ 137 w 323"/>
              <a:gd name="T19" fmla="*/ 9 h 408"/>
              <a:gd name="T20" fmla="*/ 310 w 323"/>
              <a:gd name="T21" fmla="*/ 119 h 408"/>
              <a:gd name="T22" fmla="*/ 183 w 323"/>
              <a:gd name="T23" fmla="*/ 298 h 408"/>
              <a:gd name="T24" fmla="*/ 129 w 323"/>
              <a:gd name="T25" fmla="*/ 2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3" h="408">
                <a:moveTo>
                  <a:pt x="129" y="272"/>
                </a:moveTo>
                <a:cubicBezTo>
                  <a:pt x="118" y="328"/>
                  <a:pt x="106" y="380"/>
                  <a:pt x="68" y="408"/>
                </a:cubicBezTo>
                <a:cubicBezTo>
                  <a:pt x="56" y="325"/>
                  <a:pt x="85" y="262"/>
                  <a:pt x="98" y="196"/>
                </a:cubicBezTo>
                <a:cubicBezTo>
                  <a:pt x="75" y="157"/>
                  <a:pt x="101" y="80"/>
                  <a:pt x="149" y="99"/>
                </a:cubicBezTo>
                <a:cubicBezTo>
                  <a:pt x="209" y="122"/>
                  <a:pt x="98" y="242"/>
                  <a:pt x="172" y="257"/>
                </a:cubicBezTo>
                <a:cubicBezTo>
                  <a:pt x="250" y="273"/>
                  <a:pt x="282" y="122"/>
                  <a:pt x="234" y="73"/>
                </a:cubicBezTo>
                <a:cubicBezTo>
                  <a:pt x="164" y="2"/>
                  <a:pt x="31" y="72"/>
                  <a:pt x="47" y="173"/>
                </a:cubicBezTo>
                <a:cubicBezTo>
                  <a:pt x="51" y="198"/>
                  <a:pt x="77" y="205"/>
                  <a:pt x="57" y="239"/>
                </a:cubicBezTo>
                <a:cubicBezTo>
                  <a:pt x="13" y="229"/>
                  <a:pt x="0" y="194"/>
                  <a:pt x="1" y="147"/>
                </a:cubicBezTo>
                <a:cubicBezTo>
                  <a:pt x="4" y="70"/>
                  <a:pt x="70" y="17"/>
                  <a:pt x="137" y="9"/>
                </a:cubicBezTo>
                <a:cubicBezTo>
                  <a:pt x="221" y="0"/>
                  <a:pt x="300" y="40"/>
                  <a:pt x="310" y="119"/>
                </a:cubicBezTo>
                <a:cubicBezTo>
                  <a:pt x="323" y="208"/>
                  <a:pt x="273" y="305"/>
                  <a:pt x="183" y="298"/>
                </a:cubicBezTo>
                <a:cubicBezTo>
                  <a:pt x="158" y="296"/>
                  <a:pt x="148" y="284"/>
                  <a:pt x="129" y="27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600" dirty="0">
              <a:solidFill>
                <a:schemeClr val="bg1"/>
              </a:solidFill>
              <a:latin typeface="Montserrat" panose="00000500000000000000" pitchFamily="2" charset="0"/>
            </a:endParaRPr>
          </a:p>
        </p:txBody>
      </p:sp>
      <p:sp>
        <p:nvSpPr>
          <p:cNvPr id="22" name="Freeform 62"/>
          <p:cNvSpPr>
            <a:spLocks/>
          </p:cNvSpPr>
          <p:nvPr/>
        </p:nvSpPr>
        <p:spPr bwMode="auto">
          <a:xfrm>
            <a:off x="3838210" y="4906419"/>
            <a:ext cx="219537" cy="425834"/>
          </a:xfrm>
          <a:custGeom>
            <a:avLst/>
            <a:gdLst>
              <a:gd name="T0" fmla="*/ 84 w 84"/>
              <a:gd name="T1" fmla="*/ 27 h 163"/>
              <a:gd name="T2" fmla="*/ 69 w 84"/>
              <a:gd name="T3" fmla="*/ 27 h 163"/>
              <a:gd name="T4" fmla="*/ 54 w 84"/>
              <a:gd name="T5" fmla="*/ 41 h 163"/>
              <a:gd name="T6" fmla="*/ 54 w 84"/>
              <a:gd name="T7" fmla="*/ 60 h 163"/>
              <a:gd name="T8" fmla="*/ 83 w 84"/>
              <a:gd name="T9" fmla="*/ 60 h 163"/>
              <a:gd name="T10" fmla="*/ 83 w 84"/>
              <a:gd name="T11" fmla="*/ 88 h 163"/>
              <a:gd name="T12" fmla="*/ 54 w 84"/>
              <a:gd name="T13" fmla="*/ 88 h 163"/>
              <a:gd name="T14" fmla="*/ 54 w 84"/>
              <a:gd name="T15" fmla="*/ 163 h 163"/>
              <a:gd name="T16" fmla="*/ 25 w 84"/>
              <a:gd name="T17" fmla="*/ 163 h 163"/>
              <a:gd name="T18" fmla="*/ 25 w 84"/>
              <a:gd name="T19" fmla="*/ 88 h 163"/>
              <a:gd name="T20" fmla="*/ 0 w 84"/>
              <a:gd name="T21" fmla="*/ 88 h 163"/>
              <a:gd name="T22" fmla="*/ 0 w 84"/>
              <a:gd name="T23" fmla="*/ 60 h 163"/>
              <a:gd name="T24" fmla="*/ 25 w 84"/>
              <a:gd name="T25" fmla="*/ 60 h 163"/>
              <a:gd name="T26" fmla="*/ 25 w 84"/>
              <a:gd name="T27" fmla="*/ 38 h 163"/>
              <a:gd name="T28" fmla="*/ 62 w 84"/>
              <a:gd name="T29" fmla="*/ 0 h 163"/>
              <a:gd name="T30" fmla="*/ 84 w 84"/>
              <a:gd name="T31" fmla="*/ 0 h 163"/>
              <a:gd name="T32" fmla="*/ 84 w 84"/>
              <a:gd name="T33" fmla="*/ 2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63">
                <a:moveTo>
                  <a:pt x="84" y="27"/>
                </a:moveTo>
                <a:cubicBezTo>
                  <a:pt x="69" y="27"/>
                  <a:pt x="69" y="27"/>
                  <a:pt x="69" y="27"/>
                </a:cubicBezTo>
                <a:cubicBezTo>
                  <a:pt x="57" y="27"/>
                  <a:pt x="54" y="33"/>
                  <a:pt x="54" y="41"/>
                </a:cubicBezTo>
                <a:cubicBezTo>
                  <a:pt x="54" y="60"/>
                  <a:pt x="54" y="60"/>
                  <a:pt x="54" y="60"/>
                </a:cubicBezTo>
                <a:cubicBezTo>
                  <a:pt x="83" y="60"/>
                  <a:pt x="83" y="60"/>
                  <a:pt x="83" y="60"/>
                </a:cubicBezTo>
                <a:cubicBezTo>
                  <a:pt x="83" y="88"/>
                  <a:pt x="83" y="88"/>
                  <a:pt x="83" y="88"/>
                </a:cubicBezTo>
                <a:cubicBezTo>
                  <a:pt x="54" y="88"/>
                  <a:pt x="54" y="88"/>
                  <a:pt x="54" y="88"/>
                </a:cubicBezTo>
                <a:cubicBezTo>
                  <a:pt x="54" y="163"/>
                  <a:pt x="54" y="163"/>
                  <a:pt x="54" y="163"/>
                </a:cubicBezTo>
                <a:cubicBezTo>
                  <a:pt x="25" y="163"/>
                  <a:pt x="25" y="163"/>
                  <a:pt x="25" y="163"/>
                </a:cubicBezTo>
                <a:cubicBezTo>
                  <a:pt x="25" y="88"/>
                  <a:pt x="25" y="88"/>
                  <a:pt x="25" y="88"/>
                </a:cubicBezTo>
                <a:cubicBezTo>
                  <a:pt x="0" y="88"/>
                  <a:pt x="0" y="88"/>
                  <a:pt x="0" y="88"/>
                </a:cubicBezTo>
                <a:cubicBezTo>
                  <a:pt x="0" y="60"/>
                  <a:pt x="0" y="60"/>
                  <a:pt x="0" y="60"/>
                </a:cubicBezTo>
                <a:cubicBezTo>
                  <a:pt x="25" y="60"/>
                  <a:pt x="25" y="60"/>
                  <a:pt x="25" y="60"/>
                </a:cubicBezTo>
                <a:cubicBezTo>
                  <a:pt x="25" y="38"/>
                  <a:pt x="25" y="38"/>
                  <a:pt x="25" y="38"/>
                </a:cubicBezTo>
                <a:cubicBezTo>
                  <a:pt x="25" y="13"/>
                  <a:pt x="40" y="0"/>
                  <a:pt x="62" y="0"/>
                </a:cubicBezTo>
                <a:cubicBezTo>
                  <a:pt x="84" y="0"/>
                  <a:pt x="84" y="0"/>
                  <a:pt x="84" y="0"/>
                </a:cubicBezTo>
                <a:lnTo>
                  <a:pt x="84" y="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solidFill>
                <a:schemeClr val="bg1"/>
              </a:solidFill>
              <a:latin typeface="Montserrat" panose="00000500000000000000" pitchFamily="2" charset="0"/>
            </a:endParaRPr>
          </a:p>
        </p:txBody>
      </p:sp>
      <p:sp>
        <p:nvSpPr>
          <p:cNvPr id="23" name="Freeform 31"/>
          <p:cNvSpPr>
            <a:spLocks/>
          </p:cNvSpPr>
          <p:nvPr/>
        </p:nvSpPr>
        <p:spPr bwMode="auto">
          <a:xfrm>
            <a:off x="1153556" y="4939392"/>
            <a:ext cx="359889" cy="359889"/>
          </a:xfrm>
          <a:custGeom>
            <a:avLst/>
            <a:gdLst/>
            <a:ahLst/>
            <a:cxnLst>
              <a:cxn ang="0">
                <a:pos x="253" y="201"/>
              </a:cxn>
              <a:cxn ang="0">
                <a:pos x="250" y="212"/>
              </a:cxn>
              <a:cxn ang="0">
                <a:pos x="214" y="246"/>
              </a:cxn>
              <a:cxn ang="0">
                <a:pos x="208" y="252"/>
              </a:cxn>
              <a:cxn ang="0">
                <a:pos x="201" y="254"/>
              </a:cxn>
              <a:cxn ang="0">
                <a:pos x="199" y="254"/>
              </a:cxn>
              <a:cxn ang="0">
                <a:pos x="195" y="254"/>
              </a:cxn>
              <a:cxn ang="0">
                <a:pos x="179" y="252"/>
              </a:cxn>
              <a:cxn ang="0">
                <a:pos x="150" y="245"/>
              </a:cxn>
              <a:cxn ang="0">
                <a:pos x="134" y="236"/>
              </a:cxn>
              <a:cxn ang="0">
                <a:pos x="114" y="223"/>
              </a:cxn>
              <a:cxn ang="0">
                <a:pos x="69" y="187"/>
              </a:cxn>
              <a:cxn ang="0">
                <a:pos x="52" y="169"/>
              </a:cxn>
              <a:cxn ang="0">
                <a:pos x="38" y="150"/>
              </a:cxn>
              <a:cxn ang="0">
                <a:pos x="18" y="120"/>
              </a:cxn>
              <a:cxn ang="0">
                <a:pos x="11" y="105"/>
              </a:cxn>
              <a:cxn ang="0">
                <a:pos x="7" y="92"/>
              </a:cxn>
              <a:cxn ang="0">
                <a:pos x="1" y="72"/>
              </a:cxn>
              <a:cxn ang="0">
                <a:pos x="0" y="60"/>
              </a:cxn>
              <a:cxn ang="0">
                <a:pos x="1" y="54"/>
              </a:cxn>
              <a:cxn ang="0">
                <a:pos x="3" y="47"/>
              </a:cxn>
              <a:cxn ang="0">
                <a:pos x="43" y="5"/>
              </a:cxn>
              <a:cxn ang="0">
                <a:pos x="47" y="2"/>
              </a:cxn>
              <a:cxn ang="0">
                <a:pos x="52" y="0"/>
              </a:cxn>
              <a:cxn ang="0">
                <a:pos x="58" y="4"/>
              </a:cxn>
              <a:cxn ang="0">
                <a:pos x="63" y="7"/>
              </a:cxn>
              <a:cxn ang="0">
                <a:pos x="92" y="62"/>
              </a:cxn>
              <a:cxn ang="0">
                <a:pos x="92" y="72"/>
              </a:cxn>
              <a:cxn ang="0">
                <a:pos x="90" y="76"/>
              </a:cxn>
              <a:cxn ang="0">
                <a:pos x="76" y="94"/>
              </a:cxn>
              <a:cxn ang="0">
                <a:pos x="74" y="96"/>
              </a:cxn>
              <a:cxn ang="0">
                <a:pos x="74" y="98"/>
              </a:cxn>
              <a:cxn ang="0">
                <a:pos x="79" y="110"/>
              </a:cxn>
              <a:cxn ang="0">
                <a:pos x="88" y="125"/>
              </a:cxn>
              <a:cxn ang="0">
                <a:pos x="96" y="136"/>
              </a:cxn>
              <a:cxn ang="0">
                <a:pos x="108" y="147"/>
              </a:cxn>
              <a:cxn ang="0">
                <a:pos x="128" y="167"/>
              </a:cxn>
              <a:cxn ang="0">
                <a:pos x="145" y="176"/>
              </a:cxn>
              <a:cxn ang="0">
                <a:pos x="154" y="181"/>
              </a:cxn>
              <a:cxn ang="0">
                <a:pos x="157" y="181"/>
              </a:cxn>
              <a:cxn ang="0">
                <a:pos x="159" y="181"/>
              </a:cxn>
              <a:cxn ang="0">
                <a:pos x="177" y="165"/>
              </a:cxn>
              <a:cxn ang="0">
                <a:pos x="181" y="161"/>
              </a:cxn>
              <a:cxn ang="0">
                <a:pos x="188" y="159"/>
              </a:cxn>
              <a:cxn ang="0">
                <a:pos x="195" y="161"/>
              </a:cxn>
              <a:cxn ang="0">
                <a:pos x="248" y="192"/>
              </a:cxn>
              <a:cxn ang="0">
                <a:pos x="253" y="201"/>
              </a:cxn>
            </a:cxnLst>
            <a:rect l="0" t="0" r="r" b="b"/>
            <a:pathLst>
              <a:path w="253" h="254">
                <a:moveTo>
                  <a:pt x="253" y="201"/>
                </a:moveTo>
                <a:lnTo>
                  <a:pt x="253" y="201"/>
                </a:lnTo>
                <a:lnTo>
                  <a:pt x="253" y="207"/>
                </a:lnTo>
                <a:lnTo>
                  <a:pt x="250" y="212"/>
                </a:lnTo>
                <a:lnTo>
                  <a:pt x="214" y="246"/>
                </a:lnTo>
                <a:lnTo>
                  <a:pt x="214" y="246"/>
                </a:lnTo>
                <a:lnTo>
                  <a:pt x="208" y="252"/>
                </a:lnTo>
                <a:lnTo>
                  <a:pt x="208" y="252"/>
                </a:lnTo>
                <a:lnTo>
                  <a:pt x="201" y="254"/>
                </a:lnTo>
                <a:lnTo>
                  <a:pt x="201" y="254"/>
                </a:lnTo>
                <a:lnTo>
                  <a:pt x="199" y="254"/>
                </a:lnTo>
                <a:lnTo>
                  <a:pt x="199" y="254"/>
                </a:lnTo>
                <a:lnTo>
                  <a:pt x="195" y="254"/>
                </a:lnTo>
                <a:lnTo>
                  <a:pt x="195" y="254"/>
                </a:lnTo>
                <a:lnTo>
                  <a:pt x="179" y="252"/>
                </a:lnTo>
                <a:lnTo>
                  <a:pt x="179" y="252"/>
                </a:lnTo>
                <a:lnTo>
                  <a:pt x="166" y="250"/>
                </a:lnTo>
                <a:lnTo>
                  <a:pt x="150" y="245"/>
                </a:lnTo>
                <a:lnTo>
                  <a:pt x="150" y="245"/>
                </a:lnTo>
                <a:lnTo>
                  <a:pt x="134" y="236"/>
                </a:lnTo>
                <a:lnTo>
                  <a:pt x="114" y="223"/>
                </a:lnTo>
                <a:lnTo>
                  <a:pt x="114" y="223"/>
                </a:lnTo>
                <a:lnTo>
                  <a:pt x="92" y="207"/>
                </a:lnTo>
                <a:lnTo>
                  <a:pt x="69" y="187"/>
                </a:lnTo>
                <a:lnTo>
                  <a:pt x="69" y="187"/>
                </a:lnTo>
                <a:lnTo>
                  <a:pt x="52" y="169"/>
                </a:lnTo>
                <a:lnTo>
                  <a:pt x="38" y="150"/>
                </a:lnTo>
                <a:lnTo>
                  <a:pt x="38" y="150"/>
                </a:lnTo>
                <a:lnTo>
                  <a:pt x="27" y="134"/>
                </a:lnTo>
                <a:lnTo>
                  <a:pt x="18" y="120"/>
                </a:lnTo>
                <a:lnTo>
                  <a:pt x="18" y="120"/>
                </a:lnTo>
                <a:lnTo>
                  <a:pt x="11" y="105"/>
                </a:lnTo>
                <a:lnTo>
                  <a:pt x="7" y="92"/>
                </a:lnTo>
                <a:lnTo>
                  <a:pt x="7" y="92"/>
                </a:lnTo>
                <a:lnTo>
                  <a:pt x="1" y="72"/>
                </a:lnTo>
                <a:lnTo>
                  <a:pt x="1" y="72"/>
                </a:lnTo>
                <a:lnTo>
                  <a:pt x="0" y="60"/>
                </a:lnTo>
                <a:lnTo>
                  <a:pt x="0" y="60"/>
                </a:lnTo>
                <a:lnTo>
                  <a:pt x="1" y="54"/>
                </a:lnTo>
                <a:lnTo>
                  <a:pt x="1" y="54"/>
                </a:lnTo>
                <a:lnTo>
                  <a:pt x="3" y="47"/>
                </a:lnTo>
                <a:lnTo>
                  <a:pt x="3" y="47"/>
                </a:lnTo>
                <a:lnTo>
                  <a:pt x="7" y="40"/>
                </a:lnTo>
                <a:lnTo>
                  <a:pt x="43" y="5"/>
                </a:lnTo>
                <a:lnTo>
                  <a:pt x="43" y="5"/>
                </a:lnTo>
                <a:lnTo>
                  <a:pt x="47" y="2"/>
                </a:lnTo>
                <a:lnTo>
                  <a:pt x="52" y="0"/>
                </a:lnTo>
                <a:lnTo>
                  <a:pt x="52" y="0"/>
                </a:lnTo>
                <a:lnTo>
                  <a:pt x="56" y="2"/>
                </a:lnTo>
                <a:lnTo>
                  <a:pt x="58" y="4"/>
                </a:lnTo>
                <a:lnTo>
                  <a:pt x="58" y="4"/>
                </a:lnTo>
                <a:lnTo>
                  <a:pt x="63" y="7"/>
                </a:lnTo>
                <a:lnTo>
                  <a:pt x="92" y="62"/>
                </a:lnTo>
                <a:lnTo>
                  <a:pt x="92" y="62"/>
                </a:lnTo>
                <a:lnTo>
                  <a:pt x="92" y="67"/>
                </a:lnTo>
                <a:lnTo>
                  <a:pt x="92" y="72"/>
                </a:lnTo>
                <a:lnTo>
                  <a:pt x="92" y="72"/>
                </a:lnTo>
                <a:lnTo>
                  <a:pt x="90" y="76"/>
                </a:lnTo>
                <a:lnTo>
                  <a:pt x="88" y="80"/>
                </a:lnTo>
                <a:lnTo>
                  <a:pt x="76" y="94"/>
                </a:lnTo>
                <a:lnTo>
                  <a:pt x="76" y="94"/>
                </a:lnTo>
                <a:lnTo>
                  <a:pt x="74" y="96"/>
                </a:lnTo>
                <a:lnTo>
                  <a:pt x="74" y="96"/>
                </a:lnTo>
                <a:lnTo>
                  <a:pt x="74" y="98"/>
                </a:lnTo>
                <a:lnTo>
                  <a:pt x="74" y="98"/>
                </a:lnTo>
                <a:lnTo>
                  <a:pt x="79" y="110"/>
                </a:lnTo>
                <a:lnTo>
                  <a:pt x="79" y="110"/>
                </a:lnTo>
                <a:lnTo>
                  <a:pt x="88" y="125"/>
                </a:lnTo>
                <a:lnTo>
                  <a:pt x="88" y="125"/>
                </a:lnTo>
                <a:lnTo>
                  <a:pt x="96" y="136"/>
                </a:lnTo>
                <a:lnTo>
                  <a:pt x="108" y="147"/>
                </a:lnTo>
                <a:lnTo>
                  <a:pt x="108" y="147"/>
                </a:lnTo>
                <a:lnTo>
                  <a:pt x="119" y="158"/>
                </a:lnTo>
                <a:lnTo>
                  <a:pt x="128" y="167"/>
                </a:lnTo>
                <a:lnTo>
                  <a:pt x="128" y="167"/>
                </a:lnTo>
                <a:lnTo>
                  <a:pt x="145" y="176"/>
                </a:lnTo>
                <a:lnTo>
                  <a:pt x="145" y="176"/>
                </a:lnTo>
                <a:lnTo>
                  <a:pt x="154" y="181"/>
                </a:lnTo>
                <a:lnTo>
                  <a:pt x="157" y="181"/>
                </a:lnTo>
                <a:lnTo>
                  <a:pt x="157" y="181"/>
                </a:lnTo>
                <a:lnTo>
                  <a:pt x="159" y="181"/>
                </a:lnTo>
                <a:lnTo>
                  <a:pt x="159" y="181"/>
                </a:lnTo>
                <a:lnTo>
                  <a:pt x="161" y="179"/>
                </a:lnTo>
                <a:lnTo>
                  <a:pt x="177" y="165"/>
                </a:lnTo>
                <a:lnTo>
                  <a:pt x="177" y="165"/>
                </a:lnTo>
                <a:lnTo>
                  <a:pt x="181" y="161"/>
                </a:lnTo>
                <a:lnTo>
                  <a:pt x="188" y="159"/>
                </a:lnTo>
                <a:lnTo>
                  <a:pt x="188" y="159"/>
                </a:lnTo>
                <a:lnTo>
                  <a:pt x="195" y="161"/>
                </a:lnTo>
                <a:lnTo>
                  <a:pt x="195" y="161"/>
                </a:lnTo>
                <a:lnTo>
                  <a:pt x="248" y="192"/>
                </a:lnTo>
                <a:lnTo>
                  <a:pt x="248" y="192"/>
                </a:lnTo>
                <a:lnTo>
                  <a:pt x="252" y="196"/>
                </a:lnTo>
                <a:lnTo>
                  <a:pt x="253" y="201"/>
                </a:lnTo>
                <a:lnTo>
                  <a:pt x="253" y="201"/>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1600">
              <a:solidFill>
                <a:schemeClr val="bg1"/>
              </a:solidFill>
              <a:latin typeface="Montserrat" panose="00000500000000000000" pitchFamily="2" charset="0"/>
            </a:endParaRPr>
          </a:p>
        </p:txBody>
      </p:sp>
      <p:sp>
        <p:nvSpPr>
          <p:cNvPr id="31" name="TextBox 30"/>
          <p:cNvSpPr txBox="1"/>
          <p:nvPr/>
        </p:nvSpPr>
        <p:spPr>
          <a:xfrm>
            <a:off x="774700" y="2286048"/>
            <a:ext cx="10642600" cy="1463096"/>
          </a:xfrm>
          <a:prstGeom prst="rect">
            <a:avLst/>
          </a:prstGeom>
          <a:gradFill flip="none" rotWithShape="1">
            <a:gsLst>
              <a:gs pos="0">
                <a:schemeClr val="accent1"/>
              </a:gs>
              <a:gs pos="100000">
                <a:schemeClr val="accent2"/>
              </a:gs>
            </a:gsLst>
            <a:lin ang="8100000" scaled="1"/>
            <a:tileRect/>
          </a:gradFill>
          <a:ln w="28575">
            <a:noFill/>
          </a:ln>
        </p:spPr>
        <p:txBody>
          <a:bodyPr wrap="square" rtlCol="0" anchor="ctr">
            <a:noAutofit/>
          </a:bodyPr>
          <a:lstStyle/>
          <a:p>
            <a:pPr algn="ctr"/>
            <a:r>
              <a:rPr lang="en-US" sz="6000" b="1" dirty="0">
                <a:solidFill>
                  <a:schemeClr val="bg1"/>
                </a:solidFill>
                <a:latin typeface="Montserrat" panose="00000500000000000000" pitchFamily="2" charset="0"/>
              </a:rPr>
              <a:t>THANK YOU</a:t>
            </a:r>
          </a:p>
        </p:txBody>
      </p:sp>
      <p:sp>
        <p:nvSpPr>
          <p:cNvPr id="32" name="TextBox 31"/>
          <p:cNvSpPr txBox="1"/>
          <p:nvPr/>
        </p:nvSpPr>
        <p:spPr>
          <a:xfrm flipV="1">
            <a:off x="774700" y="3874081"/>
            <a:ext cx="10642600" cy="49306"/>
          </a:xfrm>
          <a:prstGeom prst="rect">
            <a:avLst/>
          </a:prstGeom>
          <a:solidFill>
            <a:schemeClr val="accent1"/>
          </a:solidFill>
          <a:ln w="28575">
            <a:noFill/>
          </a:ln>
        </p:spPr>
        <p:txBody>
          <a:bodyPr wrap="square" rtlCol="0" anchor="ctr">
            <a:noAutofit/>
          </a:bodyPr>
          <a:lstStyle/>
          <a:p>
            <a:pPr algn="ctr"/>
            <a:endParaRPr lang="en-US" sz="6000" b="1" dirty="0">
              <a:solidFill>
                <a:schemeClr val="bg1"/>
              </a:solidFill>
              <a:latin typeface="Montserrat" panose="00000500000000000000" pitchFamily="2" charset="0"/>
            </a:endParaRPr>
          </a:p>
        </p:txBody>
      </p:sp>
      <p:sp>
        <p:nvSpPr>
          <p:cNvPr id="2" name="Slide Number Placeholder 1"/>
          <p:cNvSpPr>
            <a:spLocks noGrp="1"/>
          </p:cNvSpPr>
          <p:nvPr>
            <p:ph type="sldNum" sz="quarter" idx="12"/>
          </p:nvPr>
        </p:nvSpPr>
        <p:spPr/>
        <p:txBody>
          <a:bodyPr/>
          <a:lstStyle/>
          <a:p>
            <a:fld id="{DE156FE7-4276-48C2-8D29-2DA35A3BAE26}" type="slidenum">
              <a:rPr lang="en-US" smtClean="0"/>
              <a:t>24</a:t>
            </a:fld>
            <a:endParaRPr lang="en-US"/>
          </a:p>
        </p:txBody>
      </p:sp>
    </p:spTree>
    <p:extLst>
      <p:ext uri="{BB962C8B-B14F-4D97-AF65-F5344CB8AC3E}">
        <p14:creationId xmlns:p14="http://schemas.microsoft.com/office/powerpoint/2010/main" val="2767809805"/>
      </p:ext>
    </p:extLst>
  </p:cSld>
  <p:clrMapOvr>
    <a:masterClrMapping/>
  </p:clrMapOvr>
  <p:transition spd="med">
    <p:pull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AF2425E-33D9-4769-8340-A8A7A2CBE4F9}"/>
              </a:ext>
            </a:extLst>
          </p:cNvPr>
          <p:cNvSpPr/>
          <p:nvPr/>
        </p:nvSpPr>
        <p:spPr>
          <a:xfrm>
            <a:off x="174625" y="174625"/>
            <a:ext cx="11842750" cy="6508750"/>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33" name="TextBox 32">
            <a:extLst>
              <a:ext uri="{FF2B5EF4-FFF2-40B4-BE49-F238E27FC236}">
                <a16:creationId xmlns:a16="http://schemas.microsoft.com/office/drawing/2014/main" id="{EE6F5227-F939-4AA9-B97B-C74D9F8640E5}"/>
              </a:ext>
            </a:extLst>
          </p:cNvPr>
          <p:cNvSpPr txBox="1"/>
          <p:nvPr/>
        </p:nvSpPr>
        <p:spPr>
          <a:xfrm>
            <a:off x="8358450" y="3166712"/>
            <a:ext cx="3219414" cy="1870127"/>
          </a:xfrm>
          <a:prstGeom prst="rect">
            <a:avLst/>
          </a:prstGeom>
          <a:noFill/>
        </p:spPr>
        <p:txBody>
          <a:bodyPr wrap="square" rtlCol="0">
            <a:spAutoFit/>
          </a:bodyPr>
          <a:lstStyle/>
          <a:p>
            <a:pPr algn="r">
              <a:lnSpc>
                <a:spcPct val="80000"/>
              </a:lnSpc>
            </a:pPr>
            <a:r>
              <a:rPr lang="en-US" sz="14334" b="1" dirty="0">
                <a:solidFill>
                  <a:schemeClr val="accent1"/>
                </a:solidFill>
                <a:latin typeface="Montserrat" panose="00000500000000000000" pitchFamily="2" charset="0"/>
              </a:rPr>
              <a:t>Aa</a:t>
            </a:r>
          </a:p>
        </p:txBody>
      </p:sp>
      <p:sp>
        <p:nvSpPr>
          <p:cNvPr id="17" name="Rectangle 16">
            <a:extLst>
              <a:ext uri="{FF2B5EF4-FFF2-40B4-BE49-F238E27FC236}">
                <a16:creationId xmlns:a16="http://schemas.microsoft.com/office/drawing/2014/main" id="{0E745DCF-86BB-42F7-B27E-02E8A0F7802B}"/>
              </a:ext>
            </a:extLst>
          </p:cNvPr>
          <p:cNvSpPr/>
          <p:nvPr/>
        </p:nvSpPr>
        <p:spPr>
          <a:xfrm>
            <a:off x="6186230" y="4494240"/>
            <a:ext cx="1609096" cy="16160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11" name="Rectangle 10">
            <a:extLst>
              <a:ext uri="{FF2B5EF4-FFF2-40B4-BE49-F238E27FC236}">
                <a16:creationId xmlns:a16="http://schemas.microsoft.com/office/drawing/2014/main" id="{1683F5A8-3386-4AFB-812B-E2F03CC2958F}"/>
              </a:ext>
            </a:extLst>
          </p:cNvPr>
          <p:cNvSpPr/>
          <p:nvPr/>
        </p:nvSpPr>
        <p:spPr>
          <a:xfrm>
            <a:off x="817563" y="4494240"/>
            <a:ext cx="1609096" cy="16160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13" name="Rectangle 12">
            <a:extLst>
              <a:ext uri="{FF2B5EF4-FFF2-40B4-BE49-F238E27FC236}">
                <a16:creationId xmlns:a16="http://schemas.microsoft.com/office/drawing/2014/main" id="{E62A04C8-94DE-4EE1-95CD-9761A55CEDB2}"/>
              </a:ext>
            </a:extLst>
          </p:cNvPr>
          <p:cNvSpPr/>
          <p:nvPr/>
        </p:nvSpPr>
        <p:spPr>
          <a:xfrm>
            <a:off x="2607119" y="4494240"/>
            <a:ext cx="1609096" cy="16160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14" name="Rectangle 13">
            <a:extLst>
              <a:ext uri="{FF2B5EF4-FFF2-40B4-BE49-F238E27FC236}">
                <a16:creationId xmlns:a16="http://schemas.microsoft.com/office/drawing/2014/main" id="{48389EFD-5307-475E-9D7F-932563977382}"/>
              </a:ext>
            </a:extLst>
          </p:cNvPr>
          <p:cNvSpPr/>
          <p:nvPr/>
        </p:nvSpPr>
        <p:spPr>
          <a:xfrm>
            <a:off x="4396675" y="4494240"/>
            <a:ext cx="1609096" cy="1616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15" name="Rectangle 14">
            <a:extLst>
              <a:ext uri="{FF2B5EF4-FFF2-40B4-BE49-F238E27FC236}">
                <a16:creationId xmlns:a16="http://schemas.microsoft.com/office/drawing/2014/main" id="{5A6AF201-C338-424D-A234-39CAB839495E}"/>
              </a:ext>
            </a:extLst>
          </p:cNvPr>
          <p:cNvSpPr/>
          <p:nvPr/>
        </p:nvSpPr>
        <p:spPr>
          <a:xfrm>
            <a:off x="9765342" y="4494240"/>
            <a:ext cx="1609096" cy="16160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atin typeface="Montserrat" panose="00000500000000000000" pitchFamily="2" charset="0"/>
            </a:endParaRPr>
          </a:p>
        </p:txBody>
      </p:sp>
      <p:sp>
        <p:nvSpPr>
          <p:cNvPr id="16" name="Rectangle 15">
            <a:extLst>
              <a:ext uri="{FF2B5EF4-FFF2-40B4-BE49-F238E27FC236}">
                <a16:creationId xmlns:a16="http://schemas.microsoft.com/office/drawing/2014/main" id="{0717D0D5-CC33-4F4A-BD88-348D2A44F569}"/>
              </a:ext>
            </a:extLst>
          </p:cNvPr>
          <p:cNvSpPr/>
          <p:nvPr/>
        </p:nvSpPr>
        <p:spPr>
          <a:xfrm>
            <a:off x="7975786" y="4494240"/>
            <a:ext cx="1609096" cy="16160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a:ln w="0"/>
              <a:solidFill>
                <a:schemeClr val="tx1"/>
              </a:solidFill>
              <a:effectLst>
                <a:outerShdw blurRad="38100" dist="19050" dir="2700000" algn="tl" rotWithShape="0">
                  <a:schemeClr val="dk1">
                    <a:alpha val="40000"/>
                  </a:schemeClr>
                </a:outerShdw>
              </a:effectLst>
              <a:latin typeface="Montserrat" panose="00000500000000000000" pitchFamily="2" charset="0"/>
            </a:endParaRPr>
          </a:p>
        </p:txBody>
      </p:sp>
      <p:sp>
        <p:nvSpPr>
          <p:cNvPr id="29" name="TextBox 28">
            <a:extLst>
              <a:ext uri="{FF2B5EF4-FFF2-40B4-BE49-F238E27FC236}">
                <a16:creationId xmlns:a16="http://schemas.microsoft.com/office/drawing/2014/main" id="{49C22928-36B3-4D2E-A1E7-2F2BE152BCB5}"/>
              </a:ext>
            </a:extLst>
          </p:cNvPr>
          <p:cNvSpPr txBox="1"/>
          <p:nvPr/>
        </p:nvSpPr>
        <p:spPr>
          <a:xfrm>
            <a:off x="667656" y="967616"/>
            <a:ext cx="9532938" cy="1276696"/>
          </a:xfrm>
          <a:prstGeom prst="rect">
            <a:avLst/>
          </a:prstGeom>
          <a:noFill/>
        </p:spPr>
        <p:txBody>
          <a:bodyPr wrap="square" rtlCol="0">
            <a:spAutoFit/>
          </a:bodyPr>
          <a:lstStyle/>
          <a:p>
            <a:pPr>
              <a:lnSpc>
                <a:spcPct val="80000"/>
              </a:lnSpc>
            </a:pPr>
            <a:r>
              <a:rPr lang="en-US" sz="4792" b="1" dirty="0">
                <a:solidFill>
                  <a:schemeClr val="accent1"/>
                </a:solidFill>
                <a:latin typeface="Montserrat" panose="00000500000000000000" pitchFamily="2" charset="0"/>
              </a:rPr>
              <a:t>MARKETING</a:t>
            </a:r>
            <a:br>
              <a:rPr lang="en-US" sz="4792" b="1" dirty="0">
                <a:solidFill>
                  <a:schemeClr val="accent1"/>
                </a:solidFill>
                <a:latin typeface="Montserrat" panose="00000500000000000000" pitchFamily="2" charset="0"/>
              </a:rPr>
            </a:br>
            <a:r>
              <a:rPr lang="en-US" sz="4792" dirty="0">
                <a:solidFill>
                  <a:schemeClr val="accent1"/>
                </a:solidFill>
                <a:latin typeface="Montserrat" panose="00000500000000000000" pitchFamily="2" charset="0"/>
              </a:rPr>
              <a:t>POWERPOINT TEMPLATE</a:t>
            </a:r>
          </a:p>
        </p:txBody>
      </p:sp>
      <p:sp>
        <p:nvSpPr>
          <p:cNvPr id="30" name="TextBox 29">
            <a:extLst>
              <a:ext uri="{FF2B5EF4-FFF2-40B4-BE49-F238E27FC236}">
                <a16:creationId xmlns:a16="http://schemas.microsoft.com/office/drawing/2014/main" id="{090E1AF9-A25B-451A-B0B5-88E723C3FCE2}"/>
              </a:ext>
            </a:extLst>
          </p:cNvPr>
          <p:cNvSpPr txBox="1"/>
          <p:nvPr/>
        </p:nvSpPr>
        <p:spPr>
          <a:xfrm>
            <a:off x="785812" y="3634615"/>
            <a:ext cx="9532938" cy="340350"/>
          </a:xfrm>
          <a:prstGeom prst="rect">
            <a:avLst/>
          </a:prstGeom>
          <a:noFill/>
        </p:spPr>
        <p:txBody>
          <a:bodyPr wrap="square" rtlCol="0">
            <a:spAutoFit/>
          </a:bodyPr>
          <a:lstStyle/>
          <a:p>
            <a:pPr>
              <a:lnSpc>
                <a:spcPct val="80000"/>
              </a:lnSpc>
            </a:pPr>
            <a:r>
              <a:rPr lang="en-US" sz="2000" dirty="0">
                <a:solidFill>
                  <a:schemeClr val="accent1"/>
                </a:solidFill>
                <a:latin typeface="Montserrat" panose="00000500000000000000" pitchFamily="2" charset="0"/>
              </a:rPr>
              <a:t>FONT: </a:t>
            </a:r>
            <a:r>
              <a:rPr lang="en-US" sz="2000" b="1" dirty="0">
                <a:solidFill>
                  <a:schemeClr val="accent1"/>
                </a:solidFill>
                <a:latin typeface="Montserrat" panose="00000500000000000000" pitchFamily="2" charset="0"/>
              </a:rPr>
              <a:t>MONTSERRAT</a:t>
            </a:r>
          </a:p>
        </p:txBody>
      </p:sp>
      <p:sp>
        <p:nvSpPr>
          <p:cNvPr id="31" name="TextBox 30">
            <a:extLst>
              <a:ext uri="{FF2B5EF4-FFF2-40B4-BE49-F238E27FC236}">
                <a16:creationId xmlns:a16="http://schemas.microsoft.com/office/drawing/2014/main" id="{8B103FB0-6C68-4B5B-BA0C-90E43A64CCC8}"/>
              </a:ext>
            </a:extLst>
          </p:cNvPr>
          <p:cNvSpPr txBox="1"/>
          <p:nvPr/>
        </p:nvSpPr>
        <p:spPr>
          <a:xfrm>
            <a:off x="785812" y="4094171"/>
            <a:ext cx="9532938" cy="340350"/>
          </a:xfrm>
          <a:prstGeom prst="rect">
            <a:avLst/>
          </a:prstGeom>
          <a:noFill/>
        </p:spPr>
        <p:txBody>
          <a:bodyPr wrap="square" rtlCol="0">
            <a:spAutoFit/>
          </a:bodyPr>
          <a:lstStyle/>
          <a:p>
            <a:pPr>
              <a:lnSpc>
                <a:spcPct val="80000"/>
              </a:lnSpc>
            </a:pPr>
            <a:r>
              <a:rPr lang="en-US" sz="2000" dirty="0">
                <a:solidFill>
                  <a:schemeClr val="accent1"/>
                </a:solidFill>
                <a:latin typeface="Montserrat" panose="00000500000000000000" pitchFamily="2" charset="0"/>
              </a:rPr>
              <a:t>COLOR </a:t>
            </a:r>
            <a:r>
              <a:rPr lang="en-US" sz="2000" b="1" dirty="0">
                <a:solidFill>
                  <a:schemeClr val="accent1"/>
                </a:solidFill>
                <a:latin typeface="Montserrat" panose="00000500000000000000" pitchFamily="2" charset="0"/>
              </a:rPr>
              <a:t>PALETTE</a:t>
            </a:r>
          </a:p>
        </p:txBody>
      </p:sp>
      <p:cxnSp>
        <p:nvCxnSpPr>
          <p:cNvPr id="3" name="Straight Connector 2">
            <a:extLst>
              <a:ext uri="{FF2B5EF4-FFF2-40B4-BE49-F238E27FC236}">
                <a16:creationId xmlns:a16="http://schemas.microsoft.com/office/drawing/2014/main" id="{E21700E9-2B17-4318-839D-FE6676B8999E}"/>
              </a:ext>
            </a:extLst>
          </p:cNvPr>
          <p:cNvCxnSpPr>
            <a:cxnSpLocks/>
          </p:cNvCxnSpPr>
          <p:nvPr/>
        </p:nvCxnSpPr>
        <p:spPr>
          <a:xfrm>
            <a:off x="817563" y="2489607"/>
            <a:ext cx="11199812"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Rounded Corners 1">
            <a:hlinkClick r:id="rId2"/>
            <a:extLst>
              <a:ext uri="{FF2B5EF4-FFF2-40B4-BE49-F238E27FC236}">
                <a16:creationId xmlns:a16="http://schemas.microsoft.com/office/drawing/2014/main" id="{45047B1E-DE7C-41C0-AEF4-8CEBFDE6D17A}"/>
              </a:ext>
            </a:extLst>
          </p:cNvPr>
          <p:cNvSpPr/>
          <p:nvPr/>
        </p:nvSpPr>
        <p:spPr>
          <a:xfrm>
            <a:off x="3836276" y="3660015"/>
            <a:ext cx="1136568" cy="22301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spc="250" dirty="0">
                <a:solidFill>
                  <a:schemeClr val="bg1"/>
                </a:solidFill>
                <a:latin typeface="Montserrat" panose="00000500000000000000" pitchFamily="2" charset="0"/>
              </a:rPr>
              <a:t>DOWNLOAD</a:t>
            </a:r>
          </a:p>
        </p:txBody>
      </p:sp>
      <p:sp>
        <p:nvSpPr>
          <p:cNvPr id="4" name="Rectangle 3">
            <a:extLst>
              <a:ext uri="{FF2B5EF4-FFF2-40B4-BE49-F238E27FC236}">
                <a16:creationId xmlns:a16="http://schemas.microsoft.com/office/drawing/2014/main" id="{F71CC375-4A85-4E8C-911E-37484709406C}"/>
              </a:ext>
            </a:extLst>
          </p:cNvPr>
          <p:cNvSpPr/>
          <p:nvPr/>
        </p:nvSpPr>
        <p:spPr>
          <a:xfrm>
            <a:off x="266700" y="266700"/>
            <a:ext cx="11525250" cy="514350"/>
          </a:xfrm>
          <a:prstGeom prst="rect">
            <a:avLst/>
          </a:prstGeom>
          <a:solidFill>
            <a:srgbClr val="F2FD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anose="00000500000000000000" pitchFamily="2" charset="0"/>
            </a:endParaRPr>
          </a:p>
        </p:txBody>
      </p:sp>
    </p:spTree>
    <p:extLst>
      <p:ext uri="{BB962C8B-B14F-4D97-AF65-F5344CB8AC3E}">
        <p14:creationId xmlns:p14="http://schemas.microsoft.com/office/powerpoint/2010/main" val="3906973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DAD9B95-2413-4307-8989-CAA973243A80}"/>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28090" b="28090"/>
          <a:stretch>
            <a:fillRect/>
          </a:stretch>
        </p:blipFill>
        <p:spPr>
          <a:solidFill>
            <a:schemeClr val="bg1">
              <a:lumMod val="85000"/>
            </a:schemeClr>
          </a:solidFill>
        </p:spPr>
      </p:pic>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INTRODUCTION</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grpSp>
        <p:nvGrpSpPr>
          <p:cNvPr id="8" name="Group 7"/>
          <p:cNvGrpSpPr/>
          <p:nvPr/>
        </p:nvGrpSpPr>
        <p:grpSpPr>
          <a:xfrm>
            <a:off x="4760240" y="4077154"/>
            <a:ext cx="942666" cy="942666"/>
            <a:chOff x="4760240" y="4241175"/>
            <a:chExt cx="942666" cy="942666"/>
          </a:xfrm>
        </p:grpSpPr>
        <p:sp>
          <p:nvSpPr>
            <p:cNvPr id="12" name="Round Diagonal Corner Rectangle 11"/>
            <p:cNvSpPr/>
            <p:nvPr/>
          </p:nvSpPr>
          <p:spPr>
            <a:xfrm>
              <a:off x="4760240" y="4241175"/>
              <a:ext cx="942666" cy="942666"/>
            </a:xfrm>
            <a:prstGeom prst="round2Diag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utoShape 123"/>
            <p:cNvSpPr>
              <a:spLocks noChangeAspect="1"/>
            </p:cNvSpPr>
            <p:nvPr/>
          </p:nvSpPr>
          <p:spPr bwMode="auto">
            <a:xfrm>
              <a:off x="5027942" y="4488456"/>
              <a:ext cx="407262" cy="4481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bg1"/>
            </a:solidFill>
            <a:ln>
              <a:noFill/>
            </a:ln>
            <a:effectLst/>
          </p:spPr>
          <p:txBody>
            <a:bodyPr lIns="50789" tIns="50789" rIns="50789" bIns="50789" anchor="ctr"/>
            <a:lstStyle/>
            <a:p>
              <a:pPr defTabSz="457098">
                <a:defRPr/>
              </a:pPr>
              <a:endParaRPr lang="es-ES" sz="36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14" name="Group 13"/>
          <p:cNvGrpSpPr/>
          <p:nvPr/>
        </p:nvGrpSpPr>
        <p:grpSpPr>
          <a:xfrm>
            <a:off x="2965734" y="4077154"/>
            <a:ext cx="942666" cy="942666"/>
            <a:chOff x="2965734" y="4241175"/>
            <a:chExt cx="942666" cy="942666"/>
          </a:xfrm>
        </p:grpSpPr>
        <p:sp>
          <p:nvSpPr>
            <p:cNvPr id="15" name="Round Diagonal Corner Rectangle 14"/>
            <p:cNvSpPr/>
            <p:nvPr/>
          </p:nvSpPr>
          <p:spPr>
            <a:xfrm>
              <a:off x="2965734" y="4241175"/>
              <a:ext cx="942666" cy="942666"/>
            </a:xfrm>
            <a:prstGeom prst="round2Diag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4681"/>
            <p:cNvGrpSpPr>
              <a:grpSpLocks noChangeAspect="1"/>
            </p:cNvGrpSpPr>
            <p:nvPr/>
          </p:nvGrpSpPr>
          <p:grpSpPr bwMode="auto">
            <a:xfrm>
              <a:off x="3247472" y="4464009"/>
              <a:ext cx="379190" cy="496999"/>
              <a:chOff x="4576763" y="2300287"/>
              <a:chExt cx="276225" cy="361950"/>
            </a:xfrm>
            <a:solidFill>
              <a:schemeClr val="bg1"/>
            </a:solidFill>
          </p:grpSpPr>
          <p:sp>
            <p:nvSpPr>
              <p:cNvPr id="17" name="Freeform 250"/>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 name="T14" fmla="*/ 92 w 336"/>
                  <a:gd name="T15" fmla="*/ 0 h 336"/>
                  <a:gd name="T16" fmla="*/ 92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92" y="0"/>
                    </a:moveTo>
                    <a:lnTo>
                      <a:pt x="0" y="243"/>
                    </a:lnTo>
                    <a:lnTo>
                      <a:pt x="159" y="193"/>
                    </a:lnTo>
                    <a:lnTo>
                      <a:pt x="251" y="335"/>
                    </a:lnTo>
                    <a:lnTo>
                      <a:pt x="335" y="84"/>
                    </a:lnTo>
                    <a:lnTo>
                      <a:pt x="251" y="9"/>
                    </a:lnTo>
                    <a:lnTo>
                      <a:pt x="92" y="0"/>
                    </a:lnTo>
                    <a:close/>
                    <a:moveTo>
                      <a:pt x="92" y="0"/>
                    </a:moveTo>
                    <a:lnTo>
                      <a:pt x="92"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18" name="Freeform 251"/>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92" y="0"/>
                    </a:moveTo>
                    <a:lnTo>
                      <a:pt x="0" y="243"/>
                    </a:lnTo>
                    <a:lnTo>
                      <a:pt x="159" y="193"/>
                    </a:lnTo>
                    <a:lnTo>
                      <a:pt x="251" y="335"/>
                    </a:lnTo>
                    <a:lnTo>
                      <a:pt x="335" y="84"/>
                    </a:lnTo>
                    <a:lnTo>
                      <a:pt x="251" y="9"/>
                    </a:lnTo>
                    <a:lnTo>
                      <a:pt x="92"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19" name="Freeform 252"/>
              <p:cNvSpPr>
                <a:spLocks noChangeArrowheads="1"/>
              </p:cNvSpPr>
              <p:nvPr/>
            </p:nvSpPr>
            <p:spPr bwMode="auto">
              <a:xfrm>
                <a:off x="4610100"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0" name="Freeform 253"/>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 name="T14" fmla="*/ 251 w 336"/>
                  <a:gd name="T15" fmla="*/ 0 h 336"/>
                  <a:gd name="T16" fmla="*/ 251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251" y="0"/>
                    </a:moveTo>
                    <a:lnTo>
                      <a:pt x="84" y="9"/>
                    </a:lnTo>
                    <a:lnTo>
                      <a:pt x="0" y="84"/>
                    </a:lnTo>
                    <a:lnTo>
                      <a:pt x="92" y="335"/>
                    </a:lnTo>
                    <a:lnTo>
                      <a:pt x="176" y="193"/>
                    </a:lnTo>
                    <a:lnTo>
                      <a:pt x="335" y="243"/>
                    </a:lnTo>
                    <a:lnTo>
                      <a:pt x="251" y="0"/>
                    </a:lnTo>
                    <a:close/>
                    <a:moveTo>
                      <a:pt x="251" y="0"/>
                    </a:moveTo>
                    <a:lnTo>
                      <a:pt x="251"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1" name="Freeform 254"/>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251" y="0"/>
                    </a:moveTo>
                    <a:lnTo>
                      <a:pt x="84" y="9"/>
                    </a:lnTo>
                    <a:lnTo>
                      <a:pt x="0" y="84"/>
                    </a:lnTo>
                    <a:lnTo>
                      <a:pt x="92" y="335"/>
                    </a:lnTo>
                    <a:lnTo>
                      <a:pt x="176" y="193"/>
                    </a:lnTo>
                    <a:lnTo>
                      <a:pt x="335" y="243"/>
                    </a:lnTo>
                    <a:lnTo>
                      <a:pt x="251"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2" name="Freeform 255"/>
              <p:cNvSpPr>
                <a:spLocks noChangeArrowheads="1"/>
              </p:cNvSpPr>
              <p:nvPr/>
            </p:nvSpPr>
            <p:spPr bwMode="auto">
              <a:xfrm>
                <a:off x="4822825"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3" name="Freeform 256"/>
              <p:cNvSpPr>
                <a:spLocks noChangeArrowheads="1"/>
              </p:cNvSpPr>
              <p:nvPr/>
            </p:nvSpPr>
            <p:spPr bwMode="auto">
              <a:xfrm>
                <a:off x="4586288" y="2300287"/>
                <a:ext cx="261937" cy="258762"/>
              </a:xfrm>
              <a:custGeom>
                <a:avLst/>
                <a:gdLst>
                  <a:gd name="T0" fmla="*/ 618 w 728"/>
                  <a:gd name="T1" fmla="*/ 619 h 720"/>
                  <a:gd name="T2" fmla="*/ 627 w 728"/>
                  <a:gd name="T3" fmla="*/ 469 h 720"/>
                  <a:gd name="T4" fmla="*/ 727 w 728"/>
                  <a:gd name="T5" fmla="*/ 360 h 720"/>
                  <a:gd name="T6" fmla="*/ 627 w 728"/>
                  <a:gd name="T7" fmla="*/ 251 h 720"/>
                  <a:gd name="T8" fmla="*/ 618 w 728"/>
                  <a:gd name="T9" fmla="*/ 101 h 720"/>
                  <a:gd name="T10" fmla="*/ 468 w 728"/>
                  <a:gd name="T11" fmla="*/ 92 h 720"/>
                  <a:gd name="T12" fmla="*/ 359 w 728"/>
                  <a:gd name="T13" fmla="*/ 0 h 720"/>
                  <a:gd name="T14" fmla="*/ 250 w 728"/>
                  <a:gd name="T15" fmla="*/ 92 h 720"/>
                  <a:gd name="T16" fmla="*/ 100 w 728"/>
                  <a:gd name="T17" fmla="*/ 101 h 720"/>
                  <a:gd name="T18" fmla="*/ 92 w 728"/>
                  <a:gd name="T19" fmla="*/ 251 h 720"/>
                  <a:gd name="T20" fmla="*/ 0 w 728"/>
                  <a:gd name="T21" fmla="*/ 360 h 720"/>
                  <a:gd name="T22" fmla="*/ 92 w 728"/>
                  <a:gd name="T23" fmla="*/ 469 h 720"/>
                  <a:gd name="T24" fmla="*/ 100 w 728"/>
                  <a:gd name="T25" fmla="*/ 619 h 720"/>
                  <a:gd name="T26" fmla="*/ 250 w 728"/>
                  <a:gd name="T27" fmla="*/ 628 h 720"/>
                  <a:gd name="T28" fmla="*/ 359 w 728"/>
                  <a:gd name="T29" fmla="*/ 719 h 720"/>
                  <a:gd name="T30" fmla="*/ 468 w 728"/>
                  <a:gd name="T31" fmla="*/ 628 h 720"/>
                  <a:gd name="T32" fmla="*/ 618 w 728"/>
                  <a:gd name="T33" fmla="*/ 619 h 720"/>
                  <a:gd name="T34" fmla="*/ 359 w 728"/>
                  <a:gd name="T35" fmla="*/ 561 h 720"/>
                  <a:gd name="T36" fmla="*/ 159 w 728"/>
                  <a:gd name="T37" fmla="*/ 360 h 720"/>
                  <a:gd name="T38" fmla="*/ 359 w 728"/>
                  <a:gd name="T39" fmla="*/ 159 h 720"/>
                  <a:gd name="T40" fmla="*/ 560 w 728"/>
                  <a:gd name="T41" fmla="*/ 360 h 720"/>
                  <a:gd name="T42" fmla="*/ 359 w 728"/>
                  <a:gd name="T43" fmla="*/ 561 h 720"/>
                  <a:gd name="T44" fmla="*/ 359 w 728"/>
                  <a:gd name="T45" fmla="*/ 561 h 720"/>
                  <a:gd name="T46" fmla="*/ 359 w 728"/>
                  <a:gd name="T47" fmla="*/ 56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720">
                    <a:moveTo>
                      <a:pt x="618" y="619"/>
                    </a:moveTo>
                    <a:cubicBezTo>
                      <a:pt x="627" y="469"/>
                      <a:pt x="627" y="469"/>
                      <a:pt x="627" y="469"/>
                    </a:cubicBezTo>
                    <a:cubicBezTo>
                      <a:pt x="727" y="360"/>
                      <a:pt x="727" y="360"/>
                      <a:pt x="727" y="360"/>
                    </a:cubicBezTo>
                    <a:cubicBezTo>
                      <a:pt x="627" y="251"/>
                      <a:pt x="627" y="251"/>
                      <a:pt x="627" y="251"/>
                    </a:cubicBezTo>
                    <a:cubicBezTo>
                      <a:pt x="618" y="101"/>
                      <a:pt x="618" y="101"/>
                      <a:pt x="618" y="101"/>
                    </a:cubicBezTo>
                    <a:cubicBezTo>
                      <a:pt x="468" y="92"/>
                      <a:pt x="468" y="92"/>
                      <a:pt x="468" y="92"/>
                    </a:cubicBezTo>
                    <a:cubicBezTo>
                      <a:pt x="359" y="0"/>
                      <a:pt x="359" y="0"/>
                      <a:pt x="359" y="0"/>
                    </a:cubicBezTo>
                    <a:cubicBezTo>
                      <a:pt x="250" y="92"/>
                      <a:pt x="250" y="92"/>
                      <a:pt x="250" y="92"/>
                    </a:cubicBezTo>
                    <a:cubicBezTo>
                      <a:pt x="100" y="101"/>
                      <a:pt x="100" y="101"/>
                      <a:pt x="100" y="101"/>
                    </a:cubicBezTo>
                    <a:cubicBezTo>
                      <a:pt x="92" y="251"/>
                      <a:pt x="92" y="251"/>
                      <a:pt x="92" y="251"/>
                    </a:cubicBezTo>
                    <a:cubicBezTo>
                      <a:pt x="0" y="360"/>
                      <a:pt x="0" y="360"/>
                      <a:pt x="0" y="360"/>
                    </a:cubicBezTo>
                    <a:cubicBezTo>
                      <a:pt x="92" y="469"/>
                      <a:pt x="92" y="469"/>
                      <a:pt x="92" y="469"/>
                    </a:cubicBezTo>
                    <a:cubicBezTo>
                      <a:pt x="100" y="619"/>
                      <a:pt x="100" y="619"/>
                      <a:pt x="100" y="619"/>
                    </a:cubicBezTo>
                    <a:cubicBezTo>
                      <a:pt x="250" y="628"/>
                      <a:pt x="250" y="628"/>
                      <a:pt x="250" y="628"/>
                    </a:cubicBezTo>
                    <a:cubicBezTo>
                      <a:pt x="359" y="719"/>
                      <a:pt x="359" y="719"/>
                      <a:pt x="359" y="719"/>
                    </a:cubicBezTo>
                    <a:cubicBezTo>
                      <a:pt x="468" y="628"/>
                      <a:pt x="468" y="628"/>
                      <a:pt x="468" y="628"/>
                    </a:cubicBezTo>
                    <a:lnTo>
                      <a:pt x="618" y="619"/>
                    </a:lnTo>
                    <a:close/>
                    <a:moveTo>
                      <a:pt x="359" y="561"/>
                    </a:moveTo>
                    <a:cubicBezTo>
                      <a:pt x="250" y="561"/>
                      <a:pt x="159" y="469"/>
                      <a:pt x="159" y="360"/>
                    </a:cubicBezTo>
                    <a:cubicBezTo>
                      <a:pt x="159" y="243"/>
                      <a:pt x="250" y="159"/>
                      <a:pt x="359" y="159"/>
                    </a:cubicBezTo>
                    <a:cubicBezTo>
                      <a:pt x="468" y="159"/>
                      <a:pt x="560" y="243"/>
                      <a:pt x="560" y="360"/>
                    </a:cubicBezTo>
                    <a:cubicBezTo>
                      <a:pt x="560" y="469"/>
                      <a:pt x="468" y="561"/>
                      <a:pt x="359" y="561"/>
                    </a:cubicBezTo>
                    <a:close/>
                    <a:moveTo>
                      <a:pt x="359" y="561"/>
                    </a:moveTo>
                    <a:lnTo>
                      <a:pt x="359" y="561"/>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4" name="Freeform 257"/>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226 h 227"/>
                  <a:gd name="T8" fmla="*/ 101 w 102"/>
                  <a:gd name="T9" fmla="*/ 226 h 227"/>
                  <a:gd name="T10" fmla="*/ 101 w 102"/>
                  <a:gd name="T11" fmla="*/ 0 h 227"/>
                  <a:gd name="T12" fmla="*/ 59 w 102"/>
                  <a:gd name="T13" fmla="*/ 0 h 227"/>
                  <a:gd name="T14" fmla="*/ 0 w 102"/>
                  <a:gd name="T15" fmla="*/ 33 h 227"/>
                  <a:gd name="T16" fmla="*/ 0 w 102"/>
                  <a:gd name="T17" fmla="*/ 33 h 227"/>
                  <a:gd name="T18" fmla="*/ 0 w 102"/>
                  <a:gd name="T19"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27">
                    <a:moveTo>
                      <a:pt x="0" y="33"/>
                    </a:moveTo>
                    <a:lnTo>
                      <a:pt x="9" y="67"/>
                    </a:lnTo>
                    <a:lnTo>
                      <a:pt x="50" y="50"/>
                    </a:lnTo>
                    <a:lnTo>
                      <a:pt x="50" y="226"/>
                    </a:lnTo>
                    <a:lnTo>
                      <a:pt x="101" y="226"/>
                    </a:lnTo>
                    <a:lnTo>
                      <a:pt x="101" y="0"/>
                    </a:lnTo>
                    <a:lnTo>
                      <a:pt x="59" y="0"/>
                    </a:lnTo>
                    <a:lnTo>
                      <a:pt x="0" y="33"/>
                    </a:lnTo>
                    <a:close/>
                    <a:moveTo>
                      <a:pt x="0" y="33"/>
                    </a:moveTo>
                    <a:lnTo>
                      <a:pt x="0" y="33"/>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5" name="Freeform 258"/>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50 h 227"/>
                  <a:gd name="T8" fmla="*/ 50 w 102"/>
                  <a:gd name="T9" fmla="*/ 226 h 227"/>
                  <a:gd name="T10" fmla="*/ 101 w 102"/>
                  <a:gd name="T11" fmla="*/ 226 h 227"/>
                  <a:gd name="T12" fmla="*/ 101 w 102"/>
                  <a:gd name="T13" fmla="*/ 0 h 227"/>
                  <a:gd name="T14" fmla="*/ 59 w 102"/>
                  <a:gd name="T15" fmla="*/ 0 h 227"/>
                  <a:gd name="T16" fmla="*/ 0 w 102"/>
                  <a:gd name="T17"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27">
                    <a:moveTo>
                      <a:pt x="0" y="33"/>
                    </a:moveTo>
                    <a:lnTo>
                      <a:pt x="9" y="67"/>
                    </a:lnTo>
                    <a:lnTo>
                      <a:pt x="50" y="50"/>
                    </a:lnTo>
                    <a:lnTo>
                      <a:pt x="50" y="50"/>
                    </a:lnTo>
                    <a:lnTo>
                      <a:pt x="50" y="226"/>
                    </a:lnTo>
                    <a:lnTo>
                      <a:pt x="101" y="226"/>
                    </a:lnTo>
                    <a:lnTo>
                      <a:pt x="101" y="0"/>
                    </a:lnTo>
                    <a:lnTo>
                      <a:pt x="59" y="0"/>
                    </a:lnTo>
                    <a:lnTo>
                      <a:pt x="0" y="33"/>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sp>
            <p:nvSpPr>
              <p:cNvPr id="28" name="Freeform 259"/>
              <p:cNvSpPr>
                <a:spLocks noChangeArrowheads="1"/>
              </p:cNvSpPr>
              <p:nvPr/>
            </p:nvSpPr>
            <p:spPr bwMode="auto">
              <a:xfrm>
                <a:off x="4691063" y="2400299"/>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dirty="0"/>
              </a:p>
            </p:txBody>
          </p:sp>
        </p:grpSp>
      </p:grpSp>
      <p:grpSp>
        <p:nvGrpSpPr>
          <p:cNvPr id="29" name="Group 28"/>
          <p:cNvGrpSpPr/>
          <p:nvPr/>
        </p:nvGrpSpPr>
        <p:grpSpPr>
          <a:xfrm>
            <a:off x="8349252" y="4077154"/>
            <a:ext cx="942666" cy="942666"/>
            <a:chOff x="8349252" y="4241175"/>
            <a:chExt cx="942666" cy="942666"/>
          </a:xfrm>
        </p:grpSpPr>
        <p:sp>
          <p:nvSpPr>
            <p:cNvPr id="30" name="Round Diagonal Corner Rectangle 29"/>
            <p:cNvSpPr/>
            <p:nvPr/>
          </p:nvSpPr>
          <p:spPr>
            <a:xfrm>
              <a:off x="8349252" y="4241175"/>
              <a:ext cx="942666" cy="942666"/>
            </a:xfrm>
            <a:prstGeom prst="round2Diag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a:spLocks noChangeAspect="1" noChangeArrowheads="1"/>
            </p:cNvSpPr>
            <p:nvPr/>
          </p:nvSpPr>
          <p:spPr bwMode="auto">
            <a:xfrm>
              <a:off x="8613574" y="4464747"/>
              <a:ext cx="414022" cy="495522"/>
            </a:xfrm>
            <a:custGeom>
              <a:avLst/>
              <a:gdLst>
                <a:gd name="connsiteX0" fmla="*/ 206367 w 449768"/>
                <a:gd name="connsiteY0" fmla="*/ 423375 h 538305"/>
                <a:gd name="connsiteX1" fmla="*/ 208536 w 449768"/>
                <a:gd name="connsiteY1" fmla="*/ 434347 h 538305"/>
                <a:gd name="connsiteX2" fmla="*/ 136133 w 449768"/>
                <a:gd name="connsiteY2" fmla="*/ 527584 h 538305"/>
                <a:gd name="connsiteX3" fmla="*/ 120760 w 449768"/>
                <a:gd name="connsiteY3" fmla="*/ 517169 h 538305"/>
                <a:gd name="connsiteX4" fmla="*/ 192667 w 449768"/>
                <a:gd name="connsiteY4" fmla="*/ 423933 h 538305"/>
                <a:gd name="connsiteX5" fmla="*/ 206367 w 449768"/>
                <a:gd name="connsiteY5" fmla="*/ 423375 h 538305"/>
                <a:gd name="connsiteX6" fmla="*/ 158371 w 449768"/>
                <a:gd name="connsiteY6" fmla="*/ 386315 h 538305"/>
                <a:gd name="connsiteX7" fmla="*/ 160292 w 449768"/>
                <a:gd name="connsiteY7" fmla="*/ 397002 h 538305"/>
                <a:gd name="connsiteX8" fmla="*/ 51725 w 449768"/>
                <a:gd name="connsiteY8" fmla="*/ 536376 h 538305"/>
                <a:gd name="connsiteX9" fmla="*/ 41315 w 449768"/>
                <a:gd name="connsiteY9" fmla="*/ 525997 h 538305"/>
                <a:gd name="connsiteX10" fmla="*/ 144924 w 449768"/>
                <a:gd name="connsiteY10" fmla="*/ 387118 h 538305"/>
                <a:gd name="connsiteX11" fmla="*/ 158371 w 449768"/>
                <a:gd name="connsiteY11" fmla="*/ 386315 h 538305"/>
                <a:gd name="connsiteX12" fmla="*/ 112005 w 449768"/>
                <a:gd name="connsiteY12" fmla="*/ 349971 h 538305"/>
                <a:gd name="connsiteX13" fmla="*/ 113740 w 449768"/>
                <a:gd name="connsiteY13" fmla="*/ 362927 h 538305"/>
                <a:gd name="connsiteX14" fmla="*/ 41338 w 449768"/>
                <a:gd name="connsiteY14" fmla="*/ 455221 h 538305"/>
                <a:gd name="connsiteX15" fmla="*/ 25965 w 449768"/>
                <a:gd name="connsiteY15" fmla="*/ 444857 h 538305"/>
                <a:gd name="connsiteX16" fmla="*/ 98367 w 449768"/>
                <a:gd name="connsiteY16" fmla="*/ 352562 h 538305"/>
                <a:gd name="connsiteX17" fmla="*/ 112005 w 449768"/>
                <a:gd name="connsiteY17" fmla="*/ 349971 h 538305"/>
                <a:gd name="connsiteX18" fmla="*/ 287508 w 449768"/>
                <a:gd name="connsiteY18" fmla="*/ 153269 h 538305"/>
                <a:gd name="connsiteX19" fmla="*/ 261020 w 449768"/>
                <a:gd name="connsiteY19" fmla="*/ 165441 h 538305"/>
                <a:gd name="connsiteX20" fmla="*/ 255548 w 449768"/>
                <a:gd name="connsiteY20" fmla="*/ 175874 h 538305"/>
                <a:gd name="connsiteX21" fmla="*/ 276441 w 449768"/>
                <a:gd name="connsiteY21" fmla="*/ 232511 h 538305"/>
                <a:gd name="connsiteX22" fmla="*/ 328174 w 449768"/>
                <a:gd name="connsiteY22" fmla="*/ 227543 h 538305"/>
                <a:gd name="connsiteX23" fmla="*/ 333645 w 449768"/>
                <a:gd name="connsiteY23" fmla="*/ 217110 h 538305"/>
                <a:gd name="connsiteX24" fmla="*/ 317727 w 449768"/>
                <a:gd name="connsiteY24" fmla="*/ 160472 h 538305"/>
                <a:gd name="connsiteX25" fmla="*/ 287508 w 449768"/>
                <a:gd name="connsiteY25" fmla="*/ 153269 h 538305"/>
                <a:gd name="connsiteX26" fmla="*/ 437111 w 449768"/>
                <a:gd name="connsiteY26" fmla="*/ 0 h 538305"/>
                <a:gd name="connsiteX27" fmla="*/ 442086 w 449768"/>
                <a:gd name="connsiteY27" fmla="*/ 0 h 538305"/>
                <a:gd name="connsiteX28" fmla="*/ 447557 w 449768"/>
                <a:gd name="connsiteY28" fmla="*/ 4968 h 538305"/>
                <a:gd name="connsiteX29" fmla="*/ 447557 w 449768"/>
                <a:gd name="connsiteY29" fmla="*/ 9937 h 538305"/>
                <a:gd name="connsiteX30" fmla="*/ 447557 w 449768"/>
                <a:gd name="connsiteY30" fmla="*/ 20370 h 538305"/>
                <a:gd name="connsiteX31" fmla="*/ 447557 w 449768"/>
                <a:gd name="connsiteY31" fmla="*/ 46204 h 538305"/>
                <a:gd name="connsiteX32" fmla="*/ 442086 w 449768"/>
                <a:gd name="connsiteY32" fmla="*/ 103338 h 538305"/>
                <a:gd name="connsiteX33" fmla="*/ 442086 w 449768"/>
                <a:gd name="connsiteY33" fmla="*/ 113771 h 538305"/>
                <a:gd name="connsiteX34" fmla="*/ 437111 w 449768"/>
                <a:gd name="connsiteY34" fmla="*/ 134141 h 538305"/>
                <a:gd name="connsiteX35" fmla="*/ 421194 w 449768"/>
                <a:gd name="connsiteY35" fmla="*/ 175874 h 538305"/>
                <a:gd name="connsiteX36" fmla="*/ 354040 w 449768"/>
                <a:gd name="connsiteY36" fmla="*/ 289645 h 538305"/>
                <a:gd name="connsiteX37" fmla="*/ 344091 w 449768"/>
                <a:gd name="connsiteY37" fmla="*/ 325913 h 538305"/>
                <a:gd name="connsiteX38" fmla="*/ 276441 w 449768"/>
                <a:gd name="connsiteY38" fmla="*/ 506754 h 538305"/>
                <a:gd name="connsiteX39" fmla="*/ 261020 w 449768"/>
                <a:gd name="connsiteY39" fmla="*/ 496321 h 538305"/>
                <a:gd name="connsiteX40" fmla="*/ 17278 w 449768"/>
                <a:gd name="connsiteY40" fmla="*/ 310511 h 538305"/>
                <a:gd name="connsiteX41" fmla="*/ 1858 w 449768"/>
                <a:gd name="connsiteY41" fmla="*/ 289645 h 538305"/>
                <a:gd name="connsiteX42" fmla="*/ 162528 w 449768"/>
                <a:gd name="connsiteY42" fmla="*/ 186307 h 538305"/>
                <a:gd name="connsiteX43" fmla="*/ 193369 w 449768"/>
                <a:gd name="connsiteY43" fmla="*/ 165441 h 538305"/>
                <a:gd name="connsiteX44" fmla="*/ 312753 w 449768"/>
                <a:gd name="connsiteY44" fmla="*/ 51669 h 538305"/>
                <a:gd name="connsiteX45" fmla="*/ 400799 w 449768"/>
                <a:gd name="connsiteY45" fmla="*/ 9937 h 538305"/>
                <a:gd name="connsiteX46" fmla="*/ 426665 w 449768"/>
                <a:gd name="connsiteY46" fmla="*/ 4968 h 538305"/>
                <a:gd name="connsiteX47" fmla="*/ 437111 w 449768"/>
                <a:gd name="connsiteY47" fmla="*/ 0 h 53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49768" h="538305">
                  <a:moveTo>
                    <a:pt x="206367" y="423375"/>
                  </a:moveTo>
                  <a:cubicBezTo>
                    <a:pt x="209652" y="425297"/>
                    <a:pt x="211016" y="429140"/>
                    <a:pt x="208536" y="434347"/>
                  </a:cubicBezTo>
                  <a:cubicBezTo>
                    <a:pt x="198122" y="460136"/>
                    <a:pt x="172335" y="506754"/>
                    <a:pt x="136133" y="527584"/>
                  </a:cubicBezTo>
                  <a:cubicBezTo>
                    <a:pt x="125719" y="532543"/>
                    <a:pt x="115305" y="527584"/>
                    <a:pt x="120760" y="517169"/>
                  </a:cubicBezTo>
                  <a:cubicBezTo>
                    <a:pt x="130678" y="491380"/>
                    <a:pt x="151507" y="450217"/>
                    <a:pt x="192667" y="423933"/>
                  </a:cubicBezTo>
                  <a:cubicBezTo>
                    <a:pt x="197874" y="421453"/>
                    <a:pt x="203081" y="421453"/>
                    <a:pt x="206367" y="423375"/>
                  </a:cubicBezTo>
                  <a:close/>
                  <a:moveTo>
                    <a:pt x="158371" y="386315"/>
                  </a:moveTo>
                  <a:cubicBezTo>
                    <a:pt x="161532" y="388230"/>
                    <a:pt x="162771" y="392060"/>
                    <a:pt x="160292" y="397002"/>
                  </a:cubicBezTo>
                  <a:cubicBezTo>
                    <a:pt x="144924" y="433081"/>
                    <a:pt x="113693" y="500297"/>
                    <a:pt x="51725" y="536376"/>
                  </a:cubicBezTo>
                  <a:cubicBezTo>
                    <a:pt x="41315" y="541318"/>
                    <a:pt x="36357" y="536376"/>
                    <a:pt x="41315" y="525997"/>
                  </a:cubicBezTo>
                  <a:cubicBezTo>
                    <a:pt x="51725" y="489918"/>
                    <a:pt x="82957" y="422702"/>
                    <a:pt x="144924" y="387118"/>
                  </a:cubicBezTo>
                  <a:cubicBezTo>
                    <a:pt x="150130" y="384399"/>
                    <a:pt x="155211" y="384399"/>
                    <a:pt x="158371" y="386315"/>
                  </a:cubicBezTo>
                  <a:close/>
                  <a:moveTo>
                    <a:pt x="112005" y="349971"/>
                  </a:moveTo>
                  <a:cubicBezTo>
                    <a:pt x="115228" y="352562"/>
                    <a:pt x="116468" y="357744"/>
                    <a:pt x="113740" y="362927"/>
                  </a:cubicBezTo>
                  <a:cubicBezTo>
                    <a:pt x="103326" y="388591"/>
                    <a:pt x="77539" y="429556"/>
                    <a:pt x="41338" y="455221"/>
                  </a:cubicBezTo>
                  <a:cubicBezTo>
                    <a:pt x="25965" y="460157"/>
                    <a:pt x="21006" y="455221"/>
                    <a:pt x="25965" y="444857"/>
                  </a:cubicBezTo>
                  <a:cubicBezTo>
                    <a:pt x="36379" y="419192"/>
                    <a:pt x="57207" y="378227"/>
                    <a:pt x="98367" y="352562"/>
                  </a:cubicBezTo>
                  <a:cubicBezTo>
                    <a:pt x="103574" y="347380"/>
                    <a:pt x="108781" y="347380"/>
                    <a:pt x="112005" y="349971"/>
                  </a:cubicBezTo>
                  <a:close/>
                  <a:moveTo>
                    <a:pt x="287508" y="153269"/>
                  </a:moveTo>
                  <a:cubicBezTo>
                    <a:pt x="277809" y="153890"/>
                    <a:pt x="268730" y="157740"/>
                    <a:pt x="261020" y="165441"/>
                  </a:cubicBezTo>
                  <a:cubicBezTo>
                    <a:pt x="261020" y="170409"/>
                    <a:pt x="261020" y="170409"/>
                    <a:pt x="255548" y="175874"/>
                  </a:cubicBezTo>
                  <a:cubicBezTo>
                    <a:pt x="245600" y="196243"/>
                    <a:pt x="250574" y="222575"/>
                    <a:pt x="276441" y="232511"/>
                  </a:cubicBezTo>
                  <a:cubicBezTo>
                    <a:pt x="291861" y="242944"/>
                    <a:pt x="317727" y="242944"/>
                    <a:pt x="328174" y="227543"/>
                  </a:cubicBezTo>
                  <a:cubicBezTo>
                    <a:pt x="333645" y="222575"/>
                    <a:pt x="333645" y="222575"/>
                    <a:pt x="333645" y="217110"/>
                  </a:cubicBezTo>
                  <a:cubicBezTo>
                    <a:pt x="349066" y="196243"/>
                    <a:pt x="338620" y="170409"/>
                    <a:pt x="317727" y="160472"/>
                  </a:cubicBezTo>
                  <a:cubicBezTo>
                    <a:pt x="307530" y="155256"/>
                    <a:pt x="297208" y="152648"/>
                    <a:pt x="287508" y="153269"/>
                  </a:cubicBezTo>
                  <a:close/>
                  <a:moveTo>
                    <a:pt x="437111" y="0"/>
                  </a:moveTo>
                  <a:lnTo>
                    <a:pt x="442086" y="0"/>
                  </a:lnTo>
                  <a:cubicBezTo>
                    <a:pt x="447557" y="0"/>
                    <a:pt x="452532" y="0"/>
                    <a:pt x="447557" y="4968"/>
                  </a:cubicBezTo>
                  <a:lnTo>
                    <a:pt x="447557" y="9937"/>
                  </a:lnTo>
                  <a:cubicBezTo>
                    <a:pt x="452532" y="15402"/>
                    <a:pt x="447557" y="15402"/>
                    <a:pt x="447557" y="20370"/>
                  </a:cubicBezTo>
                  <a:cubicBezTo>
                    <a:pt x="447557" y="25835"/>
                    <a:pt x="447557" y="36268"/>
                    <a:pt x="447557" y="46204"/>
                  </a:cubicBezTo>
                  <a:cubicBezTo>
                    <a:pt x="447557" y="62102"/>
                    <a:pt x="447557" y="82472"/>
                    <a:pt x="442086" y="103338"/>
                  </a:cubicBezTo>
                  <a:cubicBezTo>
                    <a:pt x="442086" y="108306"/>
                    <a:pt x="442086" y="108306"/>
                    <a:pt x="442086" y="113771"/>
                  </a:cubicBezTo>
                  <a:cubicBezTo>
                    <a:pt x="437111" y="124205"/>
                    <a:pt x="437111" y="129173"/>
                    <a:pt x="437111" y="134141"/>
                  </a:cubicBezTo>
                  <a:cubicBezTo>
                    <a:pt x="431640" y="150039"/>
                    <a:pt x="426665" y="165441"/>
                    <a:pt x="421194" y="175874"/>
                  </a:cubicBezTo>
                  <a:cubicBezTo>
                    <a:pt x="406271" y="212141"/>
                    <a:pt x="385378" y="248409"/>
                    <a:pt x="354040" y="289645"/>
                  </a:cubicBezTo>
                  <a:cubicBezTo>
                    <a:pt x="349066" y="294613"/>
                    <a:pt x="344091" y="315479"/>
                    <a:pt x="344091" y="325913"/>
                  </a:cubicBezTo>
                  <a:cubicBezTo>
                    <a:pt x="354040" y="367148"/>
                    <a:pt x="359512" y="460053"/>
                    <a:pt x="276441" y="506754"/>
                  </a:cubicBezTo>
                  <a:cubicBezTo>
                    <a:pt x="265994" y="517187"/>
                    <a:pt x="255548" y="512219"/>
                    <a:pt x="261020" y="496321"/>
                  </a:cubicBezTo>
                  <a:cubicBezTo>
                    <a:pt x="261020" y="439684"/>
                    <a:pt x="240128" y="305046"/>
                    <a:pt x="17278" y="310511"/>
                  </a:cubicBezTo>
                  <a:cubicBezTo>
                    <a:pt x="1858" y="310511"/>
                    <a:pt x="-3117" y="300078"/>
                    <a:pt x="1858" y="289645"/>
                  </a:cubicBezTo>
                  <a:cubicBezTo>
                    <a:pt x="17278" y="253377"/>
                    <a:pt x="59062" y="180842"/>
                    <a:pt x="162528" y="186307"/>
                  </a:cubicBezTo>
                  <a:cubicBezTo>
                    <a:pt x="172975" y="186307"/>
                    <a:pt x="188395" y="175874"/>
                    <a:pt x="193369" y="165441"/>
                  </a:cubicBezTo>
                  <a:cubicBezTo>
                    <a:pt x="214261" y="139606"/>
                    <a:pt x="250574" y="87937"/>
                    <a:pt x="312753" y="51669"/>
                  </a:cubicBezTo>
                  <a:cubicBezTo>
                    <a:pt x="349066" y="25835"/>
                    <a:pt x="379907" y="15402"/>
                    <a:pt x="400799" y="9937"/>
                  </a:cubicBezTo>
                  <a:cubicBezTo>
                    <a:pt x="416219" y="9937"/>
                    <a:pt x="426665" y="9937"/>
                    <a:pt x="426665" y="4968"/>
                  </a:cubicBezTo>
                  <a:cubicBezTo>
                    <a:pt x="431640" y="4968"/>
                    <a:pt x="431640" y="0"/>
                    <a:pt x="437111" y="0"/>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pPr>
                <a:defRPr/>
              </a:pPr>
              <a:endParaRPr lang="en-US" sz="2400" dirty="0">
                <a:ea typeface="SimSun" charset="0"/>
              </a:endParaRPr>
            </a:p>
          </p:txBody>
        </p:sp>
      </p:grpSp>
      <p:grpSp>
        <p:nvGrpSpPr>
          <p:cNvPr id="32" name="Group 31"/>
          <p:cNvGrpSpPr/>
          <p:nvPr/>
        </p:nvGrpSpPr>
        <p:grpSpPr>
          <a:xfrm>
            <a:off x="6554746" y="4077154"/>
            <a:ext cx="942666" cy="942666"/>
            <a:chOff x="6554746" y="4241175"/>
            <a:chExt cx="942666" cy="942666"/>
          </a:xfrm>
        </p:grpSpPr>
        <p:sp>
          <p:nvSpPr>
            <p:cNvPr id="33" name="Round Diagonal Corner Rectangle 32"/>
            <p:cNvSpPr/>
            <p:nvPr/>
          </p:nvSpPr>
          <p:spPr>
            <a:xfrm>
              <a:off x="6554746" y="4241175"/>
              <a:ext cx="942666" cy="942666"/>
            </a:xfrm>
            <a:prstGeom prst="round2Diag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16"/>
            <p:cNvSpPr>
              <a:spLocks noChangeAspect="1" noChangeArrowheads="1"/>
            </p:cNvSpPr>
            <p:nvPr/>
          </p:nvSpPr>
          <p:spPr bwMode="auto">
            <a:xfrm>
              <a:off x="6858392" y="4449091"/>
              <a:ext cx="335375" cy="526835"/>
            </a:xfrm>
            <a:custGeom>
              <a:avLst/>
              <a:gdLst>
                <a:gd name="T0" fmla="*/ 406 w 657"/>
                <a:gd name="T1" fmla="*/ 947 h 1032"/>
                <a:gd name="T2" fmla="*/ 333 w 657"/>
                <a:gd name="T3" fmla="*/ 1031 h 1032"/>
                <a:gd name="T4" fmla="*/ 250 w 657"/>
                <a:gd name="T5" fmla="*/ 947 h 1032"/>
                <a:gd name="T6" fmla="*/ 448 w 657"/>
                <a:gd name="T7" fmla="*/ 916 h 1032"/>
                <a:gd name="T8" fmla="*/ 198 w 657"/>
                <a:gd name="T9" fmla="*/ 833 h 1032"/>
                <a:gd name="T10" fmla="*/ 656 w 657"/>
                <a:gd name="T11" fmla="*/ 333 h 1032"/>
                <a:gd name="T12" fmla="*/ 562 w 657"/>
                <a:gd name="T13" fmla="*/ 562 h 1032"/>
                <a:gd name="T14" fmla="*/ 531 w 657"/>
                <a:gd name="T15" fmla="*/ 635 h 1032"/>
                <a:gd name="T16" fmla="*/ 500 w 657"/>
                <a:gd name="T17" fmla="*/ 708 h 1032"/>
                <a:gd name="T18" fmla="*/ 500 w 657"/>
                <a:gd name="T19" fmla="*/ 729 h 1032"/>
                <a:gd name="T20" fmla="*/ 166 w 657"/>
                <a:gd name="T21" fmla="*/ 791 h 1032"/>
                <a:gd name="T22" fmla="*/ 156 w 657"/>
                <a:gd name="T23" fmla="*/ 708 h 1032"/>
                <a:gd name="T24" fmla="*/ 135 w 657"/>
                <a:gd name="T25" fmla="*/ 635 h 1032"/>
                <a:gd name="T26" fmla="*/ 93 w 657"/>
                <a:gd name="T27" fmla="*/ 552 h 1032"/>
                <a:gd name="T28" fmla="*/ 0 w 657"/>
                <a:gd name="T29" fmla="*/ 333 h 1032"/>
                <a:gd name="T30" fmla="*/ 333 w 657"/>
                <a:gd name="T31" fmla="*/ 0 h 1032"/>
                <a:gd name="T32" fmla="*/ 656 w 657"/>
                <a:gd name="T33" fmla="*/ 333 h 1032"/>
                <a:gd name="T34" fmla="*/ 510 w 657"/>
                <a:gd name="T35" fmla="*/ 156 h 1032"/>
                <a:gd name="T36" fmla="*/ 156 w 657"/>
                <a:gd name="T37" fmla="*/ 156 h 1032"/>
                <a:gd name="T38" fmla="*/ 146 w 657"/>
                <a:gd name="T39" fmla="*/ 499 h 1032"/>
                <a:gd name="T40" fmla="*/ 166 w 657"/>
                <a:gd name="T41" fmla="*/ 541 h 1032"/>
                <a:gd name="T42" fmla="*/ 229 w 657"/>
                <a:gd name="T43" fmla="*/ 666 h 1032"/>
                <a:gd name="T44" fmla="*/ 427 w 657"/>
                <a:gd name="T45" fmla="*/ 718 h 1032"/>
                <a:gd name="T46" fmla="*/ 458 w 657"/>
                <a:gd name="T47" fmla="*/ 604 h 1032"/>
                <a:gd name="T48" fmla="*/ 510 w 657"/>
                <a:gd name="T49" fmla="*/ 520 h 1032"/>
                <a:gd name="T50" fmla="*/ 583 w 657"/>
                <a:gd name="T51" fmla="*/ 333 h 1032"/>
                <a:gd name="T52" fmla="*/ 354 w 657"/>
                <a:gd name="T53" fmla="*/ 354 h 1032"/>
                <a:gd name="T54" fmla="*/ 302 w 657"/>
                <a:gd name="T55" fmla="*/ 354 h 1032"/>
                <a:gd name="T56" fmla="*/ 239 w 657"/>
                <a:gd name="T57" fmla="*/ 354 h 1032"/>
                <a:gd name="T58" fmla="*/ 250 w 657"/>
                <a:gd name="T59" fmla="*/ 499 h 1032"/>
                <a:gd name="T60" fmla="*/ 302 w 657"/>
                <a:gd name="T61" fmla="*/ 499 h 1032"/>
                <a:gd name="T62" fmla="*/ 364 w 657"/>
                <a:gd name="T63" fmla="*/ 499 h 1032"/>
                <a:gd name="T64" fmla="*/ 416 w 657"/>
                <a:gd name="T65" fmla="*/ 499 h 1032"/>
                <a:gd name="T66" fmla="*/ 427 w 657"/>
                <a:gd name="T67" fmla="*/ 354 h 1032"/>
                <a:gd name="T68" fmla="*/ 385 w 657"/>
                <a:gd name="T69" fmla="*/ 416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032">
                  <a:moveTo>
                    <a:pt x="250" y="947"/>
                  </a:moveTo>
                  <a:cubicBezTo>
                    <a:pt x="406" y="947"/>
                    <a:pt x="406" y="947"/>
                    <a:pt x="406" y="947"/>
                  </a:cubicBezTo>
                  <a:cubicBezTo>
                    <a:pt x="406" y="968"/>
                    <a:pt x="396" y="989"/>
                    <a:pt x="385" y="1010"/>
                  </a:cubicBezTo>
                  <a:cubicBezTo>
                    <a:pt x="364" y="1020"/>
                    <a:pt x="354" y="1031"/>
                    <a:pt x="333" y="1031"/>
                  </a:cubicBezTo>
                  <a:cubicBezTo>
                    <a:pt x="312" y="1031"/>
                    <a:pt x="291" y="1020"/>
                    <a:pt x="281" y="1010"/>
                  </a:cubicBezTo>
                  <a:cubicBezTo>
                    <a:pt x="260" y="989"/>
                    <a:pt x="250" y="968"/>
                    <a:pt x="250" y="947"/>
                  </a:cubicBezTo>
                  <a:close/>
                  <a:moveTo>
                    <a:pt x="208" y="916"/>
                  </a:moveTo>
                  <a:cubicBezTo>
                    <a:pt x="448" y="916"/>
                    <a:pt x="448" y="916"/>
                    <a:pt x="448" y="916"/>
                  </a:cubicBezTo>
                  <a:cubicBezTo>
                    <a:pt x="458" y="833"/>
                    <a:pt x="458" y="833"/>
                    <a:pt x="458" y="833"/>
                  </a:cubicBezTo>
                  <a:cubicBezTo>
                    <a:pt x="198" y="833"/>
                    <a:pt x="198" y="833"/>
                    <a:pt x="198" y="833"/>
                  </a:cubicBezTo>
                  <a:lnTo>
                    <a:pt x="208" y="916"/>
                  </a:lnTo>
                  <a:close/>
                  <a:moveTo>
                    <a:pt x="656" y="333"/>
                  </a:moveTo>
                  <a:cubicBezTo>
                    <a:pt x="656" y="416"/>
                    <a:pt x="625" y="489"/>
                    <a:pt x="573" y="552"/>
                  </a:cubicBezTo>
                  <a:lnTo>
                    <a:pt x="562" y="562"/>
                  </a:lnTo>
                  <a:cubicBezTo>
                    <a:pt x="562" y="562"/>
                    <a:pt x="562" y="572"/>
                    <a:pt x="552" y="572"/>
                  </a:cubicBezTo>
                  <a:cubicBezTo>
                    <a:pt x="541" y="593"/>
                    <a:pt x="541" y="614"/>
                    <a:pt x="531" y="635"/>
                  </a:cubicBezTo>
                  <a:cubicBezTo>
                    <a:pt x="521" y="656"/>
                    <a:pt x="510" y="677"/>
                    <a:pt x="510" y="697"/>
                  </a:cubicBezTo>
                  <a:cubicBezTo>
                    <a:pt x="500" y="697"/>
                    <a:pt x="500" y="697"/>
                    <a:pt x="500" y="708"/>
                  </a:cubicBezTo>
                  <a:lnTo>
                    <a:pt x="500" y="718"/>
                  </a:lnTo>
                  <a:cubicBezTo>
                    <a:pt x="500" y="729"/>
                    <a:pt x="500" y="729"/>
                    <a:pt x="500" y="729"/>
                  </a:cubicBezTo>
                  <a:cubicBezTo>
                    <a:pt x="500" y="791"/>
                    <a:pt x="500" y="791"/>
                    <a:pt x="500" y="791"/>
                  </a:cubicBezTo>
                  <a:cubicBezTo>
                    <a:pt x="166" y="791"/>
                    <a:pt x="166" y="791"/>
                    <a:pt x="166" y="791"/>
                  </a:cubicBezTo>
                  <a:cubicBezTo>
                    <a:pt x="166" y="729"/>
                    <a:pt x="166" y="729"/>
                    <a:pt x="166" y="729"/>
                  </a:cubicBezTo>
                  <a:cubicBezTo>
                    <a:pt x="166" y="718"/>
                    <a:pt x="156" y="718"/>
                    <a:pt x="156" y="708"/>
                  </a:cubicBezTo>
                  <a:lnTo>
                    <a:pt x="156" y="697"/>
                  </a:lnTo>
                  <a:cubicBezTo>
                    <a:pt x="146" y="677"/>
                    <a:pt x="146" y="656"/>
                    <a:pt x="135" y="635"/>
                  </a:cubicBezTo>
                  <a:cubicBezTo>
                    <a:pt x="125" y="614"/>
                    <a:pt x="114" y="593"/>
                    <a:pt x="104" y="572"/>
                  </a:cubicBezTo>
                  <a:cubicBezTo>
                    <a:pt x="93" y="562"/>
                    <a:pt x="93" y="562"/>
                    <a:pt x="93" y="552"/>
                  </a:cubicBezTo>
                  <a:lnTo>
                    <a:pt x="83" y="552"/>
                  </a:lnTo>
                  <a:cubicBezTo>
                    <a:pt x="31" y="489"/>
                    <a:pt x="0" y="416"/>
                    <a:pt x="0" y="333"/>
                  </a:cubicBezTo>
                  <a:cubicBezTo>
                    <a:pt x="0" y="239"/>
                    <a:pt x="31" y="166"/>
                    <a:pt x="104" y="104"/>
                  </a:cubicBezTo>
                  <a:cubicBezTo>
                    <a:pt x="166" y="31"/>
                    <a:pt x="239" y="0"/>
                    <a:pt x="333" y="0"/>
                  </a:cubicBezTo>
                  <a:cubicBezTo>
                    <a:pt x="416" y="0"/>
                    <a:pt x="500" y="31"/>
                    <a:pt x="562" y="104"/>
                  </a:cubicBezTo>
                  <a:cubicBezTo>
                    <a:pt x="625" y="166"/>
                    <a:pt x="656" y="239"/>
                    <a:pt x="656" y="333"/>
                  </a:cubicBezTo>
                  <a:close/>
                  <a:moveTo>
                    <a:pt x="583" y="333"/>
                  </a:moveTo>
                  <a:cubicBezTo>
                    <a:pt x="583" y="260"/>
                    <a:pt x="562" y="198"/>
                    <a:pt x="510" y="156"/>
                  </a:cubicBezTo>
                  <a:cubicBezTo>
                    <a:pt x="458" y="104"/>
                    <a:pt x="396" y="83"/>
                    <a:pt x="333" y="83"/>
                  </a:cubicBezTo>
                  <a:cubicBezTo>
                    <a:pt x="260" y="83"/>
                    <a:pt x="198" y="104"/>
                    <a:pt x="156" y="156"/>
                  </a:cubicBezTo>
                  <a:cubicBezTo>
                    <a:pt x="104" y="198"/>
                    <a:pt x="73" y="260"/>
                    <a:pt x="73" y="333"/>
                  </a:cubicBezTo>
                  <a:cubicBezTo>
                    <a:pt x="73" y="396"/>
                    <a:pt x="93" y="448"/>
                    <a:pt x="146" y="499"/>
                  </a:cubicBezTo>
                  <a:cubicBezTo>
                    <a:pt x="146" y="499"/>
                    <a:pt x="146" y="510"/>
                    <a:pt x="156" y="510"/>
                  </a:cubicBezTo>
                  <a:cubicBezTo>
                    <a:pt x="156" y="520"/>
                    <a:pt x="166" y="531"/>
                    <a:pt x="166" y="541"/>
                  </a:cubicBezTo>
                  <a:cubicBezTo>
                    <a:pt x="177" y="562"/>
                    <a:pt x="187" y="583"/>
                    <a:pt x="198" y="604"/>
                  </a:cubicBezTo>
                  <a:cubicBezTo>
                    <a:pt x="208" y="624"/>
                    <a:pt x="218" y="645"/>
                    <a:pt x="229" y="666"/>
                  </a:cubicBezTo>
                  <a:cubicBezTo>
                    <a:pt x="229" y="697"/>
                    <a:pt x="239" y="708"/>
                    <a:pt x="239" y="718"/>
                  </a:cubicBezTo>
                  <a:cubicBezTo>
                    <a:pt x="427" y="718"/>
                    <a:pt x="427" y="718"/>
                    <a:pt x="427" y="718"/>
                  </a:cubicBezTo>
                  <a:cubicBezTo>
                    <a:pt x="427" y="708"/>
                    <a:pt x="427" y="697"/>
                    <a:pt x="437" y="666"/>
                  </a:cubicBezTo>
                  <a:cubicBezTo>
                    <a:pt x="437" y="645"/>
                    <a:pt x="448" y="624"/>
                    <a:pt x="458" y="604"/>
                  </a:cubicBezTo>
                  <a:cubicBezTo>
                    <a:pt x="468" y="583"/>
                    <a:pt x="479" y="562"/>
                    <a:pt x="489" y="541"/>
                  </a:cubicBezTo>
                  <a:cubicBezTo>
                    <a:pt x="489" y="531"/>
                    <a:pt x="500" y="520"/>
                    <a:pt x="510" y="520"/>
                  </a:cubicBezTo>
                  <a:cubicBezTo>
                    <a:pt x="510" y="510"/>
                    <a:pt x="510" y="499"/>
                    <a:pt x="521" y="499"/>
                  </a:cubicBezTo>
                  <a:cubicBezTo>
                    <a:pt x="562" y="448"/>
                    <a:pt x="583" y="396"/>
                    <a:pt x="583" y="333"/>
                  </a:cubicBezTo>
                  <a:close/>
                  <a:moveTo>
                    <a:pt x="385" y="416"/>
                  </a:moveTo>
                  <a:cubicBezTo>
                    <a:pt x="354" y="354"/>
                    <a:pt x="354" y="354"/>
                    <a:pt x="354" y="354"/>
                  </a:cubicBezTo>
                  <a:cubicBezTo>
                    <a:pt x="333" y="302"/>
                    <a:pt x="333" y="302"/>
                    <a:pt x="333" y="302"/>
                  </a:cubicBezTo>
                  <a:cubicBezTo>
                    <a:pt x="302" y="354"/>
                    <a:pt x="302" y="354"/>
                    <a:pt x="302" y="354"/>
                  </a:cubicBezTo>
                  <a:cubicBezTo>
                    <a:pt x="271" y="416"/>
                    <a:pt x="271" y="416"/>
                    <a:pt x="271" y="416"/>
                  </a:cubicBezTo>
                  <a:cubicBezTo>
                    <a:pt x="239" y="354"/>
                    <a:pt x="239" y="354"/>
                    <a:pt x="239" y="354"/>
                  </a:cubicBezTo>
                  <a:cubicBezTo>
                    <a:pt x="187" y="385"/>
                    <a:pt x="187" y="385"/>
                    <a:pt x="187" y="385"/>
                  </a:cubicBezTo>
                  <a:cubicBezTo>
                    <a:pt x="250" y="499"/>
                    <a:pt x="250" y="499"/>
                    <a:pt x="250" y="499"/>
                  </a:cubicBezTo>
                  <a:cubicBezTo>
                    <a:pt x="271" y="552"/>
                    <a:pt x="271" y="552"/>
                    <a:pt x="271" y="552"/>
                  </a:cubicBezTo>
                  <a:cubicBezTo>
                    <a:pt x="302" y="499"/>
                    <a:pt x="302" y="499"/>
                    <a:pt x="302" y="499"/>
                  </a:cubicBezTo>
                  <a:cubicBezTo>
                    <a:pt x="333" y="437"/>
                    <a:pt x="333" y="437"/>
                    <a:pt x="333" y="437"/>
                  </a:cubicBezTo>
                  <a:cubicBezTo>
                    <a:pt x="364" y="499"/>
                    <a:pt x="364" y="499"/>
                    <a:pt x="364" y="499"/>
                  </a:cubicBezTo>
                  <a:cubicBezTo>
                    <a:pt x="385" y="552"/>
                    <a:pt x="385" y="552"/>
                    <a:pt x="385" y="552"/>
                  </a:cubicBezTo>
                  <a:cubicBezTo>
                    <a:pt x="416" y="499"/>
                    <a:pt x="416" y="499"/>
                    <a:pt x="416" y="499"/>
                  </a:cubicBezTo>
                  <a:cubicBezTo>
                    <a:pt x="479" y="385"/>
                    <a:pt x="479" y="385"/>
                    <a:pt x="479" y="385"/>
                  </a:cubicBezTo>
                  <a:cubicBezTo>
                    <a:pt x="427" y="354"/>
                    <a:pt x="427" y="354"/>
                    <a:pt x="427" y="354"/>
                  </a:cubicBezTo>
                  <a:lnTo>
                    <a:pt x="385" y="416"/>
                  </a:lnTo>
                  <a:close/>
                  <a:moveTo>
                    <a:pt x="385" y="416"/>
                  </a:moveTo>
                  <a:lnTo>
                    <a:pt x="385" y="416"/>
                  </a:lnTo>
                  <a:close/>
                </a:path>
              </a:pathLst>
            </a:custGeom>
            <a:solidFill>
              <a:schemeClr val="bg1"/>
            </a:solidFill>
            <a:ln>
              <a:noFill/>
            </a:ln>
            <a:effectLst/>
          </p:spPr>
          <p:txBody>
            <a:bodyPr wrap="none" lIns="182843" tIns="91422" rIns="182843" bIns="91422" anchor="ctr"/>
            <a:lstStyle/>
            <a:p>
              <a:pPr>
                <a:defRPr/>
              </a:pPr>
              <a:endParaRPr lang="en-US" sz="2400" dirty="0">
                <a:ea typeface="SimSun" charset="0"/>
              </a:endParaRPr>
            </a:p>
          </p:txBody>
        </p:sp>
      </p:grpSp>
      <p:sp>
        <p:nvSpPr>
          <p:cNvPr id="35" name="TextBox 34"/>
          <p:cNvSpPr txBox="1"/>
          <p:nvPr/>
        </p:nvSpPr>
        <p:spPr>
          <a:xfrm>
            <a:off x="706135" y="5474931"/>
            <a:ext cx="10779732" cy="738664"/>
          </a:xfrm>
          <a:prstGeom prst="rect">
            <a:avLst/>
          </a:prstGeom>
          <a:noFill/>
        </p:spPr>
        <p:txBody>
          <a:bodyPr wrap="square" rtlCol="0" anchor="ctr">
            <a:spAutoFit/>
          </a:bodyPr>
          <a:lstStyle/>
          <a:p>
            <a:pPr algn="ctr">
              <a:lnSpc>
                <a:spcPct val="150000"/>
              </a:lnSpc>
            </a:pPr>
            <a:r>
              <a:rPr lang="en-US" sz="1400" dirty="0">
                <a:solidFill>
                  <a:schemeClr val="tx1">
                    <a:lumMod val="75000"/>
                    <a:lumOff val="25000"/>
                  </a:schemeClr>
                </a:solidFill>
                <a:latin typeface="+mj-lt"/>
                <a:ea typeface="Roboto Light" charset="0"/>
                <a:cs typeface="Roboto Light" charset="0"/>
              </a:rPr>
              <a:t>Lorem Ipsum is simply dummy text of the printing and typesetting industry. has been the industry's standard dummy text ever since the 1500s, when an unknown printer took a galley of type and scrambled it to make a type specimen book. </a:t>
            </a:r>
          </a:p>
        </p:txBody>
      </p:sp>
      <p:sp>
        <p:nvSpPr>
          <p:cNvPr id="2" name="Slide Number Placeholder 1"/>
          <p:cNvSpPr>
            <a:spLocks noGrp="1"/>
          </p:cNvSpPr>
          <p:nvPr>
            <p:ph type="sldNum" sz="quarter" idx="12"/>
          </p:nvPr>
        </p:nvSpPr>
        <p:spPr/>
        <p:txBody>
          <a:bodyPr/>
          <a:lstStyle/>
          <a:p>
            <a:fld id="{DE156FE7-4276-48C2-8D29-2DA35A3BAE26}" type="slidenum">
              <a:rPr lang="en-US" smtClean="0"/>
              <a:t>3</a:t>
            </a:fld>
            <a:endParaRPr lang="en-US"/>
          </a:p>
        </p:txBody>
      </p:sp>
    </p:spTree>
    <p:extLst>
      <p:ext uri="{BB962C8B-B14F-4D97-AF65-F5344CB8AC3E}">
        <p14:creationId xmlns:p14="http://schemas.microsoft.com/office/powerpoint/2010/main" val="3766339478"/>
      </p:ext>
    </p:extLst>
  </p:cSld>
  <p:clrMapOvr>
    <a:masterClrMapping/>
  </p:clrMapOvr>
  <p:transition spd="med">
    <p:pull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11ECD2F2-DECE-4CEF-90DA-89E2B3D21F54}"/>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39632" b="39632"/>
          <a:stretch>
            <a:fillRect/>
          </a:stretch>
        </p:blipFill>
        <p:spPr>
          <a:solidFill>
            <a:schemeClr val="bg1">
              <a:lumMod val="85000"/>
            </a:schemeClr>
          </a:solidFill>
        </p:spPr>
      </p:pic>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MISSION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9" name="Rectangle 8"/>
          <p:cNvSpPr/>
          <p:nvPr/>
        </p:nvSpPr>
        <p:spPr>
          <a:xfrm>
            <a:off x="6007101" y="1796985"/>
            <a:ext cx="6184900" cy="1868470"/>
          </a:xfrm>
          <a:prstGeom prst="rect">
            <a:avLst/>
          </a:prstGeom>
          <a:gradFill flip="none" rotWithShape="1">
            <a:gsLst>
              <a:gs pos="0">
                <a:schemeClr val="accent1"/>
              </a:gs>
              <a:gs pos="100000">
                <a:schemeClr val="accent3"/>
              </a:gs>
            </a:gsLst>
            <a:lin ang="810000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Rectangle 9"/>
          <p:cNvSpPr/>
          <p:nvPr/>
        </p:nvSpPr>
        <p:spPr>
          <a:xfrm>
            <a:off x="6007101" y="2085633"/>
            <a:ext cx="5400229" cy="1415772"/>
          </a:xfrm>
          <a:prstGeom prst="rect">
            <a:avLst/>
          </a:prstGeom>
        </p:spPr>
        <p:txBody>
          <a:bodyPr wrap="square">
            <a:spAutoFit/>
          </a:bodyPr>
          <a:lstStyle/>
          <a:p>
            <a:pPr algn="r"/>
            <a:r>
              <a:rPr lang="en-US" dirty="0">
                <a:solidFill>
                  <a:schemeClr val="bg1">
                    <a:lumMod val="95000"/>
                  </a:schemeClr>
                </a:solidFill>
                <a:latin typeface="Montserrat Light" panose="00000400000000000000" pitchFamily="2" charset="0"/>
              </a:rPr>
              <a:t>THE HIGHEST REWARD FOR A PERSON'S WORK IS NOT WHAT THEY GET FOR IT; BUT WHAT THEY BECOME BY IT </a:t>
            </a:r>
            <a:br>
              <a:rPr lang="en-US" dirty="0">
                <a:solidFill>
                  <a:schemeClr val="bg1">
                    <a:lumMod val="95000"/>
                  </a:schemeClr>
                </a:solidFill>
                <a:latin typeface="Montserrat Light" panose="00000400000000000000" pitchFamily="2" charset="0"/>
              </a:rPr>
            </a:br>
            <a:endParaRPr lang="en-US" dirty="0">
              <a:solidFill>
                <a:schemeClr val="bg1">
                  <a:lumMod val="95000"/>
                </a:schemeClr>
              </a:solidFill>
              <a:latin typeface="Montserrat Light" panose="00000400000000000000" pitchFamily="2" charset="0"/>
            </a:endParaRPr>
          </a:p>
          <a:p>
            <a:pPr algn="r"/>
            <a:r>
              <a:rPr lang="en-US" sz="1400" i="1" dirty="0">
                <a:solidFill>
                  <a:schemeClr val="bg1">
                    <a:lumMod val="95000"/>
                  </a:schemeClr>
                </a:solidFill>
                <a:latin typeface="Montserrat Light" panose="00000400000000000000" pitchFamily="2" charset="0"/>
              </a:rPr>
              <a:t>- JOHN RUSKIN-</a:t>
            </a:r>
            <a:endParaRPr lang="en-US" i="1" dirty="0">
              <a:solidFill>
                <a:schemeClr val="bg1"/>
              </a:solidFill>
              <a:latin typeface="Montserrat Light" panose="00000400000000000000" pitchFamily="2" charset="0"/>
            </a:endParaRPr>
          </a:p>
        </p:txBody>
      </p:sp>
      <p:sp>
        <p:nvSpPr>
          <p:cNvPr id="7" name="Rectangle 6">
            <a:extLst>
              <a:ext uri="{FF2B5EF4-FFF2-40B4-BE49-F238E27FC236}">
                <a16:creationId xmlns:a16="http://schemas.microsoft.com/office/drawing/2014/main" id="{643F7393-CDB4-4015-8B46-A22452FB7492}"/>
              </a:ext>
            </a:extLst>
          </p:cNvPr>
          <p:cNvSpPr/>
          <p:nvPr/>
        </p:nvSpPr>
        <p:spPr>
          <a:xfrm>
            <a:off x="714700" y="4132775"/>
            <a:ext cx="5292401" cy="1477328"/>
          </a:xfrm>
          <a:prstGeom prst="rect">
            <a:avLst/>
          </a:prstGeom>
        </p:spPr>
        <p:txBody>
          <a:bodyPr wrap="square">
            <a:spAutoFit/>
          </a:bodyPr>
          <a:lstStyle/>
          <a:p>
            <a:pPr>
              <a:lnSpc>
                <a:spcPct val="150000"/>
              </a:lnSpc>
              <a:buClr>
                <a:srgbClr val="E24848"/>
              </a:buClr>
              <a:defRPr/>
            </a:pPr>
            <a:r>
              <a:rPr lang="en-US" sz="1200" noProof="1">
                <a:solidFill>
                  <a:schemeClr val="tx1">
                    <a:lumMod val="95000"/>
                    <a:lumOff val="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Lorem ipsum dolor sit amet, consectetur adipiscing elit. Nulla imperdiet volutpat dui at fermentum</a:t>
            </a:r>
          </a:p>
        </p:txBody>
      </p:sp>
      <p:sp>
        <p:nvSpPr>
          <p:cNvPr id="12" name="TextBox 11"/>
          <p:cNvSpPr txBox="1"/>
          <p:nvPr/>
        </p:nvSpPr>
        <p:spPr>
          <a:xfrm>
            <a:off x="6360462" y="4132775"/>
            <a:ext cx="5478177" cy="1477328"/>
          </a:xfrm>
          <a:prstGeom prst="rect">
            <a:avLst/>
          </a:prstGeom>
          <a:noFill/>
        </p:spPr>
        <p:txBody>
          <a:bodyPr wrap="square" rtlCol="0">
            <a:spAutoFit/>
          </a:bodyPr>
          <a:lstStyle/>
          <a:p>
            <a:pPr marL="171450" indent="-171450">
              <a:lnSpc>
                <a:spcPct val="150000"/>
              </a:lnSpc>
              <a:buFont typeface="Wingdings" panose="05000000000000000000" pitchFamily="2" charset="2"/>
              <a:buChar char="ü"/>
            </a:pPr>
            <a:r>
              <a:rPr lang="en-US" sz="1200" dirty="0">
                <a:solidFill>
                  <a:schemeClr val="tx1">
                    <a:lumMod val="75000"/>
                    <a:lumOff val="25000"/>
                  </a:schemeClr>
                </a:solidFill>
                <a:latin typeface="+mj-lt"/>
                <a:ea typeface="Roboto Light" charset="0"/>
                <a:cs typeface="Roboto Light" charset="0"/>
              </a:rPr>
              <a:t>Lorem ipsum is simply dummy text of </a:t>
            </a:r>
          </a:p>
          <a:p>
            <a:pPr marL="171450" indent="-171450">
              <a:lnSpc>
                <a:spcPct val="150000"/>
              </a:lnSpc>
              <a:buFont typeface="Wingdings" panose="05000000000000000000" pitchFamily="2" charset="2"/>
              <a:buChar char="ü"/>
            </a:pPr>
            <a:r>
              <a:rPr lang="en-US" sz="1200" dirty="0">
                <a:solidFill>
                  <a:schemeClr val="tx1">
                    <a:lumMod val="75000"/>
                    <a:lumOff val="25000"/>
                  </a:schemeClr>
                </a:solidFill>
                <a:latin typeface="+mj-lt"/>
                <a:ea typeface="Roboto Light" charset="0"/>
                <a:cs typeface="Roboto Light" charset="0"/>
              </a:rPr>
              <a:t>The printing and typesetting industry.</a:t>
            </a:r>
          </a:p>
          <a:p>
            <a:pPr marL="171450" indent="-171450">
              <a:lnSpc>
                <a:spcPct val="150000"/>
              </a:lnSpc>
              <a:buFont typeface="Wingdings" panose="05000000000000000000" pitchFamily="2" charset="2"/>
              <a:buChar char="ü"/>
            </a:pPr>
            <a:r>
              <a:rPr lang="en-US" sz="1200" dirty="0">
                <a:solidFill>
                  <a:schemeClr val="tx1">
                    <a:lumMod val="75000"/>
                    <a:lumOff val="25000"/>
                  </a:schemeClr>
                </a:solidFill>
                <a:latin typeface="+mj-lt"/>
                <a:ea typeface="Roboto Light" charset="0"/>
                <a:cs typeface="Roboto Light" charset="0"/>
              </a:rPr>
              <a:t>Has been the industry's standard dummy </a:t>
            </a:r>
          </a:p>
          <a:p>
            <a:pPr marL="171450" indent="-171450">
              <a:lnSpc>
                <a:spcPct val="150000"/>
              </a:lnSpc>
              <a:buFont typeface="Wingdings" panose="05000000000000000000" pitchFamily="2" charset="2"/>
              <a:buChar char="ü"/>
            </a:pPr>
            <a:r>
              <a:rPr lang="en-US" sz="1200" dirty="0">
                <a:solidFill>
                  <a:schemeClr val="tx1">
                    <a:lumMod val="75000"/>
                    <a:lumOff val="25000"/>
                  </a:schemeClr>
                </a:solidFill>
                <a:latin typeface="+mj-lt"/>
                <a:ea typeface="Roboto Light" charset="0"/>
                <a:cs typeface="Roboto Light" charset="0"/>
              </a:rPr>
              <a:t>Text ever since the 1500s, when an </a:t>
            </a:r>
          </a:p>
          <a:p>
            <a:pPr marL="171450" indent="-171450">
              <a:lnSpc>
                <a:spcPct val="150000"/>
              </a:lnSpc>
              <a:buFont typeface="Wingdings" panose="05000000000000000000" pitchFamily="2" charset="2"/>
              <a:buChar char="ü"/>
            </a:pPr>
            <a:r>
              <a:rPr lang="en-US" sz="1200" dirty="0">
                <a:solidFill>
                  <a:schemeClr val="tx1">
                    <a:lumMod val="75000"/>
                    <a:lumOff val="25000"/>
                  </a:schemeClr>
                </a:solidFill>
                <a:latin typeface="+mj-lt"/>
                <a:ea typeface="Roboto Light" charset="0"/>
                <a:cs typeface="Roboto Light" charset="0"/>
              </a:rPr>
              <a:t>Unknown printer took a galley of type </a:t>
            </a:r>
          </a:p>
        </p:txBody>
      </p:sp>
      <p:sp>
        <p:nvSpPr>
          <p:cNvPr id="2" name="Slide Number Placeholder 1"/>
          <p:cNvSpPr>
            <a:spLocks noGrp="1"/>
          </p:cNvSpPr>
          <p:nvPr>
            <p:ph type="sldNum" sz="quarter" idx="12"/>
          </p:nvPr>
        </p:nvSpPr>
        <p:spPr/>
        <p:txBody>
          <a:bodyPr/>
          <a:lstStyle/>
          <a:p>
            <a:fld id="{DE156FE7-4276-48C2-8D29-2DA35A3BAE26}" type="slidenum">
              <a:rPr lang="en-US" smtClean="0"/>
              <a:t>4</a:t>
            </a:fld>
            <a:endParaRPr lang="en-US"/>
          </a:p>
        </p:txBody>
      </p:sp>
    </p:spTree>
    <p:extLst>
      <p:ext uri="{BB962C8B-B14F-4D97-AF65-F5344CB8AC3E}">
        <p14:creationId xmlns:p14="http://schemas.microsoft.com/office/powerpoint/2010/main" val="2869725341"/>
      </p:ext>
    </p:extLst>
  </p:cSld>
  <p:clrMapOvr>
    <a:masterClrMapping/>
  </p:clrMapOvr>
  <p:transition spd="med">
    <p:pull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820BCEC3-B53D-4084-8206-FE0B6BD43833}"/>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24663" r="24663"/>
          <a:stretch>
            <a:fillRect/>
          </a:stretch>
        </p:blipFill>
        <p:spPr>
          <a:solidFill>
            <a:schemeClr val="bg1">
              <a:lumMod val="85000"/>
            </a:schemeClr>
          </a:solidFill>
        </p:spPr>
      </p:pic>
      <p:pic>
        <p:nvPicPr>
          <p:cNvPr id="9" name="Picture Placeholder 8">
            <a:extLst>
              <a:ext uri="{FF2B5EF4-FFF2-40B4-BE49-F238E27FC236}">
                <a16:creationId xmlns:a16="http://schemas.microsoft.com/office/drawing/2014/main" id="{AEFDABBE-E8B1-43B6-8F33-0AF7AFA2F174}"/>
              </a:ext>
            </a:extLst>
          </p:cNvPr>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t="19913" b="19913"/>
          <a:stretch>
            <a:fillRect/>
          </a:stretch>
        </p:blipFill>
        <p:spPr>
          <a:solidFill>
            <a:schemeClr val="bg1">
              <a:lumMod val="85000"/>
            </a:schemeClr>
          </a:solidFill>
        </p:spPr>
      </p:pic>
      <p:sp>
        <p:nvSpPr>
          <p:cNvPr id="26" name="Rectangle 25"/>
          <p:cNvSpPr/>
          <p:nvPr>
            <p:custDataLst>
              <p:tags r:id="rId1"/>
            </p:custDataLst>
          </p:nvPr>
        </p:nvSpPr>
        <p:spPr>
          <a:xfrm>
            <a:off x="4637227" y="419100"/>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MISSION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4637227" y="967264"/>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3" name="Rectangle 2"/>
          <p:cNvSpPr/>
          <p:nvPr/>
        </p:nvSpPr>
        <p:spPr>
          <a:xfrm>
            <a:off x="152400" y="5626100"/>
            <a:ext cx="1860135" cy="419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2114965" y="5626100"/>
            <a:ext cx="1860135" cy="419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B35DF6C-1CC9-4A68-9660-98C1C2DE3634}"/>
              </a:ext>
            </a:extLst>
          </p:cNvPr>
          <p:cNvSpPr/>
          <p:nvPr/>
        </p:nvSpPr>
        <p:spPr>
          <a:xfrm>
            <a:off x="152399" y="5663897"/>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18" name="Rectangle 17">
            <a:extLst>
              <a:ext uri="{FF2B5EF4-FFF2-40B4-BE49-F238E27FC236}">
                <a16:creationId xmlns:a16="http://schemas.microsoft.com/office/drawing/2014/main" id="{DB35DF6C-1CC9-4A68-9660-98C1C2DE3634}"/>
              </a:ext>
            </a:extLst>
          </p:cNvPr>
          <p:cNvSpPr/>
          <p:nvPr/>
        </p:nvSpPr>
        <p:spPr>
          <a:xfrm>
            <a:off x="2147860" y="5663897"/>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19" name="Rectangle 18">
            <a:extLst>
              <a:ext uri="{FF2B5EF4-FFF2-40B4-BE49-F238E27FC236}">
                <a16:creationId xmlns:a16="http://schemas.microsoft.com/office/drawing/2014/main" id="{DB35DF6C-1CC9-4A68-9660-98C1C2DE3634}"/>
              </a:ext>
            </a:extLst>
          </p:cNvPr>
          <p:cNvSpPr/>
          <p:nvPr/>
        </p:nvSpPr>
        <p:spPr>
          <a:xfrm>
            <a:off x="5785219" y="1605628"/>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 IPSUM</a:t>
            </a:r>
          </a:p>
        </p:txBody>
      </p:sp>
      <p:sp>
        <p:nvSpPr>
          <p:cNvPr id="20" name="Rectangle 19">
            <a:extLst>
              <a:ext uri="{FF2B5EF4-FFF2-40B4-BE49-F238E27FC236}">
                <a16:creationId xmlns:a16="http://schemas.microsoft.com/office/drawing/2014/main" id="{36619682-B96B-456C-82E8-C90705949DB6}"/>
              </a:ext>
            </a:extLst>
          </p:cNvPr>
          <p:cNvSpPr/>
          <p:nvPr/>
        </p:nvSpPr>
        <p:spPr>
          <a:xfrm>
            <a:off x="5785219" y="1968727"/>
            <a:ext cx="1932316" cy="707886"/>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1" name="Rectangle 20">
            <a:extLst>
              <a:ext uri="{FF2B5EF4-FFF2-40B4-BE49-F238E27FC236}">
                <a16:creationId xmlns:a16="http://schemas.microsoft.com/office/drawing/2014/main" id="{DB35DF6C-1CC9-4A68-9660-98C1C2DE3634}"/>
              </a:ext>
            </a:extLst>
          </p:cNvPr>
          <p:cNvSpPr/>
          <p:nvPr/>
        </p:nvSpPr>
        <p:spPr>
          <a:xfrm>
            <a:off x="9148267" y="1605628"/>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 IPSUM</a:t>
            </a:r>
          </a:p>
        </p:txBody>
      </p:sp>
      <p:sp>
        <p:nvSpPr>
          <p:cNvPr id="22" name="Rectangle 21">
            <a:extLst>
              <a:ext uri="{FF2B5EF4-FFF2-40B4-BE49-F238E27FC236}">
                <a16:creationId xmlns:a16="http://schemas.microsoft.com/office/drawing/2014/main" id="{36619682-B96B-456C-82E8-C90705949DB6}"/>
              </a:ext>
            </a:extLst>
          </p:cNvPr>
          <p:cNvSpPr/>
          <p:nvPr/>
        </p:nvSpPr>
        <p:spPr>
          <a:xfrm>
            <a:off x="9148267" y="1968727"/>
            <a:ext cx="1932316" cy="707886"/>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grpSp>
        <p:nvGrpSpPr>
          <p:cNvPr id="24" name="Group 23"/>
          <p:cNvGrpSpPr/>
          <p:nvPr/>
        </p:nvGrpSpPr>
        <p:grpSpPr>
          <a:xfrm>
            <a:off x="4941318" y="1790362"/>
            <a:ext cx="464514" cy="461963"/>
            <a:chOff x="881063" y="784225"/>
            <a:chExt cx="288925" cy="287338"/>
          </a:xfrm>
        </p:grpSpPr>
        <p:sp>
          <p:nvSpPr>
            <p:cNvPr id="25" name="Freeform 27"/>
            <p:cNvSpPr>
              <a:spLocks noEditPoints="1"/>
            </p:cNvSpPr>
            <p:nvPr/>
          </p:nvSpPr>
          <p:spPr bwMode="auto">
            <a:xfrm>
              <a:off x="968375" y="898525"/>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p:cNvSpPr>
              <a:spLocks/>
            </p:cNvSpPr>
            <p:nvPr/>
          </p:nvSpPr>
          <p:spPr bwMode="auto">
            <a:xfrm>
              <a:off x="1063625" y="1023938"/>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p:cNvSpPr>
              <a:spLocks/>
            </p:cNvSpPr>
            <p:nvPr/>
          </p:nvSpPr>
          <p:spPr bwMode="auto">
            <a:xfrm>
              <a:off x="909638" y="917575"/>
              <a:ext cx="38100" cy="9525"/>
            </a:xfrm>
            <a:custGeom>
              <a:avLst/>
              <a:gdLst>
                <a:gd name="T0" fmla="*/ 105 w 120"/>
                <a:gd name="T1" fmla="*/ 0 h 30"/>
                <a:gd name="T2" fmla="*/ 15 w 120"/>
                <a:gd name="T3" fmla="*/ 0 h 30"/>
                <a:gd name="T4" fmla="*/ 12 w 120"/>
                <a:gd name="T5" fmla="*/ 0 h 30"/>
                <a:gd name="T6" fmla="*/ 8 w 120"/>
                <a:gd name="T7" fmla="*/ 1 h 30"/>
                <a:gd name="T8" fmla="*/ 6 w 120"/>
                <a:gd name="T9" fmla="*/ 2 h 30"/>
                <a:gd name="T10" fmla="*/ 4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4 w 120"/>
                <a:gd name="T27" fmla="*/ 25 h 30"/>
                <a:gd name="T28" fmla="*/ 6 w 120"/>
                <a:gd name="T29" fmla="*/ 28 h 30"/>
                <a:gd name="T30" fmla="*/ 8 w 120"/>
                <a:gd name="T31" fmla="*/ 29 h 30"/>
                <a:gd name="T32" fmla="*/ 12 w 120"/>
                <a:gd name="T33" fmla="*/ 30 h 30"/>
                <a:gd name="T34" fmla="*/ 15 w 120"/>
                <a:gd name="T35" fmla="*/ 30 h 30"/>
                <a:gd name="T36" fmla="*/ 105 w 120"/>
                <a:gd name="T37" fmla="*/ 30 h 30"/>
                <a:gd name="T38" fmla="*/ 108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8"/>
                  </a:lnTo>
                  <a:lnTo>
                    <a:pt x="8" y="29"/>
                  </a:lnTo>
                  <a:lnTo>
                    <a:pt x="12" y="30"/>
                  </a:lnTo>
                  <a:lnTo>
                    <a:pt x="15" y="30"/>
                  </a:lnTo>
                  <a:lnTo>
                    <a:pt x="105" y="30"/>
                  </a:lnTo>
                  <a:lnTo>
                    <a:pt x="108" y="30"/>
                  </a:lnTo>
                  <a:lnTo>
                    <a:pt x="111" y="29"/>
                  </a:lnTo>
                  <a:lnTo>
                    <a:pt x="114" y="28"/>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8" y="0"/>
                  </a:lnTo>
                  <a:lnTo>
                    <a:pt x="10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p:cNvSpPr>
              <a:spLocks noEditPoints="1"/>
            </p:cNvSpPr>
            <p:nvPr/>
          </p:nvSpPr>
          <p:spPr bwMode="auto">
            <a:xfrm>
              <a:off x="881063" y="784225"/>
              <a:ext cx="153988" cy="114300"/>
            </a:xfrm>
            <a:custGeom>
              <a:avLst/>
              <a:gdLst>
                <a:gd name="T0" fmla="*/ 31 w 483"/>
                <a:gd name="T1" fmla="*/ 55 h 363"/>
                <a:gd name="T2" fmla="*/ 35 w 483"/>
                <a:gd name="T3" fmla="*/ 44 h 363"/>
                <a:gd name="T4" fmla="*/ 44 w 483"/>
                <a:gd name="T5" fmla="*/ 36 h 363"/>
                <a:gd name="T6" fmla="*/ 54 w 483"/>
                <a:gd name="T7" fmla="*/ 31 h 363"/>
                <a:gd name="T8" fmla="*/ 423 w 483"/>
                <a:gd name="T9" fmla="*/ 30 h 363"/>
                <a:gd name="T10" fmla="*/ 435 w 483"/>
                <a:gd name="T11" fmla="*/ 32 h 363"/>
                <a:gd name="T12" fmla="*/ 445 w 483"/>
                <a:gd name="T13" fmla="*/ 39 h 363"/>
                <a:gd name="T14" fmla="*/ 451 w 483"/>
                <a:gd name="T15" fmla="*/ 48 h 363"/>
                <a:gd name="T16" fmla="*/ 453 w 483"/>
                <a:gd name="T17" fmla="*/ 60 h 363"/>
                <a:gd name="T18" fmla="*/ 30 w 483"/>
                <a:gd name="T19" fmla="*/ 273 h 363"/>
                <a:gd name="T20" fmla="*/ 196 w 483"/>
                <a:gd name="T21" fmla="*/ 333 h 363"/>
                <a:gd name="T22" fmla="*/ 54 w 483"/>
                <a:gd name="T23" fmla="*/ 333 h 363"/>
                <a:gd name="T24" fmla="*/ 44 w 483"/>
                <a:gd name="T25" fmla="*/ 327 h 363"/>
                <a:gd name="T26" fmla="*/ 35 w 483"/>
                <a:gd name="T27" fmla="*/ 320 h 363"/>
                <a:gd name="T28" fmla="*/ 31 w 483"/>
                <a:gd name="T29" fmla="*/ 309 h 363"/>
                <a:gd name="T30" fmla="*/ 468 w 483"/>
                <a:gd name="T31" fmla="*/ 303 h 363"/>
                <a:gd name="T32" fmla="*/ 475 w 483"/>
                <a:gd name="T33" fmla="*/ 301 h 363"/>
                <a:gd name="T34" fmla="*/ 479 w 483"/>
                <a:gd name="T35" fmla="*/ 298 h 363"/>
                <a:gd name="T36" fmla="*/ 482 w 483"/>
                <a:gd name="T37" fmla="*/ 293 h 363"/>
                <a:gd name="T38" fmla="*/ 483 w 483"/>
                <a:gd name="T39" fmla="*/ 288 h 363"/>
                <a:gd name="T40" fmla="*/ 483 w 483"/>
                <a:gd name="T41" fmla="*/ 54 h 363"/>
                <a:gd name="T42" fmla="*/ 481 w 483"/>
                <a:gd name="T43" fmla="*/ 42 h 363"/>
                <a:gd name="T44" fmla="*/ 477 w 483"/>
                <a:gd name="T45" fmla="*/ 31 h 363"/>
                <a:gd name="T46" fmla="*/ 471 w 483"/>
                <a:gd name="T47" fmla="*/ 22 h 363"/>
                <a:gd name="T48" fmla="*/ 462 w 483"/>
                <a:gd name="T49" fmla="*/ 14 h 363"/>
                <a:gd name="T50" fmla="*/ 452 w 483"/>
                <a:gd name="T51" fmla="*/ 8 h 363"/>
                <a:gd name="T52" fmla="*/ 442 w 483"/>
                <a:gd name="T53" fmla="*/ 2 h 363"/>
                <a:gd name="T54" fmla="*/ 430 w 483"/>
                <a:gd name="T55" fmla="*/ 0 h 363"/>
                <a:gd name="T56" fmla="*/ 60 w 483"/>
                <a:gd name="T57" fmla="*/ 0 h 363"/>
                <a:gd name="T58" fmla="*/ 48 w 483"/>
                <a:gd name="T59" fmla="*/ 1 h 363"/>
                <a:gd name="T60" fmla="*/ 36 w 483"/>
                <a:gd name="T61" fmla="*/ 5 h 363"/>
                <a:gd name="T62" fmla="*/ 27 w 483"/>
                <a:gd name="T63" fmla="*/ 10 h 363"/>
                <a:gd name="T64" fmla="*/ 17 w 483"/>
                <a:gd name="T65" fmla="*/ 17 h 363"/>
                <a:gd name="T66" fmla="*/ 10 w 483"/>
                <a:gd name="T67" fmla="*/ 27 h 363"/>
                <a:gd name="T68" fmla="*/ 4 w 483"/>
                <a:gd name="T69" fmla="*/ 37 h 363"/>
                <a:gd name="T70" fmla="*/ 1 w 483"/>
                <a:gd name="T71" fmla="*/ 48 h 363"/>
                <a:gd name="T72" fmla="*/ 0 w 483"/>
                <a:gd name="T73" fmla="*/ 60 h 363"/>
                <a:gd name="T74" fmla="*/ 0 w 483"/>
                <a:gd name="T75" fmla="*/ 309 h 363"/>
                <a:gd name="T76" fmla="*/ 2 w 483"/>
                <a:gd name="T77" fmla="*/ 321 h 363"/>
                <a:gd name="T78" fmla="*/ 7 w 483"/>
                <a:gd name="T79" fmla="*/ 331 h 363"/>
                <a:gd name="T80" fmla="*/ 14 w 483"/>
                <a:gd name="T81" fmla="*/ 341 h 363"/>
                <a:gd name="T82" fmla="*/ 21 w 483"/>
                <a:gd name="T83" fmla="*/ 349 h 363"/>
                <a:gd name="T84" fmla="*/ 31 w 483"/>
                <a:gd name="T85" fmla="*/ 356 h 363"/>
                <a:gd name="T86" fmla="*/ 43 w 483"/>
                <a:gd name="T87" fmla="*/ 360 h 363"/>
                <a:gd name="T88" fmla="*/ 54 w 483"/>
                <a:gd name="T89" fmla="*/ 363 h 363"/>
                <a:gd name="T90" fmla="*/ 196 w 483"/>
                <a:gd name="T91" fmla="*/ 363 h 363"/>
                <a:gd name="T92" fmla="*/ 202 w 483"/>
                <a:gd name="T93" fmla="*/ 361 h 363"/>
                <a:gd name="T94" fmla="*/ 207 w 483"/>
                <a:gd name="T95" fmla="*/ 358 h 363"/>
                <a:gd name="T96" fmla="*/ 210 w 483"/>
                <a:gd name="T97" fmla="*/ 354 h 363"/>
                <a:gd name="T98" fmla="*/ 211 w 483"/>
                <a:gd name="T99" fmla="*/ 348 h 363"/>
                <a:gd name="T100" fmla="*/ 210 w 483"/>
                <a:gd name="T101" fmla="*/ 342 h 363"/>
                <a:gd name="T102" fmla="*/ 207 w 483"/>
                <a:gd name="T103" fmla="*/ 337 h 363"/>
                <a:gd name="T104" fmla="*/ 202 w 483"/>
                <a:gd name="T105" fmla="*/ 334 h 363"/>
                <a:gd name="T106" fmla="*/ 196 w 483"/>
                <a:gd name="T107" fmla="*/ 33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 h="363">
                  <a:moveTo>
                    <a:pt x="30" y="60"/>
                  </a:moveTo>
                  <a:lnTo>
                    <a:pt x="31" y="55"/>
                  </a:lnTo>
                  <a:lnTo>
                    <a:pt x="32" y="48"/>
                  </a:lnTo>
                  <a:lnTo>
                    <a:pt x="35" y="44"/>
                  </a:lnTo>
                  <a:lnTo>
                    <a:pt x="38" y="39"/>
                  </a:lnTo>
                  <a:lnTo>
                    <a:pt x="44" y="36"/>
                  </a:lnTo>
                  <a:lnTo>
                    <a:pt x="48" y="32"/>
                  </a:lnTo>
                  <a:lnTo>
                    <a:pt x="54" y="31"/>
                  </a:lnTo>
                  <a:lnTo>
                    <a:pt x="60" y="30"/>
                  </a:lnTo>
                  <a:lnTo>
                    <a:pt x="423" y="30"/>
                  </a:lnTo>
                  <a:lnTo>
                    <a:pt x="430" y="31"/>
                  </a:lnTo>
                  <a:lnTo>
                    <a:pt x="435" y="32"/>
                  </a:lnTo>
                  <a:lnTo>
                    <a:pt x="441" y="36"/>
                  </a:lnTo>
                  <a:lnTo>
                    <a:pt x="445" y="39"/>
                  </a:lnTo>
                  <a:lnTo>
                    <a:pt x="448" y="44"/>
                  </a:lnTo>
                  <a:lnTo>
                    <a:pt x="451" y="48"/>
                  </a:lnTo>
                  <a:lnTo>
                    <a:pt x="453" y="55"/>
                  </a:lnTo>
                  <a:lnTo>
                    <a:pt x="453" y="60"/>
                  </a:lnTo>
                  <a:lnTo>
                    <a:pt x="453" y="273"/>
                  </a:lnTo>
                  <a:lnTo>
                    <a:pt x="30" y="273"/>
                  </a:lnTo>
                  <a:lnTo>
                    <a:pt x="30" y="60"/>
                  </a:lnTo>
                  <a:close/>
                  <a:moveTo>
                    <a:pt x="196" y="333"/>
                  </a:moveTo>
                  <a:lnTo>
                    <a:pt x="60" y="333"/>
                  </a:lnTo>
                  <a:lnTo>
                    <a:pt x="54" y="333"/>
                  </a:lnTo>
                  <a:lnTo>
                    <a:pt x="48" y="330"/>
                  </a:lnTo>
                  <a:lnTo>
                    <a:pt x="44" y="327"/>
                  </a:lnTo>
                  <a:lnTo>
                    <a:pt x="38" y="324"/>
                  </a:lnTo>
                  <a:lnTo>
                    <a:pt x="35" y="320"/>
                  </a:lnTo>
                  <a:lnTo>
                    <a:pt x="32" y="314"/>
                  </a:lnTo>
                  <a:lnTo>
                    <a:pt x="31" y="309"/>
                  </a:lnTo>
                  <a:lnTo>
                    <a:pt x="30" y="303"/>
                  </a:lnTo>
                  <a:lnTo>
                    <a:pt x="468" y="303"/>
                  </a:lnTo>
                  <a:lnTo>
                    <a:pt x="472" y="303"/>
                  </a:lnTo>
                  <a:lnTo>
                    <a:pt x="475" y="301"/>
                  </a:lnTo>
                  <a:lnTo>
                    <a:pt x="477" y="300"/>
                  </a:lnTo>
                  <a:lnTo>
                    <a:pt x="479" y="298"/>
                  </a:lnTo>
                  <a:lnTo>
                    <a:pt x="481" y="296"/>
                  </a:lnTo>
                  <a:lnTo>
                    <a:pt x="482" y="293"/>
                  </a:lnTo>
                  <a:lnTo>
                    <a:pt x="483" y="291"/>
                  </a:lnTo>
                  <a:lnTo>
                    <a:pt x="483" y="288"/>
                  </a:lnTo>
                  <a:lnTo>
                    <a:pt x="483" y="60"/>
                  </a:lnTo>
                  <a:lnTo>
                    <a:pt x="483" y="54"/>
                  </a:lnTo>
                  <a:lnTo>
                    <a:pt x="482" y="48"/>
                  </a:lnTo>
                  <a:lnTo>
                    <a:pt x="481" y="42"/>
                  </a:lnTo>
                  <a:lnTo>
                    <a:pt x="479" y="37"/>
                  </a:lnTo>
                  <a:lnTo>
                    <a:pt x="477" y="31"/>
                  </a:lnTo>
                  <a:lnTo>
                    <a:pt x="474" y="27"/>
                  </a:lnTo>
                  <a:lnTo>
                    <a:pt x="471" y="22"/>
                  </a:lnTo>
                  <a:lnTo>
                    <a:pt x="466" y="17"/>
                  </a:lnTo>
                  <a:lnTo>
                    <a:pt x="462" y="14"/>
                  </a:lnTo>
                  <a:lnTo>
                    <a:pt x="458" y="10"/>
                  </a:lnTo>
                  <a:lnTo>
                    <a:pt x="452" y="8"/>
                  </a:lnTo>
                  <a:lnTo>
                    <a:pt x="447" y="5"/>
                  </a:lnTo>
                  <a:lnTo>
                    <a:pt x="442" y="2"/>
                  </a:lnTo>
                  <a:lnTo>
                    <a:pt x="435" y="1"/>
                  </a:lnTo>
                  <a:lnTo>
                    <a:pt x="430" y="0"/>
                  </a:lnTo>
                  <a:lnTo>
                    <a:pt x="423" y="0"/>
                  </a:lnTo>
                  <a:lnTo>
                    <a:pt x="60" y="0"/>
                  </a:lnTo>
                  <a:lnTo>
                    <a:pt x="54" y="0"/>
                  </a:lnTo>
                  <a:lnTo>
                    <a:pt x="48" y="1"/>
                  </a:lnTo>
                  <a:lnTo>
                    <a:pt x="43" y="2"/>
                  </a:lnTo>
                  <a:lnTo>
                    <a:pt x="36" y="5"/>
                  </a:lnTo>
                  <a:lnTo>
                    <a:pt x="31" y="8"/>
                  </a:lnTo>
                  <a:lnTo>
                    <a:pt x="27" y="10"/>
                  </a:lnTo>
                  <a:lnTo>
                    <a:pt x="21" y="14"/>
                  </a:lnTo>
                  <a:lnTo>
                    <a:pt x="17" y="17"/>
                  </a:lnTo>
                  <a:lnTo>
                    <a:pt x="14" y="22"/>
                  </a:lnTo>
                  <a:lnTo>
                    <a:pt x="10" y="27"/>
                  </a:lnTo>
                  <a:lnTo>
                    <a:pt x="7" y="31"/>
                  </a:lnTo>
                  <a:lnTo>
                    <a:pt x="4" y="37"/>
                  </a:lnTo>
                  <a:lnTo>
                    <a:pt x="2" y="42"/>
                  </a:lnTo>
                  <a:lnTo>
                    <a:pt x="1" y="48"/>
                  </a:lnTo>
                  <a:lnTo>
                    <a:pt x="0" y="54"/>
                  </a:lnTo>
                  <a:lnTo>
                    <a:pt x="0" y="60"/>
                  </a:lnTo>
                  <a:lnTo>
                    <a:pt x="0" y="303"/>
                  </a:lnTo>
                  <a:lnTo>
                    <a:pt x="0" y="309"/>
                  </a:lnTo>
                  <a:lnTo>
                    <a:pt x="1" y="314"/>
                  </a:lnTo>
                  <a:lnTo>
                    <a:pt x="2" y="321"/>
                  </a:lnTo>
                  <a:lnTo>
                    <a:pt x="4" y="326"/>
                  </a:lnTo>
                  <a:lnTo>
                    <a:pt x="7" y="331"/>
                  </a:lnTo>
                  <a:lnTo>
                    <a:pt x="10" y="336"/>
                  </a:lnTo>
                  <a:lnTo>
                    <a:pt x="14" y="341"/>
                  </a:lnTo>
                  <a:lnTo>
                    <a:pt x="17" y="345"/>
                  </a:lnTo>
                  <a:lnTo>
                    <a:pt x="21" y="349"/>
                  </a:lnTo>
                  <a:lnTo>
                    <a:pt x="27" y="353"/>
                  </a:lnTo>
                  <a:lnTo>
                    <a:pt x="31" y="356"/>
                  </a:lnTo>
                  <a:lnTo>
                    <a:pt x="36" y="358"/>
                  </a:lnTo>
                  <a:lnTo>
                    <a:pt x="43" y="360"/>
                  </a:lnTo>
                  <a:lnTo>
                    <a:pt x="48" y="361"/>
                  </a:lnTo>
                  <a:lnTo>
                    <a:pt x="54" y="363"/>
                  </a:lnTo>
                  <a:lnTo>
                    <a:pt x="60" y="363"/>
                  </a:lnTo>
                  <a:lnTo>
                    <a:pt x="196" y="363"/>
                  </a:lnTo>
                  <a:lnTo>
                    <a:pt x="199" y="363"/>
                  </a:lnTo>
                  <a:lnTo>
                    <a:pt x="202" y="361"/>
                  </a:lnTo>
                  <a:lnTo>
                    <a:pt x="205" y="360"/>
                  </a:lnTo>
                  <a:lnTo>
                    <a:pt x="207" y="358"/>
                  </a:lnTo>
                  <a:lnTo>
                    <a:pt x="209" y="356"/>
                  </a:lnTo>
                  <a:lnTo>
                    <a:pt x="210" y="354"/>
                  </a:lnTo>
                  <a:lnTo>
                    <a:pt x="211" y="351"/>
                  </a:lnTo>
                  <a:lnTo>
                    <a:pt x="211" y="348"/>
                  </a:lnTo>
                  <a:lnTo>
                    <a:pt x="211" y="344"/>
                  </a:lnTo>
                  <a:lnTo>
                    <a:pt x="210" y="342"/>
                  </a:lnTo>
                  <a:lnTo>
                    <a:pt x="209" y="339"/>
                  </a:lnTo>
                  <a:lnTo>
                    <a:pt x="207" y="337"/>
                  </a:lnTo>
                  <a:lnTo>
                    <a:pt x="205" y="336"/>
                  </a:lnTo>
                  <a:lnTo>
                    <a:pt x="202" y="334"/>
                  </a:lnTo>
                  <a:lnTo>
                    <a:pt x="199" y="333"/>
                  </a:lnTo>
                  <a:lnTo>
                    <a:pt x="196" y="333"/>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8573518" y="1790364"/>
            <a:ext cx="459410" cy="461961"/>
            <a:chOff x="7027863" y="798513"/>
            <a:chExt cx="285750" cy="287337"/>
          </a:xfrm>
        </p:grpSpPr>
        <p:sp>
          <p:nvSpPr>
            <p:cNvPr id="35" name="Freeform 187"/>
            <p:cNvSpPr>
              <a:spLocks/>
            </p:cNvSpPr>
            <p:nvPr/>
          </p:nvSpPr>
          <p:spPr bwMode="auto">
            <a:xfrm>
              <a:off x="7227888" y="950913"/>
              <a:ext cx="38100" cy="58738"/>
            </a:xfrm>
            <a:custGeom>
              <a:avLst/>
              <a:gdLst>
                <a:gd name="T0" fmla="*/ 105 w 120"/>
                <a:gd name="T1" fmla="*/ 150 h 181"/>
                <a:gd name="T2" fmla="*/ 30 w 120"/>
                <a:gd name="T3" fmla="*/ 150 h 181"/>
                <a:gd name="T4" fmla="*/ 30 w 120"/>
                <a:gd name="T5" fmla="*/ 15 h 181"/>
                <a:gd name="T6" fmla="*/ 30 w 120"/>
                <a:gd name="T7" fmla="*/ 12 h 181"/>
                <a:gd name="T8" fmla="*/ 29 w 120"/>
                <a:gd name="T9" fmla="*/ 10 h 181"/>
                <a:gd name="T10" fmla="*/ 28 w 120"/>
                <a:gd name="T11" fmla="*/ 7 h 181"/>
                <a:gd name="T12" fmla="*/ 26 w 120"/>
                <a:gd name="T13" fmla="*/ 5 h 181"/>
                <a:gd name="T14" fmla="*/ 24 w 120"/>
                <a:gd name="T15" fmla="*/ 4 h 181"/>
                <a:gd name="T16" fmla="*/ 20 w 120"/>
                <a:gd name="T17" fmla="*/ 2 h 181"/>
                <a:gd name="T18" fmla="*/ 18 w 120"/>
                <a:gd name="T19" fmla="*/ 0 h 181"/>
                <a:gd name="T20" fmla="*/ 15 w 120"/>
                <a:gd name="T21" fmla="*/ 0 h 181"/>
                <a:gd name="T22" fmla="*/ 12 w 120"/>
                <a:gd name="T23" fmla="*/ 0 h 181"/>
                <a:gd name="T24" fmla="*/ 9 w 120"/>
                <a:gd name="T25" fmla="*/ 2 h 181"/>
                <a:gd name="T26" fmla="*/ 7 w 120"/>
                <a:gd name="T27" fmla="*/ 4 h 181"/>
                <a:gd name="T28" fmla="*/ 4 w 120"/>
                <a:gd name="T29" fmla="*/ 5 h 181"/>
                <a:gd name="T30" fmla="*/ 2 w 120"/>
                <a:gd name="T31" fmla="*/ 7 h 181"/>
                <a:gd name="T32" fmla="*/ 1 w 120"/>
                <a:gd name="T33" fmla="*/ 10 h 181"/>
                <a:gd name="T34" fmla="*/ 0 w 120"/>
                <a:gd name="T35" fmla="*/ 12 h 181"/>
                <a:gd name="T36" fmla="*/ 0 w 120"/>
                <a:gd name="T37" fmla="*/ 15 h 181"/>
                <a:gd name="T38" fmla="*/ 0 w 120"/>
                <a:gd name="T39" fmla="*/ 181 h 181"/>
                <a:gd name="T40" fmla="*/ 105 w 120"/>
                <a:gd name="T41" fmla="*/ 181 h 181"/>
                <a:gd name="T42" fmla="*/ 108 w 120"/>
                <a:gd name="T43" fmla="*/ 180 h 181"/>
                <a:gd name="T44" fmla="*/ 111 w 120"/>
                <a:gd name="T45" fmla="*/ 179 h 181"/>
                <a:gd name="T46" fmla="*/ 113 w 120"/>
                <a:gd name="T47" fmla="*/ 178 h 181"/>
                <a:gd name="T48" fmla="*/ 116 w 120"/>
                <a:gd name="T49" fmla="*/ 176 h 181"/>
                <a:gd name="T50" fmla="*/ 118 w 120"/>
                <a:gd name="T51" fmla="*/ 174 h 181"/>
                <a:gd name="T52" fmla="*/ 119 w 120"/>
                <a:gd name="T53" fmla="*/ 172 h 181"/>
                <a:gd name="T54" fmla="*/ 120 w 120"/>
                <a:gd name="T55" fmla="*/ 168 h 181"/>
                <a:gd name="T56" fmla="*/ 120 w 120"/>
                <a:gd name="T57" fmla="*/ 166 h 181"/>
                <a:gd name="T58" fmla="*/ 120 w 120"/>
                <a:gd name="T59" fmla="*/ 163 h 181"/>
                <a:gd name="T60" fmla="*/ 119 w 120"/>
                <a:gd name="T61" fmla="*/ 160 h 181"/>
                <a:gd name="T62" fmla="*/ 118 w 120"/>
                <a:gd name="T63" fmla="*/ 158 h 181"/>
                <a:gd name="T64" fmla="*/ 116 w 120"/>
                <a:gd name="T65" fmla="*/ 155 h 181"/>
                <a:gd name="T66" fmla="*/ 113 w 120"/>
                <a:gd name="T67" fmla="*/ 153 h 181"/>
                <a:gd name="T68" fmla="*/ 111 w 120"/>
                <a:gd name="T69" fmla="*/ 152 h 181"/>
                <a:gd name="T70" fmla="*/ 108 w 120"/>
                <a:gd name="T71" fmla="*/ 151 h 181"/>
                <a:gd name="T72" fmla="*/ 105 w 120"/>
                <a:gd name="T73" fmla="*/ 15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81">
                  <a:moveTo>
                    <a:pt x="105" y="150"/>
                  </a:moveTo>
                  <a:lnTo>
                    <a:pt x="30" y="150"/>
                  </a:lnTo>
                  <a:lnTo>
                    <a:pt x="30" y="15"/>
                  </a:lnTo>
                  <a:lnTo>
                    <a:pt x="30" y="12"/>
                  </a:lnTo>
                  <a:lnTo>
                    <a:pt x="29" y="10"/>
                  </a:lnTo>
                  <a:lnTo>
                    <a:pt x="28" y="7"/>
                  </a:lnTo>
                  <a:lnTo>
                    <a:pt x="26" y="5"/>
                  </a:lnTo>
                  <a:lnTo>
                    <a:pt x="24" y="4"/>
                  </a:lnTo>
                  <a:lnTo>
                    <a:pt x="20" y="2"/>
                  </a:lnTo>
                  <a:lnTo>
                    <a:pt x="18" y="0"/>
                  </a:lnTo>
                  <a:lnTo>
                    <a:pt x="15" y="0"/>
                  </a:lnTo>
                  <a:lnTo>
                    <a:pt x="12" y="0"/>
                  </a:lnTo>
                  <a:lnTo>
                    <a:pt x="9" y="2"/>
                  </a:lnTo>
                  <a:lnTo>
                    <a:pt x="7" y="4"/>
                  </a:lnTo>
                  <a:lnTo>
                    <a:pt x="4" y="5"/>
                  </a:lnTo>
                  <a:lnTo>
                    <a:pt x="2" y="7"/>
                  </a:lnTo>
                  <a:lnTo>
                    <a:pt x="1" y="10"/>
                  </a:lnTo>
                  <a:lnTo>
                    <a:pt x="0" y="12"/>
                  </a:lnTo>
                  <a:lnTo>
                    <a:pt x="0" y="15"/>
                  </a:lnTo>
                  <a:lnTo>
                    <a:pt x="0" y="181"/>
                  </a:lnTo>
                  <a:lnTo>
                    <a:pt x="105" y="181"/>
                  </a:lnTo>
                  <a:lnTo>
                    <a:pt x="108" y="180"/>
                  </a:lnTo>
                  <a:lnTo>
                    <a:pt x="111" y="179"/>
                  </a:lnTo>
                  <a:lnTo>
                    <a:pt x="113" y="178"/>
                  </a:lnTo>
                  <a:lnTo>
                    <a:pt x="116" y="176"/>
                  </a:lnTo>
                  <a:lnTo>
                    <a:pt x="118" y="174"/>
                  </a:lnTo>
                  <a:lnTo>
                    <a:pt x="119" y="172"/>
                  </a:lnTo>
                  <a:lnTo>
                    <a:pt x="120" y="168"/>
                  </a:lnTo>
                  <a:lnTo>
                    <a:pt x="120" y="166"/>
                  </a:lnTo>
                  <a:lnTo>
                    <a:pt x="120" y="163"/>
                  </a:lnTo>
                  <a:lnTo>
                    <a:pt x="119" y="160"/>
                  </a:lnTo>
                  <a:lnTo>
                    <a:pt x="118" y="158"/>
                  </a:lnTo>
                  <a:lnTo>
                    <a:pt x="116" y="155"/>
                  </a:lnTo>
                  <a:lnTo>
                    <a:pt x="113" y="153"/>
                  </a:lnTo>
                  <a:lnTo>
                    <a:pt x="111" y="152"/>
                  </a:lnTo>
                  <a:lnTo>
                    <a:pt x="108" y="151"/>
                  </a:lnTo>
                  <a:lnTo>
                    <a:pt x="105" y="15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88"/>
            <p:cNvSpPr>
              <a:spLocks noEditPoints="1"/>
            </p:cNvSpPr>
            <p:nvPr/>
          </p:nvSpPr>
          <p:spPr bwMode="auto">
            <a:xfrm>
              <a:off x="7027863" y="798513"/>
              <a:ext cx="247650" cy="201613"/>
            </a:xfrm>
            <a:custGeom>
              <a:avLst/>
              <a:gdLst>
                <a:gd name="T0" fmla="*/ 697 w 781"/>
                <a:gd name="T1" fmla="*/ 30 h 631"/>
                <a:gd name="T2" fmla="*/ 715 w 781"/>
                <a:gd name="T3" fmla="*/ 36 h 631"/>
                <a:gd name="T4" fmla="*/ 729 w 781"/>
                <a:gd name="T5" fmla="*/ 44 h 631"/>
                <a:gd name="T6" fmla="*/ 741 w 781"/>
                <a:gd name="T7" fmla="*/ 57 h 631"/>
                <a:gd name="T8" fmla="*/ 749 w 781"/>
                <a:gd name="T9" fmla="*/ 73 h 631"/>
                <a:gd name="T10" fmla="*/ 751 w 781"/>
                <a:gd name="T11" fmla="*/ 90 h 631"/>
                <a:gd name="T12" fmla="*/ 31 w 781"/>
                <a:gd name="T13" fmla="*/ 90 h 631"/>
                <a:gd name="T14" fmla="*/ 34 w 781"/>
                <a:gd name="T15" fmla="*/ 73 h 631"/>
                <a:gd name="T16" fmla="*/ 41 w 781"/>
                <a:gd name="T17" fmla="*/ 57 h 631"/>
                <a:gd name="T18" fmla="*/ 53 w 781"/>
                <a:gd name="T19" fmla="*/ 44 h 631"/>
                <a:gd name="T20" fmla="*/ 68 w 781"/>
                <a:gd name="T21" fmla="*/ 36 h 631"/>
                <a:gd name="T22" fmla="*/ 85 w 781"/>
                <a:gd name="T23" fmla="*/ 30 h 631"/>
                <a:gd name="T24" fmla="*/ 286 w 781"/>
                <a:gd name="T25" fmla="*/ 600 h 631"/>
                <a:gd name="T26" fmla="*/ 78 w 781"/>
                <a:gd name="T27" fmla="*/ 599 h 631"/>
                <a:gd name="T28" fmla="*/ 62 w 781"/>
                <a:gd name="T29" fmla="*/ 594 h 631"/>
                <a:gd name="T30" fmla="*/ 48 w 781"/>
                <a:gd name="T31" fmla="*/ 583 h 631"/>
                <a:gd name="T32" fmla="*/ 38 w 781"/>
                <a:gd name="T33" fmla="*/ 569 h 631"/>
                <a:gd name="T34" fmla="*/ 32 w 781"/>
                <a:gd name="T35" fmla="*/ 553 h 631"/>
                <a:gd name="T36" fmla="*/ 31 w 781"/>
                <a:gd name="T37" fmla="*/ 180 h 631"/>
                <a:gd name="T38" fmla="*/ 751 w 781"/>
                <a:gd name="T39" fmla="*/ 303 h 631"/>
                <a:gd name="T40" fmla="*/ 755 w 781"/>
                <a:gd name="T41" fmla="*/ 311 h 631"/>
                <a:gd name="T42" fmla="*/ 763 w 781"/>
                <a:gd name="T43" fmla="*/ 315 h 631"/>
                <a:gd name="T44" fmla="*/ 772 w 781"/>
                <a:gd name="T45" fmla="*/ 315 h 631"/>
                <a:gd name="T46" fmla="*/ 779 w 781"/>
                <a:gd name="T47" fmla="*/ 309 h 631"/>
                <a:gd name="T48" fmla="*/ 781 w 781"/>
                <a:gd name="T49" fmla="*/ 301 h 631"/>
                <a:gd name="T50" fmla="*/ 780 w 781"/>
                <a:gd name="T51" fmla="*/ 72 h 631"/>
                <a:gd name="T52" fmla="*/ 770 w 781"/>
                <a:gd name="T53" fmla="*/ 47 h 631"/>
                <a:gd name="T54" fmla="*/ 755 w 781"/>
                <a:gd name="T55" fmla="*/ 27 h 631"/>
                <a:gd name="T56" fmla="*/ 734 w 781"/>
                <a:gd name="T57" fmla="*/ 11 h 631"/>
                <a:gd name="T58" fmla="*/ 709 w 781"/>
                <a:gd name="T59" fmla="*/ 2 h 631"/>
                <a:gd name="T60" fmla="*/ 91 w 781"/>
                <a:gd name="T61" fmla="*/ 0 h 631"/>
                <a:gd name="T62" fmla="*/ 65 w 781"/>
                <a:gd name="T63" fmla="*/ 5 h 631"/>
                <a:gd name="T64" fmla="*/ 41 w 781"/>
                <a:gd name="T65" fmla="*/ 15 h 631"/>
                <a:gd name="T66" fmla="*/ 22 w 781"/>
                <a:gd name="T67" fmla="*/ 33 h 631"/>
                <a:gd name="T68" fmla="*/ 8 w 781"/>
                <a:gd name="T69" fmla="*/ 56 h 631"/>
                <a:gd name="T70" fmla="*/ 1 w 781"/>
                <a:gd name="T71" fmla="*/ 82 h 631"/>
                <a:gd name="T72" fmla="*/ 1 w 781"/>
                <a:gd name="T73" fmla="*/ 550 h 631"/>
                <a:gd name="T74" fmla="*/ 8 w 781"/>
                <a:gd name="T75" fmla="*/ 576 h 631"/>
                <a:gd name="T76" fmla="*/ 22 w 781"/>
                <a:gd name="T77" fmla="*/ 598 h 631"/>
                <a:gd name="T78" fmla="*/ 41 w 781"/>
                <a:gd name="T79" fmla="*/ 615 h 631"/>
                <a:gd name="T80" fmla="*/ 65 w 781"/>
                <a:gd name="T81" fmla="*/ 627 h 631"/>
                <a:gd name="T82" fmla="*/ 91 w 781"/>
                <a:gd name="T83" fmla="*/ 631 h 631"/>
                <a:gd name="T84" fmla="*/ 292 w 781"/>
                <a:gd name="T85" fmla="*/ 629 h 631"/>
                <a:gd name="T86" fmla="*/ 299 w 781"/>
                <a:gd name="T87" fmla="*/ 624 h 631"/>
                <a:gd name="T88" fmla="*/ 301 w 781"/>
                <a:gd name="T89" fmla="*/ 615 h 631"/>
                <a:gd name="T90" fmla="*/ 299 w 781"/>
                <a:gd name="T91" fmla="*/ 608 h 631"/>
                <a:gd name="T92" fmla="*/ 292 w 781"/>
                <a:gd name="T93" fmla="*/ 60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1" h="631">
                  <a:moveTo>
                    <a:pt x="91" y="30"/>
                  </a:moveTo>
                  <a:lnTo>
                    <a:pt x="691" y="30"/>
                  </a:lnTo>
                  <a:lnTo>
                    <a:pt x="697" y="30"/>
                  </a:lnTo>
                  <a:lnTo>
                    <a:pt x="703" y="31"/>
                  </a:lnTo>
                  <a:lnTo>
                    <a:pt x="709" y="33"/>
                  </a:lnTo>
                  <a:lnTo>
                    <a:pt x="715" y="36"/>
                  </a:lnTo>
                  <a:lnTo>
                    <a:pt x="720" y="38"/>
                  </a:lnTo>
                  <a:lnTo>
                    <a:pt x="724" y="41"/>
                  </a:lnTo>
                  <a:lnTo>
                    <a:pt x="729" y="44"/>
                  </a:lnTo>
                  <a:lnTo>
                    <a:pt x="734" y="48"/>
                  </a:lnTo>
                  <a:lnTo>
                    <a:pt x="737" y="53"/>
                  </a:lnTo>
                  <a:lnTo>
                    <a:pt x="741" y="57"/>
                  </a:lnTo>
                  <a:lnTo>
                    <a:pt x="743" y="62"/>
                  </a:lnTo>
                  <a:lnTo>
                    <a:pt x="747" y="67"/>
                  </a:lnTo>
                  <a:lnTo>
                    <a:pt x="749" y="73"/>
                  </a:lnTo>
                  <a:lnTo>
                    <a:pt x="750" y="78"/>
                  </a:lnTo>
                  <a:lnTo>
                    <a:pt x="751" y="85"/>
                  </a:lnTo>
                  <a:lnTo>
                    <a:pt x="751" y="90"/>
                  </a:lnTo>
                  <a:lnTo>
                    <a:pt x="751" y="150"/>
                  </a:lnTo>
                  <a:lnTo>
                    <a:pt x="31" y="150"/>
                  </a:lnTo>
                  <a:lnTo>
                    <a:pt x="31" y="90"/>
                  </a:lnTo>
                  <a:lnTo>
                    <a:pt x="31" y="85"/>
                  </a:lnTo>
                  <a:lnTo>
                    <a:pt x="32" y="78"/>
                  </a:lnTo>
                  <a:lnTo>
                    <a:pt x="34" y="73"/>
                  </a:lnTo>
                  <a:lnTo>
                    <a:pt x="36" y="67"/>
                  </a:lnTo>
                  <a:lnTo>
                    <a:pt x="38" y="61"/>
                  </a:lnTo>
                  <a:lnTo>
                    <a:pt x="41" y="57"/>
                  </a:lnTo>
                  <a:lnTo>
                    <a:pt x="44" y="53"/>
                  </a:lnTo>
                  <a:lnTo>
                    <a:pt x="48" y="48"/>
                  </a:lnTo>
                  <a:lnTo>
                    <a:pt x="53" y="44"/>
                  </a:lnTo>
                  <a:lnTo>
                    <a:pt x="57" y="41"/>
                  </a:lnTo>
                  <a:lnTo>
                    <a:pt x="62" y="38"/>
                  </a:lnTo>
                  <a:lnTo>
                    <a:pt x="68" y="36"/>
                  </a:lnTo>
                  <a:lnTo>
                    <a:pt x="73" y="33"/>
                  </a:lnTo>
                  <a:lnTo>
                    <a:pt x="78" y="31"/>
                  </a:lnTo>
                  <a:lnTo>
                    <a:pt x="85" y="30"/>
                  </a:lnTo>
                  <a:lnTo>
                    <a:pt x="91" y="30"/>
                  </a:lnTo>
                  <a:lnTo>
                    <a:pt x="91" y="30"/>
                  </a:lnTo>
                  <a:close/>
                  <a:moveTo>
                    <a:pt x="286" y="600"/>
                  </a:moveTo>
                  <a:lnTo>
                    <a:pt x="91" y="600"/>
                  </a:lnTo>
                  <a:lnTo>
                    <a:pt x="85" y="600"/>
                  </a:lnTo>
                  <a:lnTo>
                    <a:pt x="78" y="599"/>
                  </a:lnTo>
                  <a:lnTo>
                    <a:pt x="73" y="598"/>
                  </a:lnTo>
                  <a:lnTo>
                    <a:pt x="68" y="596"/>
                  </a:lnTo>
                  <a:lnTo>
                    <a:pt x="62" y="594"/>
                  </a:lnTo>
                  <a:lnTo>
                    <a:pt x="57" y="591"/>
                  </a:lnTo>
                  <a:lnTo>
                    <a:pt x="53" y="587"/>
                  </a:lnTo>
                  <a:lnTo>
                    <a:pt x="48" y="583"/>
                  </a:lnTo>
                  <a:lnTo>
                    <a:pt x="44" y="579"/>
                  </a:lnTo>
                  <a:lnTo>
                    <a:pt x="41" y="575"/>
                  </a:lnTo>
                  <a:lnTo>
                    <a:pt x="38" y="569"/>
                  </a:lnTo>
                  <a:lnTo>
                    <a:pt x="36" y="564"/>
                  </a:lnTo>
                  <a:lnTo>
                    <a:pt x="34" y="559"/>
                  </a:lnTo>
                  <a:lnTo>
                    <a:pt x="32" y="553"/>
                  </a:lnTo>
                  <a:lnTo>
                    <a:pt x="31" y="547"/>
                  </a:lnTo>
                  <a:lnTo>
                    <a:pt x="31" y="540"/>
                  </a:lnTo>
                  <a:lnTo>
                    <a:pt x="31" y="180"/>
                  </a:lnTo>
                  <a:lnTo>
                    <a:pt x="751" y="180"/>
                  </a:lnTo>
                  <a:lnTo>
                    <a:pt x="751" y="301"/>
                  </a:lnTo>
                  <a:lnTo>
                    <a:pt x="751" y="303"/>
                  </a:lnTo>
                  <a:lnTo>
                    <a:pt x="752" y="306"/>
                  </a:lnTo>
                  <a:lnTo>
                    <a:pt x="754" y="309"/>
                  </a:lnTo>
                  <a:lnTo>
                    <a:pt x="755" y="311"/>
                  </a:lnTo>
                  <a:lnTo>
                    <a:pt x="757" y="313"/>
                  </a:lnTo>
                  <a:lnTo>
                    <a:pt x="760" y="315"/>
                  </a:lnTo>
                  <a:lnTo>
                    <a:pt x="763" y="315"/>
                  </a:lnTo>
                  <a:lnTo>
                    <a:pt x="766" y="316"/>
                  </a:lnTo>
                  <a:lnTo>
                    <a:pt x="769" y="315"/>
                  </a:lnTo>
                  <a:lnTo>
                    <a:pt x="772" y="315"/>
                  </a:lnTo>
                  <a:lnTo>
                    <a:pt x="774" y="313"/>
                  </a:lnTo>
                  <a:lnTo>
                    <a:pt x="777" y="311"/>
                  </a:lnTo>
                  <a:lnTo>
                    <a:pt x="779" y="309"/>
                  </a:lnTo>
                  <a:lnTo>
                    <a:pt x="780" y="306"/>
                  </a:lnTo>
                  <a:lnTo>
                    <a:pt x="781" y="304"/>
                  </a:lnTo>
                  <a:lnTo>
                    <a:pt x="781" y="301"/>
                  </a:lnTo>
                  <a:lnTo>
                    <a:pt x="781" y="90"/>
                  </a:lnTo>
                  <a:lnTo>
                    <a:pt x="781" y="82"/>
                  </a:lnTo>
                  <a:lnTo>
                    <a:pt x="780" y="72"/>
                  </a:lnTo>
                  <a:lnTo>
                    <a:pt x="777" y="63"/>
                  </a:lnTo>
                  <a:lnTo>
                    <a:pt x="774" y="56"/>
                  </a:lnTo>
                  <a:lnTo>
                    <a:pt x="770" y="47"/>
                  </a:lnTo>
                  <a:lnTo>
                    <a:pt x="766" y="40"/>
                  </a:lnTo>
                  <a:lnTo>
                    <a:pt x="760" y="33"/>
                  </a:lnTo>
                  <a:lnTo>
                    <a:pt x="755" y="27"/>
                  </a:lnTo>
                  <a:lnTo>
                    <a:pt x="749" y="21"/>
                  </a:lnTo>
                  <a:lnTo>
                    <a:pt x="741" y="15"/>
                  </a:lnTo>
                  <a:lnTo>
                    <a:pt x="734" y="11"/>
                  </a:lnTo>
                  <a:lnTo>
                    <a:pt x="726" y="8"/>
                  </a:lnTo>
                  <a:lnTo>
                    <a:pt x="718" y="5"/>
                  </a:lnTo>
                  <a:lnTo>
                    <a:pt x="709" y="2"/>
                  </a:lnTo>
                  <a:lnTo>
                    <a:pt x="701" y="1"/>
                  </a:lnTo>
                  <a:lnTo>
                    <a:pt x="691" y="0"/>
                  </a:lnTo>
                  <a:lnTo>
                    <a:pt x="91" y="0"/>
                  </a:lnTo>
                  <a:lnTo>
                    <a:pt x="82" y="0"/>
                  </a:lnTo>
                  <a:lnTo>
                    <a:pt x="73" y="2"/>
                  </a:lnTo>
                  <a:lnTo>
                    <a:pt x="65" y="5"/>
                  </a:lnTo>
                  <a:lnTo>
                    <a:pt x="56" y="8"/>
                  </a:lnTo>
                  <a:lnTo>
                    <a:pt x="48" y="11"/>
                  </a:lnTo>
                  <a:lnTo>
                    <a:pt x="41" y="15"/>
                  </a:lnTo>
                  <a:lnTo>
                    <a:pt x="34" y="21"/>
                  </a:lnTo>
                  <a:lnTo>
                    <a:pt x="27" y="27"/>
                  </a:lnTo>
                  <a:lnTo>
                    <a:pt x="22" y="33"/>
                  </a:lnTo>
                  <a:lnTo>
                    <a:pt x="16" y="40"/>
                  </a:lnTo>
                  <a:lnTo>
                    <a:pt x="12" y="47"/>
                  </a:lnTo>
                  <a:lnTo>
                    <a:pt x="8" y="56"/>
                  </a:lnTo>
                  <a:lnTo>
                    <a:pt x="5" y="63"/>
                  </a:lnTo>
                  <a:lnTo>
                    <a:pt x="3" y="72"/>
                  </a:lnTo>
                  <a:lnTo>
                    <a:pt x="1" y="82"/>
                  </a:lnTo>
                  <a:lnTo>
                    <a:pt x="0" y="90"/>
                  </a:lnTo>
                  <a:lnTo>
                    <a:pt x="0" y="540"/>
                  </a:lnTo>
                  <a:lnTo>
                    <a:pt x="1" y="550"/>
                  </a:lnTo>
                  <a:lnTo>
                    <a:pt x="3" y="559"/>
                  </a:lnTo>
                  <a:lnTo>
                    <a:pt x="5" y="567"/>
                  </a:lnTo>
                  <a:lnTo>
                    <a:pt x="8" y="576"/>
                  </a:lnTo>
                  <a:lnTo>
                    <a:pt x="12" y="583"/>
                  </a:lnTo>
                  <a:lnTo>
                    <a:pt x="16" y="591"/>
                  </a:lnTo>
                  <a:lnTo>
                    <a:pt x="22" y="598"/>
                  </a:lnTo>
                  <a:lnTo>
                    <a:pt x="27" y="604"/>
                  </a:lnTo>
                  <a:lnTo>
                    <a:pt x="34" y="610"/>
                  </a:lnTo>
                  <a:lnTo>
                    <a:pt x="41" y="615"/>
                  </a:lnTo>
                  <a:lnTo>
                    <a:pt x="48" y="619"/>
                  </a:lnTo>
                  <a:lnTo>
                    <a:pt x="56" y="624"/>
                  </a:lnTo>
                  <a:lnTo>
                    <a:pt x="65" y="627"/>
                  </a:lnTo>
                  <a:lnTo>
                    <a:pt x="73" y="629"/>
                  </a:lnTo>
                  <a:lnTo>
                    <a:pt x="82" y="630"/>
                  </a:lnTo>
                  <a:lnTo>
                    <a:pt x="91" y="631"/>
                  </a:lnTo>
                  <a:lnTo>
                    <a:pt x="286" y="630"/>
                  </a:lnTo>
                  <a:lnTo>
                    <a:pt x="289" y="630"/>
                  </a:lnTo>
                  <a:lnTo>
                    <a:pt x="292" y="629"/>
                  </a:lnTo>
                  <a:lnTo>
                    <a:pt x="294" y="628"/>
                  </a:lnTo>
                  <a:lnTo>
                    <a:pt x="297" y="626"/>
                  </a:lnTo>
                  <a:lnTo>
                    <a:pt x="299" y="624"/>
                  </a:lnTo>
                  <a:lnTo>
                    <a:pt x="300" y="622"/>
                  </a:lnTo>
                  <a:lnTo>
                    <a:pt x="301" y="618"/>
                  </a:lnTo>
                  <a:lnTo>
                    <a:pt x="301" y="615"/>
                  </a:lnTo>
                  <a:lnTo>
                    <a:pt x="301" y="613"/>
                  </a:lnTo>
                  <a:lnTo>
                    <a:pt x="300" y="610"/>
                  </a:lnTo>
                  <a:lnTo>
                    <a:pt x="299" y="608"/>
                  </a:lnTo>
                  <a:lnTo>
                    <a:pt x="297" y="606"/>
                  </a:lnTo>
                  <a:lnTo>
                    <a:pt x="294" y="603"/>
                  </a:lnTo>
                  <a:lnTo>
                    <a:pt x="292" y="602"/>
                  </a:lnTo>
                  <a:lnTo>
                    <a:pt x="289" y="601"/>
                  </a:lnTo>
                  <a:lnTo>
                    <a:pt x="286" y="60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89"/>
            <p:cNvSpPr>
              <a:spLocks/>
            </p:cNvSpPr>
            <p:nvPr/>
          </p:nvSpPr>
          <p:spPr bwMode="auto">
            <a:xfrm>
              <a:off x="7056438" y="817563"/>
              <a:ext cx="19050" cy="19050"/>
            </a:xfrm>
            <a:custGeom>
              <a:avLst/>
              <a:gdLst>
                <a:gd name="T0" fmla="*/ 30 w 60"/>
                <a:gd name="T1" fmla="*/ 60 h 60"/>
                <a:gd name="T2" fmla="*/ 36 w 60"/>
                <a:gd name="T3" fmla="*/ 60 h 60"/>
                <a:gd name="T4" fmla="*/ 42 w 60"/>
                <a:gd name="T5" fmla="*/ 58 h 60"/>
                <a:gd name="T6" fmla="*/ 46 w 60"/>
                <a:gd name="T7" fmla="*/ 56 h 60"/>
                <a:gd name="T8" fmla="*/ 52 w 60"/>
                <a:gd name="T9" fmla="*/ 52 h 60"/>
                <a:gd name="T10" fmla="*/ 55 w 60"/>
                <a:gd name="T11" fmla="*/ 47 h 60"/>
                <a:gd name="T12" fmla="*/ 58 w 60"/>
                <a:gd name="T13" fmla="*/ 42 h 60"/>
                <a:gd name="T14" fmla="*/ 59 w 60"/>
                <a:gd name="T15" fmla="*/ 37 h 60"/>
                <a:gd name="T16" fmla="*/ 60 w 60"/>
                <a:gd name="T17" fmla="*/ 30 h 60"/>
                <a:gd name="T18" fmla="*/ 59 w 60"/>
                <a:gd name="T19" fmla="*/ 25 h 60"/>
                <a:gd name="T20" fmla="*/ 58 w 60"/>
                <a:gd name="T21" fmla="*/ 18 h 60"/>
                <a:gd name="T22" fmla="*/ 55 w 60"/>
                <a:gd name="T23" fmla="*/ 14 h 60"/>
                <a:gd name="T24" fmla="*/ 52 w 60"/>
                <a:gd name="T25" fmla="*/ 9 h 60"/>
                <a:gd name="T26" fmla="*/ 46 w 60"/>
                <a:gd name="T27" fmla="*/ 6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6 h 60"/>
                <a:gd name="T40" fmla="*/ 9 w 60"/>
                <a:gd name="T41" fmla="*/ 9 h 60"/>
                <a:gd name="T42" fmla="*/ 5 w 60"/>
                <a:gd name="T43" fmla="*/ 14 h 60"/>
                <a:gd name="T44" fmla="*/ 2 w 60"/>
                <a:gd name="T45" fmla="*/ 18 h 60"/>
                <a:gd name="T46" fmla="*/ 0 w 60"/>
                <a:gd name="T47" fmla="*/ 25 h 60"/>
                <a:gd name="T48" fmla="*/ 0 w 60"/>
                <a:gd name="T49" fmla="*/ 30 h 60"/>
                <a:gd name="T50" fmla="*/ 0 w 60"/>
                <a:gd name="T51" fmla="*/ 37 h 60"/>
                <a:gd name="T52" fmla="*/ 2 w 60"/>
                <a:gd name="T53" fmla="*/ 42 h 60"/>
                <a:gd name="T54" fmla="*/ 5 w 60"/>
                <a:gd name="T55" fmla="*/ 47 h 60"/>
                <a:gd name="T56" fmla="*/ 9 w 60"/>
                <a:gd name="T57" fmla="*/ 52 h 60"/>
                <a:gd name="T58" fmla="*/ 13 w 60"/>
                <a:gd name="T59" fmla="*/ 56 h 60"/>
                <a:gd name="T60" fmla="*/ 18 w 60"/>
                <a:gd name="T61" fmla="*/ 58 h 60"/>
                <a:gd name="T62" fmla="*/ 24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6" y="56"/>
                  </a:lnTo>
                  <a:lnTo>
                    <a:pt x="52" y="52"/>
                  </a:lnTo>
                  <a:lnTo>
                    <a:pt x="55" y="47"/>
                  </a:lnTo>
                  <a:lnTo>
                    <a:pt x="58" y="42"/>
                  </a:lnTo>
                  <a:lnTo>
                    <a:pt x="59" y="37"/>
                  </a:lnTo>
                  <a:lnTo>
                    <a:pt x="60" y="30"/>
                  </a:lnTo>
                  <a:lnTo>
                    <a:pt x="59" y="25"/>
                  </a:lnTo>
                  <a:lnTo>
                    <a:pt x="58" y="18"/>
                  </a:lnTo>
                  <a:lnTo>
                    <a:pt x="55" y="14"/>
                  </a:lnTo>
                  <a:lnTo>
                    <a:pt x="52" y="9"/>
                  </a:lnTo>
                  <a:lnTo>
                    <a:pt x="46" y="6"/>
                  </a:lnTo>
                  <a:lnTo>
                    <a:pt x="42" y="2"/>
                  </a:lnTo>
                  <a:lnTo>
                    <a:pt x="36" y="1"/>
                  </a:lnTo>
                  <a:lnTo>
                    <a:pt x="30" y="0"/>
                  </a:lnTo>
                  <a:lnTo>
                    <a:pt x="24" y="1"/>
                  </a:lnTo>
                  <a:lnTo>
                    <a:pt x="18" y="2"/>
                  </a:lnTo>
                  <a:lnTo>
                    <a:pt x="13" y="6"/>
                  </a:lnTo>
                  <a:lnTo>
                    <a:pt x="9" y="9"/>
                  </a:lnTo>
                  <a:lnTo>
                    <a:pt x="5" y="14"/>
                  </a:lnTo>
                  <a:lnTo>
                    <a:pt x="2" y="18"/>
                  </a:lnTo>
                  <a:lnTo>
                    <a:pt x="0" y="25"/>
                  </a:lnTo>
                  <a:lnTo>
                    <a:pt x="0" y="30"/>
                  </a:lnTo>
                  <a:lnTo>
                    <a:pt x="0" y="37"/>
                  </a:lnTo>
                  <a:lnTo>
                    <a:pt x="2" y="42"/>
                  </a:lnTo>
                  <a:lnTo>
                    <a:pt x="5" y="47"/>
                  </a:lnTo>
                  <a:lnTo>
                    <a:pt x="9" y="52"/>
                  </a:lnTo>
                  <a:lnTo>
                    <a:pt x="13" y="56"/>
                  </a:lnTo>
                  <a:lnTo>
                    <a:pt x="18" y="58"/>
                  </a:lnTo>
                  <a:lnTo>
                    <a:pt x="24"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90"/>
            <p:cNvSpPr>
              <a:spLocks/>
            </p:cNvSpPr>
            <p:nvPr/>
          </p:nvSpPr>
          <p:spPr bwMode="auto">
            <a:xfrm>
              <a:off x="7085013" y="817563"/>
              <a:ext cx="19050" cy="19050"/>
            </a:xfrm>
            <a:custGeom>
              <a:avLst/>
              <a:gdLst>
                <a:gd name="T0" fmla="*/ 30 w 60"/>
                <a:gd name="T1" fmla="*/ 60 h 60"/>
                <a:gd name="T2" fmla="*/ 36 w 60"/>
                <a:gd name="T3" fmla="*/ 60 h 60"/>
                <a:gd name="T4" fmla="*/ 42 w 60"/>
                <a:gd name="T5" fmla="*/ 58 h 60"/>
                <a:gd name="T6" fmla="*/ 47 w 60"/>
                <a:gd name="T7" fmla="*/ 56 h 60"/>
                <a:gd name="T8" fmla="*/ 51 w 60"/>
                <a:gd name="T9" fmla="*/ 52 h 60"/>
                <a:gd name="T10" fmla="*/ 55 w 60"/>
                <a:gd name="T11" fmla="*/ 47 h 60"/>
                <a:gd name="T12" fmla="*/ 58 w 60"/>
                <a:gd name="T13" fmla="*/ 42 h 60"/>
                <a:gd name="T14" fmla="*/ 59 w 60"/>
                <a:gd name="T15" fmla="*/ 37 h 60"/>
                <a:gd name="T16" fmla="*/ 60 w 60"/>
                <a:gd name="T17" fmla="*/ 30 h 60"/>
                <a:gd name="T18" fmla="*/ 59 w 60"/>
                <a:gd name="T19" fmla="*/ 25 h 60"/>
                <a:gd name="T20" fmla="*/ 58 w 60"/>
                <a:gd name="T21" fmla="*/ 18 h 60"/>
                <a:gd name="T22" fmla="*/ 55 w 60"/>
                <a:gd name="T23" fmla="*/ 14 h 60"/>
                <a:gd name="T24" fmla="*/ 51 w 60"/>
                <a:gd name="T25" fmla="*/ 9 h 60"/>
                <a:gd name="T26" fmla="*/ 47 w 60"/>
                <a:gd name="T27" fmla="*/ 6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6 h 60"/>
                <a:gd name="T40" fmla="*/ 9 w 60"/>
                <a:gd name="T41" fmla="*/ 9 h 60"/>
                <a:gd name="T42" fmla="*/ 5 w 60"/>
                <a:gd name="T43" fmla="*/ 14 h 60"/>
                <a:gd name="T44" fmla="*/ 2 w 60"/>
                <a:gd name="T45" fmla="*/ 18 h 60"/>
                <a:gd name="T46" fmla="*/ 0 w 60"/>
                <a:gd name="T47" fmla="*/ 25 h 60"/>
                <a:gd name="T48" fmla="*/ 0 w 60"/>
                <a:gd name="T49" fmla="*/ 30 h 60"/>
                <a:gd name="T50" fmla="*/ 0 w 60"/>
                <a:gd name="T51" fmla="*/ 37 h 60"/>
                <a:gd name="T52" fmla="*/ 2 w 60"/>
                <a:gd name="T53" fmla="*/ 42 h 60"/>
                <a:gd name="T54" fmla="*/ 5 w 60"/>
                <a:gd name="T55" fmla="*/ 47 h 60"/>
                <a:gd name="T56" fmla="*/ 9 w 60"/>
                <a:gd name="T57" fmla="*/ 52 h 60"/>
                <a:gd name="T58" fmla="*/ 13 w 60"/>
                <a:gd name="T59" fmla="*/ 56 h 60"/>
                <a:gd name="T60" fmla="*/ 18 w 60"/>
                <a:gd name="T61" fmla="*/ 58 h 60"/>
                <a:gd name="T62" fmla="*/ 24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7" y="56"/>
                  </a:lnTo>
                  <a:lnTo>
                    <a:pt x="51" y="52"/>
                  </a:lnTo>
                  <a:lnTo>
                    <a:pt x="55" y="47"/>
                  </a:lnTo>
                  <a:lnTo>
                    <a:pt x="58" y="42"/>
                  </a:lnTo>
                  <a:lnTo>
                    <a:pt x="59" y="37"/>
                  </a:lnTo>
                  <a:lnTo>
                    <a:pt x="60" y="30"/>
                  </a:lnTo>
                  <a:lnTo>
                    <a:pt x="59" y="25"/>
                  </a:lnTo>
                  <a:lnTo>
                    <a:pt x="58" y="18"/>
                  </a:lnTo>
                  <a:lnTo>
                    <a:pt x="55" y="14"/>
                  </a:lnTo>
                  <a:lnTo>
                    <a:pt x="51" y="9"/>
                  </a:lnTo>
                  <a:lnTo>
                    <a:pt x="47" y="6"/>
                  </a:lnTo>
                  <a:lnTo>
                    <a:pt x="42" y="2"/>
                  </a:lnTo>
                  <a:lnTo>
                    <a:pt x="36" y="1"/>
                  </a:lnTo>
                  <a:lnTo>
                    <a:pt x="30" y="0"/>
                  </a:lnTo>
                  <a:lnTo>
                    <a:pt x="24" y="1"/>
                  </a:lnTo>
                  <a:lnTo>
                    <a:pt x="18" y="2"/>
                  </a:lnTo>
                  <a:lnTo>
                    <a:pt x="13" y="6"/>
                  </a:lnTo>
                  <a:lnTo>
                    <a:pt x="9" y="9"/>
                  </a:lnTo>
                  <a:lnTo>
                    <a:pt x="5" y="14"/>
                  </a:lnTo>
                  <a:lnTo>
                    <a:pt x="2" y="18"/>
                  </a:lnTo>
                  <a:lnTo>
                    <a:pt x="0" y="25"/>
                  </a:lnTo>
                  <a:lnTo>
                    <a:pt x="0" y="30"/>
                  </a:lnTo>
                  <a:lnTo>
                    <a:pt x="0" y="37"/>
                  </a:lnTo>
                  <a:lnTo>
                    <a:pt x="2" y="42"/>
                  </a:lnTo>
                  <a:lnTo>
                    <a:pt x="5" y="47"/>
                  </a:lnTo>
                  <a:lnTo>
                    <a:pt x="9" y="52"/>
                  </a:lnTo>
                  <a:lnTo>
                    <a:pt x="13" y="56"/>
                  </a:lnTo>
                  <a:lnTo>
                    <a:pt x="18" y="58"/>
                  </a:lnTo>
                  <a:lnTo>
                    <a:pt x="24"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91"/>
            <p:cNvSpPr>
              <a:spLocks/>
            </p:cNvSpPr>
            <p:nvPr/>
          </p:nvSpPr>
          <p:spPr bwMode="auto">
            <a:xfrm>
              <a:off x="7113588" y="817563"/>
              <a:ext cx="19050" cy="19050"/>
            </a:xfrm>
            <a:custGeom>
              <a:avLst/>
              <a:gdLst>
                <a:gd name="T0" fmla="*/ 30 w 60"/>
                <a:gd name="T1" fmla="*/ 60 h 60"/>
                <a:gd name="T2" fmla="*/ 36 w 60"/>
                <a:gd name="T3" fmla="*/ 60 h 60"/>
                <a:gd name="T4" fmla="*/ 42 w 60"/>
                <a:gd name="T5" fmla="*/ 58 h 60"/>
                <a:gd name="T6" fmla="*/ 47 w 60"/>
                <a:gd name="T7" fmla="*/ 56 h 60"/>
                <a:gd name="T8" fmla="*/ 51 w 60"/>
                <a:gd name="T9" fmla="*/ 52 h 60"/>
                <a:gd name="T10" fmla="*/ 54 w 60"/>
                <a:gd name="T11" fmla="*/ 47 h 60"/>
                <a:gd name="T12" fmla="*/ 58 w 60"/>
                <a:gd name="T13" fmla="*/ 42 h 60"/>
                <a:gd name="T14" fmla="*/ 60 w 60"/>
                <a:gd name="T15" fmla="*/ 37 h 60"/>
                <a:gd name="T16" fmla="*/ 60 w 60"/>
                <a:gd name="T17" fmla="*/ 30 h 60"/>
                <a:gd name="T18" fmla="*/ 60 w 60"/>
                <a:gd name="T19" fmla="*/ 25 h 60"/>
                <a:gd name="T20" fmla="*/ 58 w 60"/>
                <a:gd name="T21" fmla="*/ 18 h 60"/>
                <a:gd name="T22" fmla="*/ 54 w 60"/>
                <a:gd name="T23" fmla="*/ 14 h 60"/>
                <a:gd name="T24" fmla="*/ 51 w 60"/>
                <a:gd name="T25" fmla="*/ 9 h 60"/>
                <a:gd name="T26" fmla="*/ 47 w 60"/>
                <a:gd name="T27" fmla="*/ 6 h 60"/>
                <a:gd name="T28" fmla="*/ 42 w 60"/>
                <a:gd name="T29" fmla="*/ 2 h 60"/>
                <a:gd name="T30" fmla="*/ 36 w 60"/>
                <a:gd name="T31" fmla="*/ 1 h 60"/>
                <a:gd name="T32" fmla="*/ 30 w 60"/>
                <a:gd name="T33" fmla="*/ 0 h 60"/>
                <a:gd name="T34" fmla="*/ 23 w 60"/>
                <a:gd name="T35" fmla="*/ 1 h 60"/>
                <a:gd name="T36" fmla="*/ 18 w 60"/>
                <a:gd name="T37" fmla="*/ 2 h 60"/>
                <a:gd name="T38" fmla="*/ 13 w 60"/>
                <a:gd name="T39" fmla="*/ 6 h 60"/>
                <a:gd name="T40" fmla="*/ 8 w 60"/>
                <a:gd name="T41" fmla="*/ 9 h 60"/>
                <a:gd name="T42" fmla="*/ 5 w 60"/>
                <a:gd name="T43" fmla="*/ 14 h 60"/>
                <a:gd name="T44" fmla="*/ 2 w 60"/>
                <a:gd name="T45" fmla="*/ 18 h 60"/>
                <a:gd name="T46" fmla="*/ 1 w 60"/>
                <a:gd name="T47" fmla="*/ 25 h 60"/>
                <a:gd name="T48" fmla="*/ 0 w 60"/>
                <a:gd name="T49" fmla="*/ 30 h 60"/>
                <a:gd name="T50" fmla="*/ 1 w 60"/>
                <a:gd name="T51" fmla="*/ 37 h 60"/>
                <a:gd name="T52" fmla="*/ 2 w 60"/>
                <a:gd name="T53" fmla="*/ 42 h 60"/>
                <a:gd name="T54" fmla="*/ 5 w 60"/>
                <a:gd name="T55" fmla="*/ 47 h 60"/>
                <a:gd name="T56" fmla="*/ 8 w 60"/>
                <a:gd name="T57" fmla="*/ 52 h 60"/>
                <a:gd name="T58" fmla="*/ 13 w 60"/>
                <a:gd name="T59" fmla="*/ 56 h 60"/>
                <a:gd name="T60" fmla="*/ 18 w 60"/>
                <a:gd name="T61" fmla="*/ 58 h 60"/>
                <a:gd name="T62" fmla="*/ 23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7" y="56"/>
                  </a:lnTo>
                  <a:lnTo>
                    <a:pt x="51" y="52"/>
                  </a:lnTo>
                  <a:lnTo>
                    <a:pt x="54" y="47"/>
                  </a:lnTo>
                  <a:lnTo>
                    <a:pt x="58" y="42"/>
                  </a:lnTo>
                  <a:lnTo>
                    <a:pt x="60" y="37"/>
                  </a:lnTo>
                  <a:lnTo>
                    <a:pt x="60" y="30"/>
                  </a:lnTo>
                  <a:lnTo>
                    <a:pt x="60" y="25"/>
                  </a:lnTo>
                  <a:lnTo>
                    <a:pt x="58" y="18"/>
                  </a:lnTo>
                  <a:lnTo>
                    <a:pt x="54" y="14"/>
                  </a:lnTo>
                  <a:lnTo>
                    <a:pt x="51" y="9"/>
                  </a:lnTo>
                  <a:lnTo>
                    <a:pt x="47" y="6"/>
                  </a:lnTo>
                  <a:lnTo>
                    <a:pt x="42" y="2"/>
                  </a:lnTo>
                  <a:lnTo>
                    <a:pt x="36" y="1"/>
                  </a:lnTo>
                  <a:lnTo>
                    <a:pt x="30" y="0"/>
                  </a:lnTo>
                  <a:lnTo>
                    <a:pt x="23" y="1"/>
                  </a:lnTo>
                  <a:lnTo>
                    <a:pt x="18" y="2"/>
                  </a:lnTo>
                  <a:lnTo>
                    <a:pt x="13" y="6"/>
                  </a:lnTo>
                  <a:lnTo>
                    <a:pt x="8" y="9"/>
                  </a:lnTo>
                  <a:lnTo>
                    <a:pt x="5" y="14"/>
                  </a:lnTo>
                  <a:lnTo>
                    <a:pt x="2" y="18"/>
                  </a:lnTo>
                  <a:lnTo>
                    <a:pt x="1" y="25"/>
                  </a:lnTo>
                  <a:lnTo>
                    <a:pt x="0" y="30"/>
                  </a:lnTo>
                  <a:lnTo>
                    <a:pt x="1" y="37"/>
                  </a:lnTo>
                  <a:lnTo>
                    <a:pt x="2" y="42"/>
                  </a:lnTo>
                  <a:lnTo>
                    <a:pt x="5" y="47"/>
                  </a:lnTo>
                  <a:lnTo>
                    <a:pt x="8" y="52"/>
                  </a:lnTo>
                  <a:lnTo>
                    <a:pt x="13" y="56"/>
                  </a:lnTo>
                  <a:lnTo>
                    <a:pt x="18" y="58"/>
                  </a:lnTo>
                  <a:lnTo>
                    <a:pt x="23"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2"/>
            <p:cNvSpPr>
              <a:spLocks noEditPoints="1"/>
            </p:cNvSpPr>
            <p:nvPr/>
          </p:nvSpPr>
          <p:spPr bwMode="auto">
            <a:xfrm>
              <a:off x="7151688" y="923925"/>
              <a:ext cx="161925" cy="161925"/>
            </a:xfrm>
            <a:custGeom>
              <a:avLst/>
              <a:gdLst>
                <a:gd name="T0" fmla="*/ 221 w 510"/>
                <a:gd name="T1" fmla="*/ 478 h 510"/>
                <a:gd name="T2" fmla="*/ 178 w 510"/>
                <a:gd name="T3" fmla="*/ 466 h 510"/>
                <a:gd name="T4" fmla="*/ 112 w 510"/>
                <a:gd name="T5" fmla="*/ 428 h 510"/>
                <a:gd name="T6" fmla="*/ 57 w 510"/>
                <a:gd name="T7" fmla="*/ 362 h 510"/>
                <a:gd name="T8" fmla="*/ 37 w 510"/>
                <a:gd name="T9" fmla="*/ 311 h 510"/>
                <a:gd name="T10" fmla="*/ 31 w 510"/>
                <a:gd name="T11" fmla="*/ 266 h 510"/>
                <a:gd name="T12" fmla="*/ 33 w 510"/>
                <a:gd name="T13" fmla="*/ 221 h 510"/>
                <a:gd name="T14" fmla="*/ 43 w 510"/>
                <a:gd name="T15" fmla="*/ 177 h 510"/>
                <a:gd name="T16" fmla="*/ 82 w 510"/>
                <a:gd name="T17" fmla="*/ 112 h 510"/>
                <a:gd name="T18" fmla="*/ 148 w 510"/>
                <a:gd name="T19" fmla="*/ 56 h 510"/>
                <a:gd name="T20" fmla="*/ 198 w 510"/>
                <a:gd name="T21" fmla="*/ 37 h 510"/>
                <a:gd name="T22" fmla="*/ 243 w 510"/>
                <a:gd name="T23" fmla="*/ 30 h 510"/>
                <a:gd name="T24" fmla="*/ 289 w 510"/>
                <a:gd name="T25" fmla="*/ 32 h 510"/>
                <a:gd name="T26" fmla="*/ 332 w 510"/>
                <a:gd name="T27" fmla="*/ 43 h 510"/>
                <a:gd name="T28" fmla="*/ 398 w 510"/>
                <a:gd name="T29" fmla="*/ 81 h 510"/>
                <a:gd name="T30" fmla="*/ 453 w 510"/>
                <a:gd name="T31" fmla="*/ 147 h 510"/>
                <a:gd name="T32" fmla="*/ 473 w 510"/>
                <a:gd name="T33" fmla="*/ 199 h 510"/>
                <a:gd name="T34" fmla="*/ 480 w 510"/>
                <a:gd name="T35" fmla="*/ 243 h 510"/>
                <a:gd name="T36" fmla="*/ 477 w 510"/>
                <a:gd name="T37" fmla="*/ 289 h 510"/>
                <a:gd name="T38" fmla="*/ 467 w 510"/>
                <a:gd name="T39" fmla="*/ 332 h 510"/>
                <a:gd name="T40" fmla="*/ 428 w 510"/>
                <a:gd name="T41" fmla="*/ 397 h 510"/>
                <a:gd name="T42" fmla="*/ 362 w 510"/>
                <a:gd name="T43" fmla="*/ 453 h 510"/>
                <a:gd name="T44" fmla="*/ 311 w 510"/>
                <a:gd name="T45" fmla="*/ 472 h 510"/>
                <a:gd name="T46" fmla="*/ 267 w 510"/>
                <a:gd name="T47" fmla="*/ 480 h 510"/>
                <a:gd name="T48" fmla="*/ 229 w 510"/>
                <a:gd name="T49" fmla="*/ 1 h 510"/>
                <a:gd name="T50" fmla="*/ 179 w 510"/>
                <a:gd name="T51" fmla="*/ 11 h 510"/>
                <a:gd name="T52" fmla="*/ 133 w 510"/>
                <a:gd name="T53" fmla="*/ 31 h 510"/>
                <a:gd name="T54" fmla="*/ 93 w 510"/>
                <a:gd name="T55" fmla="*/ 57 h 510"/>
                <a:gd name="T56" fmla="*/ 58 w 510"/>
                <a:gd name="T57" fmla="*/ 93 h 510"/>
                <a:gd name="T58" fmla="*/ 31 w 510"/>
                <a:gd name="T59" fmla="*/ 133 h 510"/>
                <a:gd name="T60" fmla="*/ 11 w 510"/>
                <a:gd name="T61" fmla="*/ 179 h 510"/>
                <a:gd name="T62" fmla="*/ 2 w 510"/>
                <a:gd name="T63" fmla="*/ 228 h 510"/>
                <a:gd name="T64" fmla="*/ 2 w 510"/>
                <a:gd name="T65" fmla="*/ 281 h 510"/>
                <a:gd name="T66" fmla="*/ 11 w 510"/>
                <a:gd name="T67" fmla="*/ 330 h 510"/>
                <a:gd name="T68" fmla="*/ 31 w 510"/>
                <a:gd name="T69" fmla="*/ 376 h 510"/>
                <a:gd name="T70" fmla="*/ 58 w 510"/>
                <a:gd name="T71" fmla="*/ 417 h 510"/>
                <a:gd name="T72" fmla="*/ 93 w 510"/>
                <a:gd name="T73" fmla="*/ 452 h 510"/>
                <a:gd name="T74" fmla="*/ 133 w 510"/>
                <a:gd name="T75" fmla="*/ 479 h 510"/>
                <a:gd name="T76" fmla="*/ 179 w 510"/>
                <a:gd name="T77" fmla="*/ 498 h 510"/>
                <a:gd name="T78" fmla="*/ 229 w 510"/>
                <a:gd name="T79" fmla="*/ 509 h 510"/>
                <a:gd name="T80" fmla="*/ 281 w 510"/>
                <a:gd name="T81" fmla="*/ 509 h 510"/>
                <a:gd name="T82" fmla="*/ 331 w 510"/>
                <a:gd name="T83" fmla="*/ 498 h 510"/>
                <a:gd name="T84" fmla="*/ 377 w 510"/>
                <a:gd name="T85" fmla="*/ 479 h 510"/>
                <a:gd name="T86" fmla="*/ 418 w 510"/>
                <a:gd name="T87" fmla="*/ 452 h 510"/>
                <a:gd name="T88" fmla="*/ 452 w 510"/>
                <a:gd name="T89" fmla="*/ 417 h 510"/>
                <a:gd name="T90" fmla="*/ 480 w 510"/>
                <a:gd name="T91" fmla="*/ 376 h 510"/>
                <a:gd name="T92" fmla="*/ 499 w 510"/>
                <a:gd name="T93" fmla="*/ 330 h 510"/>
                <a:gd name="T94" fmla="*/ 508 w 510"/>
                <a:gd name="T95" fmla="*/ 281 h 510"/>
                <a:gd name="T96" fmla="*/ 508 w 510"/>
                <a:gd name="T97" fmla="*/ 228 h 510"/>
                <a:gd name="T98" fmla="*/ 499 w 510"/>
                <a:gd name="T99" fmla="*/ 179 h 510"/>
                <a:gd name="T100" fmla="*/ 480 w 510"/>
                <a:gd name="T101" fmla="*/ 133 h 510"/>
                <a:gd name="T102" fmla="*/ 452 w 510"/>
                <a:gd name="T103" fmla="*/ 93 h 510"/>
                <a:gd name="T104" fmla="*/ 418 w 510"/>
                <a:gd name="T105" fmla="*/ 57 h 510"/>
                <a:gd name="T106" fmla="*/ 377 w 510"/>
                <a:gd name="T107" fmla="*/ 31 h 510"/>
                <a:gd name="T108" fmla="*/ 331 w 510"/>
                <a:gd name="T109" fmla="*/ 11 h 510"/>
                <a:gd name="T110" fmla="*/ 281 w 510"/>
                <a:gd name="T111" fmla="*/ 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510">
                  <a:moveTo>
                    <a:pt x="255" y="480"/>
                  </a:moveTo>
                  <a:lnTo>
                    <a:pt x="243" y="480"/>
                  </a:lnTo>
                  <a:lnTo>
                    <a:pt x="232" y="479"/>
                  </a:lnTo>
                  <a:lnTo>
                    <a:pt x="221" y="478"/>
                  </a:lnTo>
                  <a:lnTo>
                    <a:pt x="210" y="475"/>
                  </a:lnTo>
                  <a:lnTo>
                    <a:pt x="198" y="472"/>
                  </a:lnTo>
                  <a:lnTo>
                    <a:pt x="188" y="470"/>
                  </a:lnTo>
                  <a:lnTo>
                    <a:pt x="178" y="466"/>
                  </a:lnTo>
                  <a:lnTo>
                    <a:pt x="167" y="462"/>
                  </a:lnTo>
                  <a:lnTo>
                    <a:pt x="148" y="453"/>
                  </a:lnTo>
                  <a:lnTo>
                    <a:pt x="129" y="441"/>
                  </a:lnTo>
                  <a:lnTo>
                    <a:pt x="112" y="428"/>
                  </a:lnTo>
                  <a:lnTo>
                    <a:pt x="96" y="413"/>
                  </a:lnTo>
                  <a:lnTo>
                    <a:pt x="82" y="397"/>
                  </a:lnTo>
                  <a:lnTo>
                    <a:pt x="68" y="380"/>
                  </a:lnTo>
                  <a:lnTo>
                    <a:pt x="57" y="362"/>
                  </a:lnTo>
                  <a:lnTo>
                    <a:pt x="48" y="342"/>
                  </a:lnTo>
                  <a:lnTo>
                    <a:pt x="43" y="332"/>
                  </a:lnTo>
                  <a:lnTo>
                    <a:pt x="40" y="321"/>
                  </a:lnTo>
                  <a:lnTo>
                    <a:pt x="37" y="311"/>
                  </a:lnTo>
                  <a:lnTo>
                    <a:pt x="35" y="300"/>
                  </a:lnTo>
                  <a:lnTo>
                    <a:pt x="33" y="289"/>
                  </a:lnTo>
                  <a:lnTo>
                    <a:pt x="31" y="278"/>
                  </a:lnTo>
                  <a:lnTo>
                    <a:pt x="31" y="266"/>
                  </a:lnTo>
                  <a:lnTo>
                    <a:pt x="30" y="255"/>
                  </a:lnTo>
                  <a:lnTo>
                    <a:pt x="31" y="243"/>
                  </a:lnTo>
                  <a:lnTo>
                    <a:pt x="31" y="232"/>
                  </a:lnTo>
                  <a:lnTo>
                    <a:pt x="33" y="221"/>
                  </a:lnTo>
                  <a:lnTo>
                    <a:pt x="35" y="209"/>
                  </a:lnTo>
                  <a:lnTo>
                    <a:pt x="37" y="199"/>
                  </a:lnTo>
                  <a:lnTo>
                    <a:pt x="40" y="188"/>
                  </a:lnTo>
                  <a:lnTo>
                    <a:pt x="43" y="177"/>
                  </a:lnTo>
                  <a:lnTo>
                    <a:pt x="48" y="168"/>
                  </a:lnTo>
                  <a:lnTo>
                    <a:pt x="57" y="147"/>
                  </a:lnTo>
                  <a:lnTo>
                    <a:pt x="68" y="129"/>
                  </a:lnTo>
                  <a:lnTo>
                    <a:pt x="82" y="112"/>
                  </a:lnTo>
                  <a:lnTo>
                    <a:pt x="96" y="96"/>
                  </a:lnTo>
                  <a:lnTo>
                    <a:pt x="112" y="81"/>
                  </a:lnTo>
                  <a:lnTo>
                    <a:pt x="129" y="68"/>
                  </a:lnTo>
                  <a:lnTo>
                    <a:pt x="148" y="56"/>
                  </a:lnTo>
                  <a:lnTo>
                    <a:pt x="167" y="48"/>
                  </a:lnTo>
                  <a:lnTo>
                    <a:pt x="178" y="43"/>
                  </a:lnTo>
                  <a:lnTo>
                    <a:pt x="188" y="40"/>
                  </a:lnTo>
                  <a:lnTo>
                    <a:pt x="198" y="37"/>
                  </a:lnTo>
                  <a:lnTo>
                    <a:pt x="210" y="34"/>
                  </a:lnTo>
                  <a:lnTo>
                    <a:pt x="221" y="32"/>
                  </a:lnTo>
                  <a:lnTo>
                    <a:pt x="232" y="31"/>
                  </a:lnTo>
                  <a:lnTo>
                    <a:pt x="243" y="30"/>
                  </a:lnTo>
                  <a:lnTo>
                    <a:pt x="255" y="30"/>
                  </a:lnTo>
                  <a:lnTo>
                    <a:pt x="267" y="30"/>
                  </a:lnTo>
                  <a:lnTo>
                    <a:pt x="278" y="31"/>
                  </a:lnTo>
                  <a:lnTo>
                    <a:pt x="289" y="32"/>
                  </a:lnTo>
                  <a:lnTo>
                    <a:pt x="300" y="34"/>
                  </a:lnTo>
                  <a:lnTo>
                    <a:pt x="311" y="37"/>
                  </a:lnTo>
                  <a:lnTo>
                    <a:pt x="321" y="39"/>
                  </a:lnTo>
                  <a:lnTo>
                    <a:pt x="332" y="43"/>
                  </a:lnTo>
                  <a:lnTo>
                    <a:pt x="343" y="48"/>
                  </a:lnTo>
                  <a:lnTo>
                    <a:pt x="362" y="56"/>
                  </a:lnTo>
                  <a:lnTo>
                    <a:pt x="381" y="68"/>
                  </a:lnTo>
                  <a:lnTo>
                    <a:pt x="398" y="81"/>
                  </a:lnTo>
                  <a:lnTo>
                    <a:pt x="414" y="96"/>
                  </a:lnTo>
                  <a:lnTo>
                    <a:pt x="428" y="112"/>
                  </a:lnTo>
                  <a:lnTo>
                    <a:pt x="441" y="129"/>
                  </a:lnTo>
                  <a:lnTo>
                    <a:pt x="453" y="147"/>
                  </a:lnTo>
                  <a:lnTo>
                    <a:pt x="462" y="168"/>
                  </a:lnTo>
                  <a:lnTo>
                    <a:pt x="467" y="177"/>
                  </a:lnTo>
                  <a:lnTo>
                    <a:pt x="470" y="188"/>
                  </a:lnTo>
                  <a:lnTo>
                    <a:pt x="473" y="199"/>
                  </a:lnTo>
                  <a:lnTo>
                    <a:pt x="475" y="209"/>
                  </a:lnTo>
                  <a:lnTo>
                    <a:pt x="477" y="221"/>
                  </a:lnTo>
                  <a:lnTo>
                    <a:pt x="479" y="232"/>
                  </a:lnTo>
                  <a:lnTo>
                    <a:pt x="480" y="243"/>
                  </a:lnTo>
                  <a:lnTo>
                    <a:pt x="480" y="255"/>
                  </a:lnTo>
                  <a:lnTo>
                    <a:pt x="480" y="266"/>
                  </a:lnTo>
                  <a:lnTo>
                    <a:pt x="479" y="278"/>
                  </a:lnTo>
                  <a:lnTo>
                    <a:pt x="477" y="289"/>
                  </a:lnTo>
                  <a:lnTo>
                    <a:pt x="475" y="300"/>
                  </a:lnTo>
                  <a:lnTo>
                    <a:pt x="473" y="311"/>
                  </a:lnTo>
                  <a:lnTo>
                    <a:pt x="470" y="321"/>
                  </a:lnTo>
                  <a:lnTo>
                    <a:pt x="467" y="332"/>
                  </a:lnTo>
                  <a:lnTo>
                    <a:pt x="462" y="342"/>
                  </a:lnTo>
                  <a:lnTo>
                    <a:pt x="453" y="362"/>
                  </a:lnTo>
                  <a:lnTo>
                    <a:pt x="441" y="380"/>
                  </a:lnTo>
                  <a:lnTo>
                    <a:pt x="428" y="397"/>
                  </a:lnTo>
                  <a:lnTo>
                    <a:pt x="414" y="413"/>
                  </a:lnTo>
                  <a:lnTo>
                    <a:pt x="398" y="428"/>
                  </a:lnTo>
                  <a:lnTo>
                    <a:pt x="381" y="441"/>
                  </a:lnTo>
                  <a:lnTo>
                    <a:pt x="362" y="453"/>
                  </a:lnTo>
                  <a:lnTo>
                    <a:pt x="343" y="462"/>
                  </a:lnTo>
                  <a:lnTo>
                    <a:pt x="332" y="466"/>
                  </a:lnTo>
                  <a:lnTo>
                    <a:pt x="321" y="470"/>
                  </a:lnTo>
                  <a:lnTo>
                    <a:pt x="311" y="472"/>
                  </a:lnTo>
                  <a:lnTo>
                    <a:pt x="300" y="475"/>
                  </a:lnTo>
                  <a:lnTo>
                    <a:pt x="289" y="478"/>
                  </a:lnTo>
                  <a:lnTo>
                    <a:pt x="278" y="479"/>
                  </a:lnTo>
                  <a:lnTo>
                    <a:pt x="267" y="480"/>
                  </a:lnTo>
                  <a:lnTo>
                    <a:pt x="255" y="480"/>
                  </a:lnTo>
                  <a:close/>
                  <a:moveTo>
                    <a:pt x="255" y="0"/>
                  </a:moveTo>
                  <a:lnTo>
                    <a:pt x="242" y="0"/>
                  </a:lnTo>
                  <a:lnTo>
                    <a:pt x="229" y="1"/>
                  </a:lnTo>
                  <a:lnTo>
                    <a:pt x="217" y="3"/>
                  </a:lnTo>
                  <a:lnTo>
                    <a:pt x="204" y="5"/>
                  </a:lnTo>
                  <a:lnTo>
                    <a:pt x="191" y="7"/>
                  </a:lnTo>
                  <a:lnTo>
                    <a:pt x="179" y="11"/>
                  </a:lnTo>
                  <a:lnTo>
                    <a:pt x="167" y="15"/>
                  </a:lnTo>
                  <a:lnTo>
                    <a:pt x="156" y="20"/>
                  </a:lnTo>
                  <a:lnTo>
                    <a:pt x="145" y="24"/>
                  </a:lnTo>
                  <a:lnTo>
                    <a:pt x="133" y="31"/>
                  </a:lnTo>
                  <a:lnTo>
                    <a:pt x="123" y="36"/>
                  </a:lnTo>
                  <a:lnTo>
                    <a:pt x="113" y="43"/>
                  </a:lnTo>
                  <a:lnTo>
                    <a:pt x="102" y="50"/>
                  </a:lnTo>
                  <a:lnTo>
                    <a:pt x="93" y="57"/>
                  </a:lnTo>
                  <a:lnTo>
                    <a:pt x="84" y="66"/>
                  </a:lnTo>
                  <a:lnTo>
                    <a:pt x="74" y="74"/>
                  </a:lnTo>
                  <a:lnTo>
                    <a:pt x="66" y="83"/>
                  </a:lnTo>
                  <a:lnTo>
                    <a:pt x="58" y="93"/>
                  </a:lnTo>
                  <a:lnTo>
                    <a:pt x="51" y="102"/>
                  </a:lnTo>
                  <a:lnTo>
                    <a:pt x="43" y="112"/>
                  </a:lnTo>
                  <a:lnTo>
                    <a:pt x="37" y="123"/>
                  </a:lnTo>
                  <a:lnTo>
                    <a:pt x="31" y="133"/>
                  </a:lnTo>
                  <a:lnTo>
                    <a:pt x="25" y="144"/>
                  </a:lnTo>
                  <a:lnTo>
                    <a:pt x="20" y="156"/>
                  </a:lnTo>
                  <a:lnTo>
                    <a:pt x="16" y="168"/>
                  </a:lnTo>
                  <a:lnTo>
                    <a:pt x="11" y="179"/>
                  </a:lnTo>
                  <a:lnTo>
                    <a:pt x="8" y="191"/>
                  </a:lnTo>
                  <a:lnTo>
                    <a:pt x="5" y="203"/>
                  </a:lnTo>
                  <a:lnTo>
                    <a:pt x="3" y="216"/>
                  </a:lnTo>
                  <a:lnTo>
                    <a:pt x="2" y="228"/>
                  </a:lnTo>
                  <a:lnTo>
                    <a:pt x="1" y="241"/>
                  </a:lnTo>
                  <a:lnTo>
                    <a:pt x="0" y="255"/>
                  </a:lnTo>
                  <a:lnTo>
                    <a:pt x="1" y="268"/>
                  </a:lnTo>
                  <a:lnTo>
                    <a:pt x="2" y="281"/>
                  </a:lnTo>
                  <a:lnTo>
                    <a:pt x="3" y="294"/>
                  </a:lnTo>
                  <a:lnTo>
                    <a:pt x="5" y="307"/>
                  </a:lnTo>
                  <a:lnTo>
                    <a:pt x="8" y="318"/>
                  </a:lnTo>
                  <a:lnTo>
                    <a:pt x="11" y="330"/>
                  </a:lnTo>
                  <a:lnTo>
                    <a:pt x="16" y="342"/>
                  </a:lnTo>
                  <a:lnTo>
                    <a:pt x="20" y="354"/>
                  </a:lnTo>
                  <a:lnTo>
                    <a:pt x="25" y="365"/>
                  </a:lnTo>
                  <a:lnTo>
                    <a:pt x="31" y="376"/>
                  </a:lnTo>
                  <a:lnTo>
                    <a:pt x="37" y="387"/>
                  </a:lnTo>
                  <a:lnTo>
                    <a:pt x="43" y="397"/>
                  </a:lnTo>
                  <a:lnTo>
                    <a:pt x="51" y="407"/>
                  </a:lnTo>
                  <a:lnTo>
                    <a:pt x="58" y="417"/>
                  </a:lnTo>
                  <a:lnTo>
                    <a:pt x="66" y="426"/>
                  </a:lnTo>
                  <a:lnTo>
                    <a:pt x="74" y="435"/>
                  </a:lnTo>
                  <a:lnTo>
                    <a:pt x="84" y="443"/>
                  </a:lnTo>
                  <a:lnTo>
                    <a:pt x="93" y="452"/>
                  </a:lnTo>
                  <a:lnTo>
                    <a:pt x="102" y="459"/>
                  </a:lnTo>
                  <a:lnTo>
                    <a:pt x="113" y="466"/>
                  </a:lnTo>
                  <a:lnTo>
                    <a:pt x="123" y="472"/>
                  </a:lnTo>
                  <a:lnTo>
                    <a:pt x="133" y="479"/>
                  </a:lnTo>
                  <a:lnTo>
                    <a:pt x="145" y="485"/>
                  </a:lnTo>
                  <a:lnTo>
                    <a:pt x="156" y="489"/>
                  </a:lnTo>
                  <a:lnTo>
                    <a:pt x="167" y="495"/>
                  </a:lnTo>
                  <a:lnTo>
                    <a:pt x="179" y="498"/>
                  </a:lnTo>
                  <a:lnTo>
                    <a:pt x="191" y="502"/>
                  </a:lnTo>
                  <a:lnTo>
                    <a:pt x="204" y="504"/>
                  </a:lnTo>
                  <a:lnTo>
                    <a:pt x="217" y="506"/>
                  </a:lnTo>
                  <a:lnTo>
                    <a:pt x="229" y="509"/>
                  </a:lnTo>
                  <a:lnTo>
                    <a:pt x="242" y="510"/>
                  </a:lnTo>
                  <a:lnTo>
                    <a:pt x="255" y="510"/>
                  </a:lnTo>
                  <a:lnTo>
                    <a:pt x="268" y="510"/>
                  </a:lnTo>
                  <a:lnTo>
                    <a:pt x="281" y="509"/>
                  </a:lnTo>
                  <a:lnTo>
                    <a:pt x="294" y="506"/>
                  </a:lnTo>
                  <a:lnTo>
                    <a:pt x="306" y="504"/>
                  </a:lnTo>
                  <a:lnTo>
                    <a:pt x="318" y="502"/>
                  </a:lnTo>
                  <a:lnTo>
                    <a:pt x="331" y="498"/>
                  </a:lnTo>
                  <a:lnTo>
                    <a:pt x="343" y="495"/>
                  </a:lnTo>
                  <a:lnTo>
                    <a:pt x="355" y="489"/>
                  </a:lnTo>
                  <a:lnTo>
                    <a:pt x="365" y="484"/>
                  </a:lnTo>
                  <a:lnTo>
                    <a:pt x="377" y="479"/>
                  </a:lnTo>
                  <a:lnTo>
                    <a:pt x="388" y="472"/>
                  </a:lnTo>
                  <a:lnTo>
                    <a:pt x="397" y="466"/>
                  </a:lnTo>
                  <a:lnTo>
                    <a:pt x="408" y="459"/>
                  </a:lnTo>
                  <a:lnTo>
                    <a:pt x="418" y="452"/>
                  </a:lnTo>
                  <a:lnTo>
                    <a:pt x="426" y="443"/>
                  </a:lnTo>
                  <a:lnTo>
                    <a:pt x="436" y="435"/>
                  </a:lnTo>
                  <a:lnTo>
                    <a:pt x="443" y="426"/>
                  </a:lnTo>
                  <a:lnTo>
                    <a:pt x="452" y="417"/>
                  </a:lnTo>
                  <a:lnTo>
                    <a:pt x="459" y="407"/>
                  </a:lnTo>
                  <a:lnTo>
                    <a:pt x="467" y="397"/>
                  </a:lnTo>
                  <a:lnTo>
                    <a:pt x="473" y="387"/>
                  </a:lnTo>
                  <a:lnTo>
                    <a:pt x="480" y="376"/>
                  </a:lnTo>
                  <a:lnTo>
                    <a:pt x="485" y="365"/>
                  </a:lnTo>
                  <a:lnTo>
                    <a:pt x="490" y="354"/>
                  </a:lnTo>
                  <a:lnTo>
                    <a:pt x="495" y="342"/>
                  </a:lnTo>
                  <a:lnTo>
                    <a:pt x="499" y="330"/>
                  </a:lnTo>
                  <a:lnTo>
                    <a:pt x="502" y="318"/>
                  </a:lnTo>
                  <a:lnTo>
                    <a:pt x="505" y="307"/>
                  </a:lnTo>
                  <a:lnTo>
                    <a:pt x="507" y="294"/>
                  </a:lnTo>
                  <a:lnTo>
                    <a:pt x="508" y="281"/>
                  </a:lnTo>
                  <a:lnTo>
                    <a:pt x="510" y="268"/>
                  </a:lnTo>
                  <a:lnTo>
                    <a:pt x="510" y="255"/>
                  </a:lnTo>
                  <a:lnTo>
                    <a:pt x="510" y="241"/>
                  </a:lnTo>
                  <a:lnTo>
                    <a:pt x="508" y="228"/>
                  </a:lnTo>
                  <a:lnTo>
                    <a:pt x="507" y="216"/>
                  </a:lnTo>
                  <a:lnTo>
                    <a:pt x="505" y="203"/>
                  </a:lnTo>
                  <a:lnTo>
                    <a:pt x="502" y="191"/>
                  </a:lnTo>
                  <a:lnTo>
                    <a:pt x="499" y="179"/>
                  </a:lnTo>
                  <a:lnTo>
                    <a:pt x="495" y="168"/>
                  </a:lnTo>
                  <a:lnTo>
                    <a:pt x="490" y="156"/>
                  </a:lnTo>
                  <a:lnTo>
                    <a:pt x="485" y="144"/>
                  </a:lnTo>
                  <a:lnTo>
                    <a:pt x="480" y="133"/>
                  </a:lnTo>
                  <a:lnTo>
                    <a:pt x="473" y="123"/>
                  </a:lnTo>
                  <a:lnTo>
                    <a:pt x="467" y="112"/>
                  </a:lnTo>
                  <a:lnTo>
                    <a:pt x="459" y="102"/>
                  </a:lnTo>
                  <a:lnTo>
                    <a:pt x="452" y="93"/>
                  </a:lnTo>
                  <a:lnTo>
                    <a:pt x="443" y="83"/>
                  </a:lnTo>
                  <a:lnTo>
                    <a:pt x="436" y="74"/>
                  </a:lnTo>
                  <a:lnTo>
                    <a:pt x="426" y="66"/>
                  </a:lnTo>
                  <a:lnTo>
                    <a:pt x="418" y="57"/>
                  </a:lnTo>
                  <a:lnTo>
                    <a:pt x="408" y="50"/>
                  </a:lnTo>
                  <a:lnTo>
                    <a:pt x="397" y="43"/>
                  </a:lnTo>
                  <a:lnTo>
                    <a:pt x="388" y="37"/>
                  </a:lnTo>
                  <a:lnTo>
                    <a:pt x="377" y="31"/>
                  </a:lnTo>
                  <a:lnTo>
                    <a:pt x="365" y="25"/>
                  </a:lnTo>
                  <a:lnTo>
                    <a:pt x="355" y="20"/>
                  </a:lnTo>
                  <a:lnTo>
                    <a:pt x="343" y="15"/>
                  </a:lnTo>
                  <a:lnTo>
                    <a:pt x="331" y="11"/>
                  </a:lnTo>
                  <a:lnTo>
                    <a:pt x="318" y="7"/>
                  </a:lnTo>
                  <a:lnTo>
                    <a:pt x="306" y="5"/>
                  </a:lnTo>
                  <a:lnTo>
                    <a:pt x="294" y="3"/>
                  </a:lnTo>
                  <a:lnTo>
                    <a:pt x="281" y="1"/>
                  </a:lnTo>
                  <a:lnTo>
                    <a:pt x="268" y="0"/>
                  </a:lnTo>
                  <a:lnTo>
                    <a:pt x="255" y="0"/>
                  </a:lnTo>
                  <a:lnTo>
                    <a:pt x="25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p:cNvSpPr>
            <a:spLocks noGrp="1"/>
          </p:cNvSpPr>
          <p:nvPr>
            <p:ph type="sldNum" sz="quarter" idx="12"/>
          </p:nvPr>
        </p:nvSpPr>
        <p:spPr/>
        <p:txBody>
          <a:bodyPr/>
          <a:lstStyle/>
          <a:p>
            <a:fld id="{DE156FE7-4276-48C2-8D29-2DA35A3BAE26}" type="slidenum">
              <a:rPr lang="en-US" smtClean="0"/>
              <a:t>5</a:t>
            </a:fld>
            <a:endParaRPr lang="en-US"/>
          </a:p>
        </p:txBody>
      </p:sp>
    </p:spTree>
    <p:extLst>
      <p:ext uri="{BB962C8B-B14F-4D97-AF65-F5344CB8AC3E}">
        <p14:creationId xmlns:p14="http://schemas.microsoft.com/office/powerpoint/2010/main" val="3061624620"/>
      </p:ext>
    </p:extLst>
  </p:cSld>
  <p:clrMapOvr>
    <a:masterClrMapping/>
  </p:clrMapOvr>
  <p:transition spd="med">
    <p:pull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862DD8CB-0768-4C6B-A31C-19743967F149}"/>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l="21123" r="21123"/>
          <a:stretch>
            <a:fillRect/>
          </a:stretch>
        </p:blipFill>
        <p:spPr/>
      </p:pic>
      <p:sp>
        <p:nvSpPr>
          <p:cNvPr id="26" name="Rectangle 25"/>
          <p:cNvSpPr/>
          <p:nvPr>
            <p:custDataLst>
              <p:tags r:id="rId1"/>
            </p:custDataLst>
          </p:nvPr>
        </p:nvSpPr>
        <p:spPr>
          <a:xfrm>
            <a:off x="370027" y="783548"/>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spc="-15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OUR COMPANY </a:t>
            </a:r>
            <a:r>
              <a:rPr lang="en-US" sz="3200" b="1" spc="-15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PROFILE</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1331712"/>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16" name="Rectangle 15"/>
          <p:cNvSpPr/>
          <p:nvPr/>
        </p:nvSpPr>
        <p:spPr>
          <a:xfrm>
            <a:off x="5000172" y="5626100"/>
            <a:ext cx="1860135" cy="419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62737" y="5626100"/>
            <a:ext cx="1860135" cy="419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B35DF6C-1CC9-4A68-9660-98C1C2DE3634}"/>
              </a:ext>
            </a:extLst>
          </p:cNvPr>
          <p:cNvSpPr/>
          <p:nvPr/>
        </p:nvSpPr>
        <p:spPr>
          <a:xfrm>
            <a:off x="5000171" y="5663897"/>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19" name="Rectangle 18">
            <a:extLst>
              <a:ext uri="{FF2B5EF4-FFF2-40B4-BE49-F238E27FC236}">
                <a16:creationId xmlns:a16="http://schemas.microsoft.com/office/drawing/2014/main" id="{DB35DF6C-1CC9-4A68-9660-98C1C2DE3634}"/>
              </a:ext>
            </a:extLst>
          </p:cNvPr>
          <p:cNvSpPr/>
          <p:nvPr/>
        </p:nvSpPr>
        <p:spPr>
          <a:xfrm>
            <a:off x="6995632" y="5663897"/>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20" name="Rectangle 19">
            <a:extLst>
              <a:ext uri="{FF2B5EF4-FFF2-40B4-BE49-F238E27FC236}">
                <a16:creationId xmlns:a16="http://schemas.microsoft.com/office/drawing/2014/main" id="{DB35DF6C-1CC9-4A68-9660-98C1C2DE3634}"/>
              </a:ext>
            </a:extLst>
          </p:cNvPr>
          <p:cNvSpPr/>
          <p:nvPr/>
        </p:nvSpPr>
        <p:spPr>
          <a:xfrm>
            <a:off x="1341606" y="1926176"/>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 IPSUM</a:t>
            </a:r>
          </a:p>
        </p:txBody>
      </p:sp>
      <p:sp>
        <p:nvSpPr>
          <p:cNvPr id="21" name="Rectangle 20">
            <a:extLst>
              <a:ext uri="{FF2B5EF4-FFF2-40B4-BE49-F238E27FC236}">
                <a16:creationId xmlns:a16="http://schemas.microsoft.com/office/drawing/2014/main" id="{36619682-B96B-456C-82E8-C90705949DB6}"/>
              </a:ext>
            </a:extLst>
          </p:cNvPr>
          <p:cNvSpPr/>
          <p:nvPr/>
        </p:nvSpPr>
        <p:spPr>
          <a:xfrm>
            <a:off x="1341606" y="2289275"/>
            <a:ext cx="1932316" cy="707886"/>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2" name="Rectangle 21">
            <a:extLst>
              <a:ext uri="{FF2B5EF4-FFF2-40B4-BE49-F238E27FC236}">
                <a16:creationId xmlns:a16="http://schemas.microsoft.com/office/drawing/2014/main" id="{DB35DF6C-1CC9-4A68-9660-98C1C2DE3634}"/>
              </a:ext>
            </a:extLst>
          </p:cNvPr>
          <p:cNvSpPr/>
          <p:nvPr/>
        </p:nvSpPr>
        <p:spPr>
          <a:xfrm>
            <a:off x="4114390" y="1914459"/>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 IPSUM</a:t>
            </a:r>
          </a:p>
        </p:txBody>
      </p:sp>
      <p:sp>
        <p:nvSpPr>
          <p:cNvPr id="23" name="Rectangle 22">
            <a:extLst>
              <a:ext uri="{FF2B5EF4-FFF2-40B4-BE49-F238E27FC236}">
                <a16:creationId xmlns:a16="http://schemas.microsoft.com/office/drawing/2014/main" id="{36619682-B96B-456C-82E8-C90705949DB6}"/>
              </a:ext>
            </a:extLst>
          </p:cNvPr>
          <p:cNvSpPr/>
          <p:nvPr/>
        </p:nvSpPr>
        <p:spPr>
          <a:xfrm>
            <a:off x="4114390" y="2277558"/>
            <a:ext cx="1932316" cy="707886"/>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grpSp>
        <p:nvGrpSpPr>
          <p:cNvPr id="24" name="Group 23"/>
          <p:cNvGrpSpPr/>
          <p:nvPr/>
        </p:nvGrpSpPr>
        <p:grpSpPr>
          <a:xfrm>
            <a:off x="637282" y="2110910"/>
            <a:ext cx="464514" cy="461963"/>
            <a:chOff x="881063" y="784225"/>
            <a:chExt cx="288925" cy="287338"/>
          </a:xfrm>
        </p:grpSpPr>
        <p:sp>
          <p:nvSpPr>
            <p:cNvPr id="25" name="Freeform 27"/>
            <p:cNvSpPr>
              <a:spLocks noEditPoints="1"/>
            </p:cNvSpPr>
            <p:nvPr/>
          </p:nvSpPr>
          <p:spPr bwMode="auto">
            <a:xfrm>
              <a:off x="968375" y="898525"/>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8"/>
            <p:cNvSpPr>
              <a:spLocks/>
            </p:cNvSpPr>
            <p:nvPr/>
          </p:nvSpPr>
          <p:spPr bwMode="auto">
            <a:xfrm>
              <a:off x="1063625" y="1023938"/>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9"/>
            <p:cNvSpPr>
              <a:spLocks/>
            </p:cNvSpPr>
            <p:nvPr/>
          </p:nvSpPr>
          <p:spPr bwMode="auto">
            <a:xfrm>
              <a:off x="909638" y="917575"/>
              <a:ext cx="38100" cy="9525"/>
            </a:xfrm>
            <a:custGeom>
              <a:avLst/>
              <a:gdLst>
                <a:gd name="T0" fmla="*/ 105 w 120"/>
                <a:gd name="T1" fmla="*/ 0 h 30"/>
                <a:gd name="T2" fmla="*/ 15 w 120"/>
                <a:gd name="T3" fmla="*/ 0 h 30"/>
                <a:gd name="T4" fmla="*/ 12 w 120"/>
                <a:gd name="T5" fmla="*/ 0 h 30"/>
                <a:gd name="T6" fmla="*/ 8 w 120"/>
                <a:gd name="T7" fmla="*/ 1 h 30"/>
                <a:gd name="T8" fmla="*/ 6 w 120"/>
                <a:gd name="T9" fmla="*/ 2 h 30"/>
                <a:gd name="T10" fmla="*/ 4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4 w 120"/>
                <a:gd name="T27" fmla="*/ 25 h 30"/>
                <a:gd name="T28" fmla="*/ 6 w 120"/>
                <a:gd name="T29" fmla="*/ 28 h 30"/>
                <a:gd name="T30" fmla="*/ 8 w 120"/>
                <a:gd name="T31" fmla="*/ 29 h 30"/>
                <a:gd name="T32" fmla="*/ 12 w 120"/>
                <a:gd name="T33" fmla="*/ 30 h 30"/>
                <a:gd name="T34" fmla="*/ 15 w 120"/>
                <a:gd name="T35" fmla="*/ 30 h 30"/>
                <a:gd name="T36" fmla="*/ 105 w 120"/>
                <a:gd name="T37" fmla="*/ 30 h 30"/>
                <a:gd name="T38" fmla="*/ 108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8"/>
                  </a:lnTo>
                  <a:lnTo>
                    <a:pt x="8" y="29"/>
                  </a:lnTo>
                  <a:lnTo>
                    <a:pt x="12" y="30"/>
                  </a:lnTo>
                  <a:lnTo>
                    <a:pt x="15" y="30"/>
                  </a:lnTo>
                  <a:lnTo>
                    <a:pt x="105" y="30"/>
                  </a:lnTo>
                  <a:lnTo>
                    <a:pt x="108" y="30"/>
                  </a:lnTo>
                  <a:lnTo>
                    <a:pt x="111" y="29"/>
                  </a:lnTo>
                  <a:lnTo>
                    <a:pt x="114" y="28"/>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8" y="0"/>
                  </a:lnTo>
                  <a:lnTo>
                    <a:pt x="10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0"/>
            <p:cNvSpPr>
              <a:spLocks noEditPoints="1"/>
            </p:cNvSpPr>
            <p:nvPr/>
          </p:nvSpPr>
          <p:spPr bwMode="auto">
            <a:xfrm>
              <a:off x="881063" y="784225"/>
              <a:ext cx="153988" cy="114300"/>
            </a:xfrm>
            <a:custGeom>
              <a:avLst/>
              <a:gdLst>
                <a:gd name="T0" fmla="*/ 31 w 483"/>
                <a:gd name="T1" fmla="*/ 55 h 363"/>
                <a:gd name="T2" fmla="*/ 35 w 483"/>
                <a:gd name="T3" fmla="*/ 44 h 363"/>
                <a:gd name="T4" fmla="*/ 44 w 483"/>
                <a:gd name="T5" fmla="*/ 36 h 363"/>
                <a:gd name="T6" fmla="*/ 54 w 483"/>
                <a:gd name="T7" fmla="*/ 31 h 363"/>
                <a:gd name="T8" fmla="*/ 423 w 483"/>
                <a:gd name="T9" fmla="*/ 30 h 363"/>
                <a:gd name="T10" fmla="*/ 435 w 483"/>
                <a:gd name="T11" fmla="*/ 32 h 363"/>
                <a:gd name="T12" fmla="*/ 445 w 483"/>
                <a:gd name="T13" fmla="*/ 39 h 363"/>
                <a:gd name="T14" fmla="*/ 451 w 483"/>
                <a:gd name="T15" fmla="*/ 48 h 363"/>
                <a:gd name="T16" fmla="*/ 453 w 483"/>
                <a:gd name="T17" fmla="*/ 60 h 363"/>
                <a:gd name="T18" fmla="*/ 30 w 483"/>
                <a:gd name="T19" fmla="*/ 273 h 363"/>
                <a:gd name="T20" fmla="*/ 196 w 483"/>
                <a:gd name="T21" fmla="*/ 333 h 363"/>
                <a:gd name="T22" fmla="*/ 54 w 483"/>
                <a:gd name="T23" fmla="*/ 333 h 363"/>
                <a:gd name="T24" fmla="*/ 44 w 483"/>
                <a:gd name="T25" fmla="*/ 327 h 363"/>
                <a:gd name="T26" fmla="*/ 35 w 483"/>
                <a:gd name="T27" fmla="*/ 320 h 363"/>
                <a:gd name="T28" fmla="*/ 31 w 483"/>
                <a:gd name="T29" fmla="*/ 309 h 363"/>
                <a:gd name="T30" fmla="*/ 468 w 483"/>
                <a:gd name="T31" fmla="*/ 303 h 363"/>
                <a:gd name="T32" fmla="*/ 475 w 483"/>
                <a:gd name="T33" fmla="*/ 301 h 363"/>
                <a:gd name="T34" fmla="*/ 479 w 483"/>
                <a:gd name="T35" fmla="*/ 298 h 363"/>
                <a:gd name="T36" fmla="*/ 482 w 483"/>
                <a:gd name="T37" fmla="*/ 293 h 363"/>
                <a:gd name="T38" fmla="*/ 483 w 483"/>
                <a:gd name="T39" fmla="*/ 288 h 363"/>
                <a:gd name="T40" fmla="*/ 483 w 483"/>
                <a:gd name="T41" fmla="*/ 54 h 363"/>
                <a:gd name="T42" fmla="*/ 481 w 483"/>
                <a:gd name="T43" fmla="*/ 42 h 363"/>
                <a:gd name="T44" fmla="*/ 477 w 483"/>
                <a:gd name="T45" fmla="*/ 31 h 363"/>
                <a:gd name="T46" fmla="*/ 471 w 483"/>
                <a:gd name="T47" fmla="*/ 22 h 363"/>
                <a:gd name="T48" fmla="*/ 462 w 483"/>
                <a:gd name="T49" fmla="*/ 14 h 363"/>
                <a:gd name="T50" fmla="*/ 452 w 483"/>
                <a:gd name="T51" fmla="*/ 8 h 363"/>
                <a:gd name="T52" fmla="*/ 442 w 483"/>
                <a:gd name="T53" fmla="*/ 2 h 363"/>
                <a:gd name="T54" fmla="*/ 430 w 483"/>
                <a:gd name="T55" fmla="*/ 0 h 363"/>
                <a:gd name="T56" fmla="*/ 60 w 483"/>
                <a:gd name="T57" fmla="*/ 0 h 363"/>
                <a:gd name="T58" fmla="*/ 48 w 483"/>
                <a:gd name="T59" fmla="*/ 1 h 363"/>
                <a:gd name="T60" fmla="*/ 36 w 483"/>
                <a:gd name="T61" fmla="*/ 5 h 363"/>
                <a:gd name="T62" fmla="*/ 27 w 483"/>
                <a:gd name="T63" fmla="*/ 10 h 363"/>
                <a:gd name="T64" fmla="*/ 17 w 483"/>
                <a:gd name="T65" fmla="*/ 17 h 363"/>
                <a:gd name="T66" fmla="*/ 10 w 483"/>
                <a:gd name="T67" fmla="*/ 27 h 363"/>
                <a:gd name="T68" fmla="*/ 4 w 483"/>
                <a:gd name="T69" fmla="*/ 37 h 363"/>
                <a:gd name="T70" fmla="*/ 1 w 483"/>
                <a:gd name="T71" fmla="*/ 48 h 363"/>
                <a:gd name="T72" fmla="*/ 0 w 483"/>
                <a:gd name="T73" fmla="*/ 60 h 363"/>
                <a:gd name="T74" fmla="*/ 0 w 483"/>
                <a:gd name="T75" fmla="*/ 309 h 363"/>
                <a:gd name="T76" fmla="*/ 2 w 483"/>
                <a:gd name="T77" fmla="*/ 321 h 363"/>
                <a:gd name="T78" fmla="*/ 7 w 483"/>
                <a:gd name="T79" fmla="*/ 331 h 363"/>
                <a:gd name="T80" fmla="*/ 14 w 483"/>
                <a:gd name="T81" fmla="*/ 341 h 363"/>
                <a:gd name="T82" fmla="*/ 21 w 483"/>
                <a:gd name="T83" fmla="*/ 349 h 363"/>
                <a:gd name="T84" fmla="*/ 31 w 483"/>
                <a:gd name="T85" fmla="*/ 356 h 363"/>
                <a:gd name="T86" fmla="*/ 43 w 483"/>
                <a:gd name="T87" fmla="*/ 360 h 363"/>
                <a:gd name="T88" fmla="*/ 54 w 483"/>
                <a:gd name="T89" fmla="*/ 363 h 363"/>
                <a:gd name="T90" fmla="*/ 196 w 483"/>
                <a:gd name="T91" fmla="*/ 363 h 363"/>
                <a:gd name="T92" fmla="*/ 202 w 483"/>
                <a:gd name="T93" fmla="*/ 361 h 363"/>
                <a:gd name="T94" fmla="*/ 207 w 483"/>
                <a:gd name="T95" fmla="*/ 358 h 363"/>
                <a:gd name="T96" fmla="*/ 210 w 483"/>
                <a:gd name="T97" fmla="*/ 354 h 363"/>
                <a:gd name="T98" fmla="*/ 211 w 483"/>
                <a:gd name="T99" fmla="*/ 348 h 363"/>
                <a:gd name="T100" fmla="*/ 210 w 483"/>
                <a:gd name="T101" fmla="*/ 342 h 363"/>
                <a:gd name="T102" fmla="*/ 207 w 483"/>
                <a:gd name="T103" fmla="*/ 337 h 363"/>
                <a:gd name="T104" fmla="*/ 202 w 483"/>
                <a:gd name="T105" fmla="*/ 334 h 363"/>
                <a:gd name="T106" fmla="*/ 196 w 483"/>
                <a:gd name="T107" fmla="*/ 33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 h="363">
                  <a:moveTo>
                    <a:pt x="30" y="60"/>
                  </a:moveTo>
                  <a:lnTo>
                    <a:pt x="31" y="55"/>
                  </a:lnTo>
                  <a:lnTo>
                    <a:pt x="32" y="48"/>
                  </a:lnTo>
                  <a:lnTo>
                    <a:pt x="35" y="44"/>
                  </a:lnTo>
                  <a:lnTo>
                    <a:pt x="38" y="39"/>
                  </a:lnTo>
                  <a:lnTo>
                    <a:pt x="44" y="36"/>
                  </a:lnTo>
                  <a:lnTo>
                    <a:pt x="48" y="32"/>
                  </a:lnTo>
                  <a:lnTo>
                    <a:pt x="54" y="31"/>
                  </a:lnTo>
                  <a:lnTo>
                    <a:pt x="60" y="30"/>
                  </a:lnTo>
                  <a:lnTo>
                    <a:pt x="423" y="30"/>
                  </a:lnTo>
                  <a:lnTo>
                    <a:pt x="430" y="31"/>
                  </a:lnTo>
                  <a:lnTo>
                    <a:pt x="435" y="32"/>
                  </a:lnTo>
                  <a:lnTo>
                    <a:pt x="441" y="36"/>
                  </a:lnTo>
                  <a:lnTo>
                    <a:pt x="445" y="39"/>
                  </a:lnTo>
                  <a:lnTo>
                    <a:pt x="448" y="44"/>
                  </a:lnTo>
                  <a:lnTo>
                    <a:pt x="451" y="48"/>
                  </a:lnTo>
                  <a:lnTo>
                    <a:pt x="453" y="55"/>
                  </a:lnTo>
                  <a:lnTo>
                    <a:pt x="453" y="60"/>
                  </a:lnTo>
                  <a:lnTo>
                    <a:pt x="453" y="273"/>
                  </a:lnTo>
                  <a:lnTo>
                    <a:pt x="30" y="273"/>
                  </a:lnTo>
                  <a:lnTo>
                    <a:pt x="30" y="60"/>
                  </a:lnTo>
                  <a:close/>
                  <a:moveTo>
                    <a:pt x="196" y="333"/>
                  </a:moveTo>
                  <a:lnTo>
                    <a:pt x="60" y="333"/>
                  </a:lnTo>
                  <a:lnTo>
                    <a:pt x="54" y="333"/>
                  </a:lnTo>
                  <a:lnTo>
                    <a:pt x="48" y="330"/>
                  </a:lnTo>
                  <a:lnTo>
                    <a:pt x="44" y="327"/>
                  </a:lnTo>
                  <a:lnTo>
                    <a:pt x="38" y="324"/>
                  </a:lnTo>
                  <a:lnTo>
                    <a:pt x="35" y="320"/>
                  </a:lnTo>
                  <a:lnTo>
                    <a:pt x="32" y="314"/>
                  </a:lnTo>
                  <a:lnTo>
                    <a:pt x="31" y="309"/>
                  </a:lnTo>
                  <a:lnTo>
                    <a:pt x="30" y="303"/>
                  </a:lnTo>
                  <a:lnTo>
                    <a:pt x="468" y="303"/>
                  </a:lnTo>
                  <a:lnTo>
                    <a:pt x="472" y="303"/>
                  </a:lnTo>
                  <a:lnTo>
                    <a:pt x="475" y="301"/>
                  </a:lnTo>
                  <a:lnTo>
                    <a:pt x="477" y="300"/>
                  </a:lnTo>
                  <a:lnTo>
                    <a:pt x="479" y="298"/>
                  </a:lnTo>
                  <a:lnTo>
                    <a:pt x="481" y="296"/>
                  </a:lnTo>
                  <a:lnTo>
                    <a:pt x="482" y="293"/>
                  </a:lnTo>
                  <a:lnTo>
                    <a:pt x="483" y="291"/>
                  </a:lnTo>
                  <a:lnTo>
                    <a:pt x="483" y="288"/>
                  </a:lnTo>
                  <a:lnTo>
                    <a:pt x="483" y="60"/>
                  </a:lnTo>
                  <a:lnTo>
                    <a:pt x="483" y="54"/>
                  </a:lnTo>
                  <a:lnTo>
                    <a:pt x="482" y="48"/>
                  </a:lnTo>
                  <a:lnTo>
                    <a:pt x="481" y="42"/>
                  </a:lnTo>
                  <a:lnTo>
                    <a:pt x="479" y="37"/>
                  </a:lnTo>
                  <a:lnTo>
                    <a:pt x="477" y="31"/>
                  </a:lnTo>
                  <a:lnTo>
                    <a:pt x="474" y="27"/>
                  </a:lnTo>
                  <a:lnTo>
                    <a:pt x="471" y="22"/>
                  </a:lnTo>
                  <a:lnTo>
                    <a:pt x="466" y="17"/>
                  </a:lnTo>
                  <a:lnTo>
                    <a:pt x="462" y="14"/>
                  </a:lnTo>
                  <a:lnTo>
                    <a:pt x="458" y="10"/>
                  </a:lnTo>
                  <a:lnTo>
                    <a:pt x="452" y="8"/>
                  </a:lnTo>
                  <a:lnTo>
                    <a:pt x="447" y="5"/>
                  </a:lnTo>
                  <a:lnTo>
                    <a:pt x="442" y="2"/>
                  </a:lnTo>
                  <a:lnTo>
                    <a:pt x="435" y="1"/>
                  </a:lnTo>
                  <a:lnTo>
                    <a:pt x="430" y="0"/>
                  </a:lnTo>
                  <a:lnTo>
                    <a:pt x="423" y="0"/>
                  </a:lnTo>
                  <a:lnTo>
                    <a:pt x="60" y="0"/>
                  </a:lnTo>
                  <a:lnTo>
                    <a:pt x="54" y="0"/>
                  </a:lnTo>
                  <a:lnTo>
                    <a:pt x="48" y="1"/>
                  </a:lnTo>
                  <a:lnTo>
                    <a:pt x="43" y="2"/>
                  </a:lnTo>
                  <a:lnTo>
                    <a:pt x="36" y="5"/>
                  </a:lnTo>
                  <a:lnTo>
                    <a:pt x="31" y="8"/>
                  </a:lnTo>
                  <a:lnTo>
                    <a:pt x="27" y="10"/>
                  </a:lnTo>
                  <a:lnTo>
                    <a:pt x="21" y="14"/>
                  </a:lnTo>
                  <a:lnTo>
                    <a:pt x="17" y="17"/>
                  </a:lnTo>
                  <a:lnTo>
                    <a:pt x="14" y="22"/>
                  </a:lnTo>
                  <a:lnTo>
                    <a:pt x="10" y="27"/>
                  </a:lnTo>
                  <a:lnTo>
                    <a:pt x="7" y="31"/>
                  </a:lnTo>
                  <a:lnTo>
                    <a:pt x="4" y="37"/>
                  </a:lnTo>
                  <a:lnTo>
                    <a:pt x="2" y="42"/>
                  </a:lnTo>
                  <a:lnTo>
                    <a:pt x="1" y="48"/>
                  </a:lnTo>
                  <a:lnTo>
                    <a:pt x="0" y="54"/>
                  </a:lnTo>
                  <a:lnTo>
                    <a:pt x="0" y="60"/>
                  </a:lnTo>
                  <a:lnTo>
                    <a:pt x="0" y="303"/>
                  </a:lnTo>
                  <a:lnTo>
                    <a:pt x="0" y="309"/>
                  </a:lnTo>
                  <a:lnTo>
                    <a:pt x="1" y="314"/>
                  </a:lnTo>
                  <a:lnTo>
                    <a:pt x="2" y="321"/>
                  </a:lnTo>
                  <a:lnTo>
                    <a:pt x="4" y="326"/>
                  </a:lnTo>
                  <a:lnTo>
                    <a:pt x="7" y="331"/>
                  </a:lnTo>
                  <a:lnTo>
                    <a:pt x="10" y="336"/>
                  </a:lnTo>
                  <a:lnTo>
                    <a:pt x="14" y="341"/>
                  </a:lnTo>
                  <a:lnTo>
                    <a:pt x="17" y="345"/>
                  </a:lnTo>
                  <a:lnTo>
                    <a:pt x="21" y="349"/>
                  </a:lnTo>
                  <a:lnTo>
                    <a:pt x="27" y="353"/>
                  </a:lnTo>
                  <a:lnTo>
                    <a:pt x="31" y="356"/>
                  </a:lnTo>
                  <a:lnTo>
                    <a:pt x="36" y="358"/>
                  </a:lnTo>
                  <a:lnTo>
                    <a:pt x="43" y="360"/>
                  </a:lnTo>
                  <a:lnTo>
                    <a:pt x="48" y="361"/>
                  </a:lnTo>
                  <a:lnTo>
                    <a:pt x="54" y="363"/>
                  </a:lnTo>
                  <a:lnTo>
                    <a:pt x="60" y="363"/>
                  </a:lnTo>
                  <a:lnTo>
                    <a:pt x="196" y="363"/>
                  </a:lnTo>
                  <a:lnTo>
                    <a:pt x="199" y="363"/>
                  </a:lnTo>
                  <a:lnTo>
                    <a:pt x="202" y="361"/>
                  </a:lnTo>
                  <a:lnTo>
                    <a:pt x="205" y="360"/>
                  </a:lnTo>
                  <a:lnTo>
                    <a:pt x="207" y="358"/>
                  </a:lnTo>
                  <a:lnTo>
                    <a:pt x="209" y="356"/>
                  </a:lnTo>
                  <a:lnTo>
                    <a:pt x="210" y="354"/>
                  </a:lnTo>
                  <a:lnTo>
                    <a:pt x="211" y="351"/>
                  </a:lnTo>
                  <a:lnTo>
                    <a:pt x="211" y="348"/>
                  </a:lnTo>
                  <a:lnTo>
                    <a:pt x="211" y="344"/>
                  </a:lnTo>
                  <a:lnTo>
                    <a:pt x="210" y="342"/>
                  </a:lnTo>
                  <a:lnTo>
                    <a:pt x="209" y="339"/>
                  </a:lnTo>
                  <a:lnTo>
                    <a:pt x="207" y="337"/>
                  </a:lnTo>
                  <a:lnTo>
                    <a:pt x="205" y="336"/>
                  </a:lnTo>
                  <a:lnTo>
                    <a:pt x="202" y="334"/>
                  </a:lnTo>
                  <a:lnTo>
                    <a:pt x="199" y="333"/>
                  </a:lnTo>
                  <a:lnTo>
                    <a:pt x="196" y="333"/>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p:cNvGrpSpPr/>
          <p:nvPr/>
        </p:nvGrpSpPr>
        <p:grpSpPr>
          <a:xfrm>
            <a:off x="3539641" y="2099195"/>
            <a:ext cx="459410" cy="461961"/>
            <a:chOff x="7027863" y="798513"/>
            <a:chExt cx="285750" cy="287337"/>
          </a:xfrm>
        </p:grpSpPr>
        <p:sp>
          <p:nvSpPr>
            <p:cNvPr id="32" name="Freeform 187"/>
            <p:cNvSpPr>
              <a:spLocks/>
            </p:cNvSpPr>
            <p:nvPr/>
          </p:nvSpPr>
          <p:spPr bwMode="auto">
            <a:xfrm>
              <a:off x="7227888" y="950913"/>
              <a:ext cx="38100" cy="58738"/>
            </a:xfrm>
            <a:custGeom>
              <a:avLst/>
              <a:gdLst>
                <a:gd name="T0" fmla="*/ 105 w 120"/>
                <a:gd name="T1" fmla="*/ 150 h 181"/>
                <a:gd name="T2" fmla="*/ 30 w 120"/>
                <a:gd name="T3" fmla="*/ 150 h 181"/>
                <a:gd name="T4" fmla="*/ 30 w 120"/>
                <a:gd name="T5" fmla="*/ 15 h 181"/>
                <a:gd name="T6" fmla="*/ 30 w 120"/>
                <a:gd name="T7" fmla="*/ 12 h 181"/>
                <a:gd name="T8" fmla="*/ 29 w 120"/>
                <a:gd name="T9" fmla="*/ 10 h 181"/>
                <a:gd name="T10" fmla="*/ 28 w 120"/>
                <a:gd name="T11" fmla="*/ 7 h 181"/>
                <a:gd name="T12" fmla="*/ 26 w 120"/>
                <a:gd name="T13" fmla="*/ 5 h 181"/>
                <a:gd name="T14" fmla="*/ 24 w 120"/>
                <a:gd name="T15" fmla="*/ 4 h 181"/>
                <a:gd name="T16" fmla="*/ 20 w 120"/>
                <a:gd name="T17" fmla="*/ 2 h 181"/>
                <a:gd name="T18" fmla="*/ 18 w 120"/>
                <a:gd name="T19" fmla="*/ 0 h 181"/>
                <a:gd name="T20" fmla="*/ 15 w 120"/>
                <a:gd name="T21" fmla="*/ 0 h 181"/>
                <a:gd name="T22" fmla="*/ 12 w 120"/>
                <a:gd name="T23" fmla="*/ 0 h 181"/>
                <a:gd name="T24" fmla="*/ 9 w 120"/>
                <a:gd name="T25" fmla="*/ 2 h 181"/>
                <a:gd name="T26" fmla="*/ 7 w 120"/>
                <a:gd name="T27" fmla="*/ 4 h 181"/>
                <a:gd name="T28" fmla="*/ 4 w 120"/>
                <a:gd name="T29" fmla="*/ 5 h 181"/>
                <a:gd name="T30" fmla="*/ 2 w 120"/>
                <a:gd name="T31" fmla="*/ 7 h 181"/>
                <a:gd name="T32" fmla="*/ 1 w 120"/>
                <a:gd name="T33" fmla="*/ 10 h 181"/>
                <a:gd name="T34" fmla="*/ 0 w 120"/>
                <a:gd name="T35" fmla="*/ 12 h 181"/>
                <a:gd name="T36" fmla="*/ 0 w 120"/>
                <a:gd name="T37" fmla="*/ 15 h 181"/>
                <a:gd name="T38" fmla="*/ 0 w 120"/>
                <a:gd name="T39" fmla="*/ 181 h 181"/>
                <a:gd name="T40" fmla="*/ 105 w 120"/>
                <a:gd name="T41" fmla="*/ 181 h 181"/>
                <a:gd name="T42" fmla="*/ 108 w 120"/>
                <a:gd name="T43" fmla="*/ 180 h 181"/>
                <a:gd name="T44" fmla="*/ 111 w 120"/>
                <a:gd name="T45" fmla="*/ 179 h 181"/>
                <a:gd name="T46" fmla="*/ 113 w 120"/>
                <a:gd name="T47" fmla="*/ 178 h 181"/>
                <a:gd name="T48" fmla="*/ 116 w 120"/>
                <a:gd name="T49" fmla="*/ 176 h 181"/>
                <a:gd name="T50" fmla="*/ 118 w 120"/>
                <a:gd name="T51" fmla="*/ 174 h 181"/>
                <a:gd name="T52" fmla="*/ 119 w 120"/>
                <a:gd name="T53" fmla="*/ 172 h 181"/>
                <a:gd name="T54" fmla="*/ 120 w 120"/>
                <a:gd name="T55" fmla="*/ 168 h 181"/>
                <a:gd name="T56" fmla="*/ 120 w 120"/>
                <a:gd name="T57" fmla="*/ 166 h 181"/>
                <a:gd name="T58" fmla="*/ 120 w 120"/>
                <a:gd name="T59" fmla="*/ 163 h 181"/>
                <a:gd name="T60" fmla="*/ 119 w 120"/>
                <a:gd name="T61" fmla="*/ 160 h 181"/>
                <a:gd name="T62" fmla="*/ 118 w 120"/>
                <a:gd name="T63" fmla="*/ 158 h 181"/>
                <a:gd name="T64" fmla="*/ 116 w 120"/>
                <a:gd name="T65" fmla="*/ 155 h 181"/>
                <a:gd name="T66" fmla="*/ 113 w 120"/>
                <a:gd name="T67" fmla="*/ 153 h 181"/>
                <a:gd name="T68" fmla="*/ 111 w 120"/>
                <a:gd name="T69" fmla="*/ 152 h 181"/>
                <a:gd name="T70" fmla="*/ 108 w 120"/>
                <a:gd name="T71" fmla="*/ 151 h 181"/>
                <a:gd name="T72" fmla="*/ 105 w 120"/>
                <a:gd name="T73" fmla="*/ 15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81">
                  <a:moveTo>
                    <a:pt x="105" y="150"/>
                  </a:moveTo>
                  <a:lnTo>
                    <a:pt x="30" y="150"/>
                  </a:lnTo>
                  <a:lnTo>
                    <a:pt x="30" y="15"/>
                  </a:lnTo>
                  <a:lnTo>
                    <a:pt x="30" y="12"/>
                  </a:lnTo>
                  <a:lnTo>
                    <a:pt x="29" y="10"/>
                  </a:lnTo>
                  <a:lnTo>
                    <a:pt x="28" y="7"/>
                  </a:lnTo>
                  <a:lnTo>
                    <a:pt x="26" y="5"/>
                  </a:lnTo>
                  <a:lnTo>
                    <a:pt x="24" y="4"/>
                  </a:lnTo>
                  <a:lnTo>
                    <a:pt x="20" y="2"/>
                  </a:lnTo>
                  <a:lnTo>
                    <a:pt x="18" y="0"/>
                  </a:lnTo>
                  <a:lnTo>
                    <a:pt x="15" y="0"/>
                  </a:lnTo>
                  <a:lnTo>
                    <a:pt x="12" y="0"/>
                  </a:lnTo>
                  <a:lnTo>
                    <a:pt x="9" y="2"/>
                  </a:lnTo>
                  <a:lnTo>
                    <a:pt x="7" y="4"/>
                  </a:lnTo>
                  <a:lnTo>
                    <a:pt x="4" y="5"/>
                  </a:lnTo>
                  <a:lnTo>
                    <a:pt x="2" y="7"/>
                  </a:lnTo>
                  <a:lnTo>
                    <a:pt x="1" y="10"/>
                  </a:lnTo>
                  <a:lnTo>
                    <a:pt x="0" y="12"/>
                  </a:lnTo>
                  <a:lnTo>
                    <a:pt x="0" y="15"/>
                  </a:lnTo>
                  <a:lnTo>
                    <a:pt x="0" y="181"/>
                  </a:lnTo>
                  <a:lnTo>
                    <a:pt x="105" y="181"/>
                  </a:lnTo>
                  <a:lnTo>
                    <a:pt x="108" y="180"/>
                  </a:lnTo>
                  <a:lnTo>
                    <a:pt x="111" y="179"/>
                  </a:lnTo>
                  <a:lnTo>
                    <a:pt x="113" y="178"/>
                  </a:lnTo>
                  <a:lnTo>
                    <a:pt x="116" y="176"/>
                  </a:lnTo>
                  <a:lnTo>
                    <a:pt x="118" y="174"/>
                  </a:lnTo>
                  <a:lnTo>
                    <a:pt x="119" y="172"/>
                  </a:lnTo>
                  <a:lnTo>
                    <a:pt x="120" y="168"/>
                  </a:lnTo>
                  <a:lnTo>
                    <a:pt x="120" y="166"/>
                  </a:lnTo>
                  <a:lnTo>
                    <a:pt x="120" y="163"/>
                  </a:lnTo>
                  <a:lnTo>
                    <a:pt x="119" y="160"/>
                  </a:lnTo>
                  <a:lnTo>
                    <a:pt x="118" y="158"/>
                  </a:lnTo>
                  <a:lnTo>
                    <a:pt x="116" y="155"/>
                  </a:lnTo>
                  <a:lnTo>
                    <a:pt x="113" y="153"/>
                  </a:lnTo>
                  <a:lnTo>
                    <a:pt x="111" y="152"/>
                  </a:lnTo>
                  <a:lnTo>
                    <a:pt x="108" y="151"/>
                  </a:lnTo>
                  <a:lnTo>
                    <a:pt x="105" y="15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88"/>
            <p:cNvSpPr>
              <a:spLocks noEditPoints="1"/>
            </p:cNvSpPr>
            <p:nvPr/>
          </p:nvSpPr>
          <p:spPr bwMode="auto">
            <a:xfrm>
              <a:off x="7027863" y="798513"/>
              <a:ext cx="247650" cy="201613"/>
            </a:xfrm>
            <a:custGeom>
              <a:avLst/>
              <a:gdLst>
                <a:gd name="T0" fmla="*/ 697 w 781"/>
                <a:gd name="T1" fmla="*/ 30 h 631"/>
                <a:gd name="T2" fmla="*/ 715 w 781"/>
                <a:gd name="T3" fmla="*/ 36 h 631"/>
                <a:gd name="T4" fmla="*/ 729 w 781"/>
                <a:gd name="T5" fmla="*/ 44 h 631"/>
                <a:gd name="T6" fmla="*/ 741 w 781"/>
                <a:gd name="T7" fmla="*/ 57 h 631"/>
                <a:gd name="T8" fmla="*/ 749 w 781"/>
                <a:gd name="T9" fmla="*/ 73 h 631"/>
                <a:gd name="T10" fmla="*/ 751 w 781"/>
                <a:gd name="T11" fmla="*/ 90 h 631"/>
                <a:gd name="T12" fmla="*/ 31 w 781"/>
                <a:gd name="T13" fmla="*/ 90 h 631"/>
                <a:gd name="T14" fmla="*/ 34 w 781"/>
                <a:gd name="T15" fmla="*/ 73 h 631"/>
                <a:gd name="T16" fmla="*/ 41 w 781"/>
                <a:gd name="T17" fmla="*/ 57 h 631"/>
                <a:gd name="T18" fmla="*/ 53 w 781"/>
                <a:gd name="T19" fmla="*/ 44 h 631"/>
                <a:gd name="T20" fmla="*/ 68 w 781"/>
                <a:gd name="T21" fmla="*/ 36 h 631"/>
                <a:gd name="T22" fmla="*/ 85 w 781"/>
                <a:gd name="T23" fmla="*/ 30 h 631"/>
                <a:gd name="T24" fmla="*/ 286 w 781"/>
                <a:gd name="T25" fmla="*/ 600 h 631"/>
                <a:gd name="T26" fmla="*/ 78 w 781"/>
                <a:gd name="T27" fmla="*/ 599 h 631"/>
                <a:gd name="T28" fmla="*/ 62 w 781"/>
                <a:gd name="T29" fmla="*/ 594 h 631"/>
                <a:gd name="T30" fmla="*/ 48 w 781"/>
                <a:gd name="T31" fmla="*/ 583 h 631"/>
                <a:gd name="T32" fmla="*/ 38 w 781"/>
                <a:gd name="T33" fmla="*/ 569 h 631"/>
                <a:gd name="T34" fmla="*/ 32 w 781"/>
                <a:gd name="T35" fmla="*/ 553 h 631"/>
                <a:gd name="T36" fmla="*/ 31 w 781"/>
                <a:gd name="T37" fmla="*/ 180 h 631"/>
                <a:gd name="T38" fmla="*/ 751 w 781"/>
                <a:gd name="T39" fmla="*/ 303 h 631"/>
                <a:gd name="T40" fmla="*/ 755 w 781"/>
                <a:gd name="T41" fmla="*/ 311 h 631"/>
                <a:gd name="T42" fmla="*/ 763 w 781"/>
                <a:gd name="T43" fmla="*/ 315 h 631"/>
                <a:gd name="T44" fmla="*/ 772 w 781"/>
                <a:gd name="T45" fmla="*/ 315 h 631"/>
                <a:gd name="T46" fmla="*/ 779 w 781"/>
                <a:gd name="T47" fmla="*/ 309 h 631"/>
                <a:gd name="T48" fmla="*/ 781 w 781"/>
                <a:gd name="T49" fmla="*/ 301 h 631"/>
                <a:gd name="T50" fmla="*/ 780 w 781"/>
                <a:gd name="T51" fmla="*/ 72 h 631"/>
                <a:gd name="T52" fmla="*/ 770 w 781"/>
                <a:gd name="T53" fmla="*/ 47 h 631"/>
                <a:gd name="T54" fmla="*/ 755 w 781"/>
                <a:gd name="T55" fmla="*/ 27 h 631"/>
                <a:gd name="T56" fmla="*/ 734 w 781"/>
                <a:gd name="T57" fmla="*/ 11 h 631"/>
                <a:gd name="T58" fmla="*/ 709 w 781"/>
                <a:gd name="T59" fmla="*/ 2 h 631"/>
                <a:gd name="T60" fmla="*/ 91 w 781"/>
                <a:gd name="T61" fmla="*/ 0 h 631"/>
                <a:gd name="T62" fmla="*/ 65 w 781"/>
                <a:gd name="T63" fmla="*/ 5 h 631"/>
                <a:gd name="T64" fmla="*/ 41 w 781"/>
                <a:gd name="T65" fmla="*/ 15 h 631"/>
                <a:gd name="T66" fmla="*/ 22 w 781"/>
                <a:gd name="T67" fmla="*/ 33 h 631"/>
                <a:gd name="T68" fmla="*/ 8 w 781"/>
                <a:gd name="T69" fmla="*/ 56 h 631"/>
                <a:gd name="T70" fmla="*/ 1 w 781"/>
                <a:gd name="T71" fmla="*/ 82 h 631"/>
                <a:gd name="T72" fmla="*/ 1 w 781"/>
                <a:gd name="T73" fmla="*/ 550 h 631"/>
                <a:gd name="T74" fmla="*/ 8 w 781"/>
                <a:gd name="T75" fmla="*/ 576 h 631"/>
                <a:gd name="T76" fmla="*/ 22 w 781"/>
                <a:gd name="T77" fmla="*/ 598 h 631"/>
                <a:gd name="T78" fmla="*/ 41 w 781"/>
                <a:gd name="T79" fmla="*/ 615 h 631"/>
                <a:gd name="T80" fmla="*/ 65 w 781"/>
                <a:gd name="T81" fmla="*/ 627 h 631"/>
                <a:gd name="T82" fmla="*/ 91 w 781"/>
                <a:gd name="T83" fmla="*/ 631 h 631"/>
                <a:gd name="T84" fmla="*/ 292 w 781"/>
                <a:gd name="T85" fmla="*/ 629 h 631"/>
                <a:gd name="T86" fmla="*/ 299 w 781"/>
                <a:gd name="T87" fmla="*/ 624 h 631"/>
                <a:gd name="T88" fmla="*/ 301 w 781"/>
                <a:gd name="T89" fmla="*/ 615 h 631"/>
                <a:gd name="T90" fmla="*/ 299 w 781"/>
                <a:gd name="T91" fmla="*/ 608 h 631"/>
                <a:gd name="T92" fmla="*/ 292 w 781"/>
                <a:gd name="T93" fmla="*/ 60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1" h="631">
                  <a:moveTo>
                    <a:pt x="91" y="30"/>
                  </a:moveTo>
                  <a:lnTo>
                    <a:pt x="691" y="30"/>
                  </a:lnTo>
                  <a:lnTo>
                    <a:pt x="697" y="30"/>
                  </a:lnTo>
                  <a:lnTo>
                    <a:pt x="703" y="31"/>
                  </a:lnTo>
                  <a:lnTo>
                    <a:pt x="709" y="33"/>
                  </a:lnTo>
                  <a:lnTo>
                    <a:pt x="715" y="36"/>
                  </a:lnTo>
                  <a:lnTo>
                    <a:pt x="720" y="38"/>
                  </a:lnTo>
                  <a:lnTo>
                    <a:pt x="724" y="41"/>
                  </a:lnTo>
                  <a:lnTo>
                    <a:pt x="729" y="44"/>
                  </a:lnTo>
                  <a:lnTo>
                    <a:pt x="734" y="48"/>
                  </a:lnTo>
                  <a:lnTo>
                    <a:pt x="737" y="53"/>
                  </a:lnTo>
                  <a:lnTo>
                    <a:pt x="741" y="57"/>
                  </a:lnTo>
                  <a:lnTo>
                    <a:pt x="743" y="62"/>
                  </a:lnTo>
                  <a:lnTo>
                    <a:pt x="747" y="67"/>
                  </a:lnTo>
                  <a:lnTo>
                    <a:pt x="749" y="73"/>
                  </a:lnTo>
                  <a:lnTo>
                    <a:pt x="750" y="78"/>
                  </a:lnTo>
                  <a:lnTo>
                    <a:pt x="751" y="85"/>
                  </a:lnTo>
                  <a:lnTo>
                    <a:pt x="751" y="90"/>
                  </a:lnTo>
                  <a:lnTo>
                    <a:pt x="751" y="150"/>
                  </a:lnTo>
                  <a:lnTo>
                    <a:pt x="31" y="150"/>
                  </a:lnTo>
                  <a:lnTo>
                    <a:pt x="31" y="90"/>
                  </a:lnTo>
                  <a:lnTo>
                    <a:pt x="31" y="85"/>
                  </a:lnTo>
                  <a:lnTo>
                    <a:pt x="32" y="78"/>
                  </a:lnTo>
                  <a:lnTo>
                    <a:pt x="34" y="73"/>
                  </a:lnTo>
                  <a:lnTo>
                    <a:pt x="36" y="67"/>
                  </a:lnTo>
                  <a:lnTo>
                    <a:pt x="38" y="61"/>
                  </a:lnTo>
                  <a:lnTo>
                    <a:pt x="41" y="57"/>
                  </a:lnTo>
                  <a:lnTo>
                    <a:pt x="44" y="53"/>
                  </a:lnTo>
                  <a:lnTo>
                    <a:pt x="48" y="48"/>
                  </a:lnTo>
                  <a:lnTo>
                    <a:pt x="53" y="44"/>
                  </a:lnTo>
                  <a:lnTo>
                    <a:pt x="57" y="41"/>
                  </a:lnTo>
                  <a:lnTo>
                    <a:pt x="62" y="38"/>
                  </a:lnTo>
                  <a:lnTo>
                    <a:pt x="68" y="36"/>
                  </a:lnTo>
                  <a:lnTo>
                    <a:pt x="73" y="33"/>
                  </a:lnTo>
                  <a:lnTo>
                    <a:pt x="78" y="31"/>
                  </a:lnTo>
                  <a:lnTo>
                    <a:pt x="85" y="30"/>
                  </a:lnTo>
                  <a:lnTo>
                    <a:pt x="91" y="30"/>
                  </a:lnTo>
                  <a:lnTo>
                    <a:pt x="91" y="30"/>
                  </a:lnTo>
                  <a:close/>
                  <a:moveTo>
                    <a:pt x="286" y="600"/>
                  </a:moveTo>
                  <a:lnTo>
                    <a:pt x="91" y="600"/>
                  </a:lnTo>
                  <a:lnTo>
                    <a:pt x="85" y="600"/>
                  </a:lnTo>
                  <a:lnTo>
                    <a:pt x="78" y="599"/>
                  </a:lnTo>
                  <a:lnTo>
                    <a:pt x="73" y="598"/>
                  </a:lnTo>
                  <a:lnTo>
                    <a:pt x="68" y="596"/>
                  </a:lnTo>
                  <a:lnTo>
                    <a:pt x="62" y="594"/>
                  </a:lnTo>
                  <a:lnTo>
                    <a:pt x="57" y="591"/>
                  </a:lnTo>
                  <a:lnTo>
                    <a:pt x="53" y="587"/>
                  </a:lnTo>
                  <a:lnTo>
                    <a:pt x="48" y="583"/>
                  </a:lnTo>
                  <a:lnTo>
                    <a:pt x="44" y="579"/>
                  </a:lnTo>
                  <a:lnTo>
                    <a:pt x="41" y="575"/>
                  </a:lnTo>
                  <a:lnTo>
                    <a:pt x="38" y="569"/>
                  </a:lnTo>
                  <a:lnTo>
                    <a:pt x="36" y="564"/>
                  </a:lnTo>
                  <a:lnTo>
                    <a:pt x="34" y="559"/>
                  </a:lnTo>
                  <a:lnTo>
                    <a:pt x="32" y="553"/>
                  </a:lnTo>
                  <a:lnTo>
                    <a:pt x="31" y="547"/>
                  </a:lnTo>
                  <a:lnTo>
                    <a:pt x="31" y="540"/>
                  </a:lnTo>
                  <a:lnTo>
                    <a:pt x="31" y="180"/>
                  </a:lnTo>
                  <a:lnTo>
                    <a:pt x="751" y="180"/>
                  </a:lnTo>
                  <a:lnTo>
                    <a:pt x="751" y="301"/>
                  </a:lnTo>
                  <a:lnTo>
                    <a:pt x="751" y="303"/>
                  </a:lnTo>
                  <a:lnTo>
                    <a:pt x="752" y="306"/>
                  </a:lnTo>
                  <a:lnTo>
                    <a:pt x="754" y="309"/>
                  </a:lnTo>
                  <a:lnTo>
                    <a:pt x="755" y="311"/>
                  </a:lnTo>
                  <a:lnTo>
                    <a:pt x="757" y="313"/>
                  </a:lnTo>
                  <a:lnTo>
                    <a:pt x="760" y="315"/>
                  </a:lnTo>
                  <a:lnTo>
                    <a:pt x="763" y="315"/>
                  </a:lnTo>
                  <a:lnTo>
                    <a:pt x="766" y="316"/>
                  </a:lnTo>
                  <a:lnTo>
                    <a:pt x="769" y="315"/>
                  </a:lnTo>
                  <a:lnTo>
                    <a:pt x="772" y="315"/>
                  </a:lnTo>
                  <a:lnTo>
                    <a:pt x="774" y="313"/>
                  </a:lnTo>
                  <a:lnTo>
                    <a:pt x="777" y="311"/>
                  </a:lnTo>
                  <a:lnTo>
                    <a:pt x="779" y="309"/>
                  </a:lnTo>
                  <a:lnTo>
                    <a:pt x="780" y="306"/>
                  </a:lnTo>
                  <a:lnTo>
                    <a:pt x="781" y="304"/>
                  </a:lnTo>
                  <a:lnTo>
                    <a:pt x="781" y="301"/>
                  </a:lnTo>
                  <a:lnTo>
                    <a:pt x="781" y="90"/>
                  </a:lnTo>
                  <a:lnTo>
                    <a:pt x="781" y="82"/>
                  </a:lnTo>
                  <a:lnTo>
                    <a:pt x="780" y="72"/>
                  </a:lnTo>
                  <a:lnTo>
                    <a:pt x="777" y="63"/>
                  </a:lnTo>
                  <a:lnTo>
                    <a:pt x="774" y="56"/>
                  </a:lnTo>
                  <a:lnTo>
                    <a:pt x="770" y="47"/>
                  </a:lnTo>
                  <a:lnTo>
                    <a:pt x="766" y="40"/>
                  </a:lnTo>
                  <a:lnTo>
                    <a:pt x="760" y="33"/>
                  </a:lnTo>
                  <a:lnTo>
                    <a:pt x="755" y="27"/>
                  </a:lnTo>
                  <a:lnTo>
                    <a:pt x="749" y="21"/>
                  </a:lnTo>
                  <a:lnTo>
                    <a:pt x="741" y="15"/>
                  </a:lnTo>
                  <a:lnTo>
                    <a:pt x="734" y="11"/>
                  </a:lnTo>
                  <a:lnTo>
                    <a:pt x="726" y="8"/>
                  </a:lnTo>
                  <a:lnTo>
                    <a:pt x="718" y="5"/>
                  </a:lnTo>
                  <a:lnTo>
                    <a:pt x="709" y="2"/>
                  </a:lnTo>
                  <a:lnTo>
                    <a:pt x="701" y="1"/>
                  </a:lnTo>
                  <a:lnTo>
                    <a:pt x="691" y="0"/>
                  </a:lnTo>
                  <a:lnTo>
                    <a:pt x="91" y="0"/>
                  </a:lnTo>
                  <a:lnTo>
                    <a:pt x="82" y="0"/>
                  </a:lnTo>
                  <a:lnTo>
                    <a:pt x="73" y="2"/>
                  </a:lnTo>
                  <a:lnTo>
                    <a:pt x="65" y="5"/>
                  </a:lnTo>
                  <a:lnTo>
                    <a:pt x="56" y="8"/>
                  </a:lnTo>
                  <a:lnTo>
                    <a:pt x="48" y="11"/>
                  </a:lnTo>
                  <a:lnTo>
                    <a:pt x="41" y="15"/>
                  </a:lnTo>
                  <a:lnTo>
                    <a:pt x="34" y="21"/>
                  </a:lnTo>
                  <a:lnTo>
                    <a:pt x="27" y="27"/>
                  </a:lnTo>
                  <a:lnTo>
                    <a:pt x="22" y="33"/>
                  </a:lnTo>
                  <a:lnTo>
                    <a:pt x="16" y="40"/>
                  </a:lnTo>
                  <a:lnTo>
                    <a:pt x="12" y="47"/>
                  </a:lnTo>
                  <a:lnTo>
                    <a:pt x="8" y="56"/>
                  </a:lnTo>
                  <a:lnTo>
                    <a:pt x="5" y="63"/>
                  </a:lnTo>
                  <a:lnTo>
                    <a:pt x="3" y="72"/>
                  </a:lnTo>
                  <a:lnTo>
                    <a:pt x="1" y="82"/>
                  </a:lnTo>
                  <a:lnTo>
                    <a:pt x="0" y="90"/>
                  </a:lnTo>
                  <a:lnTo>
                    <a:pt x="0" y="540"/>
                  </a:lnTo>
                  <a:lnTo>
                    <a:pt x="1" y="550"/>
                  </a:lnTo>
                  <a:lnTo>
                    <a:pt x="3" y="559"/>
                  </a:lnTo>
                  <a:lnTo>
                    <a:pt x="5" y="567"/>
                  </a:lnTo>
                  <a:lnTo>
                    <a:pt x="8" y="576"/>
                  </a:lnTo>
                  <a:lnTo>
                    <a:pt x="12" y="583"/>
                  </a:lnTo>
                  <a:lnTo>
                    <a:pt x="16" y="591"/>
                  </a:lnTo>
                  <a:lnTo>
                    <a:pt x="22" y="598"/>
                  </a:lnTo>
                  <a:lnTo>
                    <a:pt x="27" y="604"/>
                  </a:lnTo>
                  <a:lnTo>
                    <a:pt x="34" y="610"/>
                  </a:lnTo>
                  <a:lnTo>
                    <a:pt x="41" y="615"/>
                  </a:lnTo>
                  <a:lnTo>
                    <a:pt x="48" y="619"/>
                  </a:lnTo>
                  <a:lnTo>
                    <a:pt x="56" y="624"/>
                  </a:lnTo>
                  <a:lnTo>
                    <a:pt x="65" y="627"/>
                  </a:lnTo>
                  <a:lnTo>
                    <a:pt x="73" y="629"/>
                  </a:lnTo>
                  <a:lnTo>
                    <a:pt x="82" y="630"/>
                  </a:lnTo>
                  <a:lnTo>
                    <a:pt x="91" y="631"/>
                  </a:lnTo>
                  <a:lnTo>
                    <a:pt x="286" y="630"/>
                  </a:lnTo>
                  <a:lnTo>
                    <a:pt x="289" y="630"/>
                  </a:lnTo>
                  <a:lnTo>
                    <a:pt x="292" y="629"/>
                  </a:lnTo>
                  <a:lnTo>
                    <a:pt x="294" y="628"/>
                  </a:lnTo>
                  <a:lnTo>
                    <a:pt x="297" y="626"/>
                  </a:lnTo>
                  <a:lnTo>
                    <a:pt x="299" y="624"/>
                  </a:lnTo>
                  <a:lnTo>
                    <a:pt x="300" y="622"/>
                  </a:lnTo>
                  <a:lnTo>
                    <a:pt x="301" y="618"/>
                  </a:lnTo>
                  <a:lnTo>
                    <a:pt x="301" y="615"/>
                  </a:lnTo>
                  <a:lnTo>
                    <a:pt x="301" y="613"/>
                  </a:lnTo>
                  <a:lnTo>
                    <a:pt x="300" y="610"/>
                  </a:lnTo>
                  <a:lnTo>
                    <a:pt x="299" y="608"/>
                  </a:lnTo>
                  <a:lnTo>
                    <a:pt x="297" y="606"/>
                  </a:lnTo>
                  <a:lnTo>
                    <a:pt x="294" y="603"/>
                  </a:lnTo>
                  <a:lnTo>
                    <a:pt x="292" y="602"/>
                  </a:lnTo>
                  <a:lnTo>
                    <a:pt x="289" y="601"/>
                  </a:lnTo>
                  <a:lnTo>
                    <a:pt x="286" y="60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89"/>
            <p:cNvSpPr>
              <a:spLocks/>
            </p:cNvSpPr>
            <p:nvPr/>
          </p:nvSpPr>
          <p:spPr bwMode="auto">
            <a:xfrm>
              <a:off x="7056438" y="817563"/>
              <a:ext cx="19050" cy="19050"/>
            </a:xfrm>
            <a:custGeom>
              <a:avLst/>
              <a:gdLst>
                <a:gd name="T0" fmla="*/ 30 w 60"/>
                <a:gd name="T1" fmla="*/ 60 h 60"/>
                <a:gd name="T2" fmla="*/ 36 w 60"/>
                <a:gd name="T3" fmla="*/ 60 h 60"/>
                <a:gd name="T4" fmla="*/ 42 w 60"/>
                <a:gd name="T5" fmla="*/ 58 h 60"/>
                <a:gd name="T6" fmla="*/ 46 w 60"/>
                <a:gd name="T7" fmla="*/ 56 h 60"/>
                <a:gd name="T8" fmla="*/ 52 w 60"/>
                <a:gd name="T9" fmla="*/ 52 h 60"/>
                <a:gd name="T10" fmla="*/ 55 w 60"/>
                <a:gd name="T11" fmla="*/ 47 h 60"/>
                <a:gd name="T12" fmla="*/ 58 w 60"/>
                <a:gd name="T13" fmla="*/ 42 h 60"/>
                <a:gd name="T14" fmla="*/ 59 w 60"/>
                <a:gd name="T15" fmla="*/ 37 h 60"/>
                <a:gd name="T16" fmla="*/ 60 w 60"/>
                <a:gd name="T17" fmla="*/ 30 h 60"/>
                <a:gd name="T18" fmla="*/ 59 w 60"/>
                <a:gd name="T19" fmla="*/ 25 h 60"/>
                <a:gd name="T20" fmla="*/ 58 w 60"/>
                <a:gd name="T21" fmla="*/ 18 h 60"/>
                <a:gd name="T22" fmla="*/ 55 w 60"/>
                <a:gd name="T23" fmla="*/ 14 h 60"/>
                <a:gd name="T24" fmla="*/ 52 w 60"/>
                <a:gd name="T25" fmla="*/ 9 h 60"/>
                <a:gd name="T26" fmla="*/ 46 w 60"/>
                <a:gd name="T27" fmla="*/ 6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6 h 60"/>
                <a:gd name="T40" fmla="*/ 9 w 60"/>
                <a:gd name="T41" fmla="*/ 9 h 60"/>
                <a:gd name="T42" fmla="*/ 5 w 60"/>
                <a:gd name="T43" fmla="*/ 14 h 60"/>
                <a:gd name="T44" fmla="*/ 2 w 60"/>
                <a:gd name="T45" fmla="*/ 18 h 60"/>
                <a:gd name="T46" fmla="*/ 0 w 60"/>
                <a:gd name="T47" fmla="*/ 25 h 60"/>
                <a:gd name="T48" fmla="*/ 0 w 60"/>
                <a:gd name="T49" fmla="*/ 30 h 60"/>
                <a:gd name="T50" fmla="*/ 0 w 60"/>
                <a:gd name="T51" fmla="*/ 37 h 60"/>
                <a:gd name="T52" fmla="*/ 2 w 60"/>
                <a:gd name="T53" fmla="*/ 42 h 60"/>
                <a:gd name="T54" fmla="*/ 5 w 60"/>
                <a:gd name="T55" fmla="*/ 47 h 60"/>
                <a:gd name="T56" fmla="*/ 9 w 60"/>
                <a:gd name="T57" fmla="*/ 52 h 60"/>
                <a:gd name="T58" fmla="*/ 13 w 60"/>
                <a:gd name="T59" fmla="*/ 56 h 60"/>
                <a:gd name="T60" fmla="*/ 18 w 60"/>
                <a:gd name="T61" fmla="*/ 58 h 60"/>
                <a:gd name="T62" fmla="*/ 24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6" y="56"/>
                  </a:lnTo>
                  <a:lnTo>
                    <a:pt x="52" y="52"/>
                  </a:lnTo>
                  <a:lnTo>
                    <a:pt x="55" y="47"/>
                  </a:lnTo>
                  <a:lnTo>
                    <a:pt x="58" y="42"/>
                  </a:lnTo>
                  <a:lnTo>
                    <a:pt x="59" y="37"/>
                  </a:lnTo>
                  <a:lnTo>
                    <a:pt x="60" y="30"/>
                  </a:lnTo>
                  <a:lnTo>
                    <a:pt x="59" y="25"/>
                  </a:lnTo>
                  <a:lnTo>
                    <a:pt x="58" y="18"/>
                  </a:lnTo>
                  <a:lnTo>
                    <a:pt x="55" y="14"/>
                  </a:lnTo>
                  <a:lnTo>
                    <a:pt x="52" y="9"/>
                  </a:lnTo>
                  <a:lnTo>
                    <a:pt x="46" y="6"/>
                  </a:lnTo>
                  <a:lnTo>
                    <a:pt x="42" y="2"/>
                  </a:lnTo>
                  <a:lnTo>
                    <a:pt x="36" y="1"/>
                  </a:lnTo>
                  <a:lnTo>
                    <a:pt x="30" y="0"/>
                  </a:lnTo>
                  <a:lnTo>
                    <a:pt x="24" y="1"/>
                  </a:lnTo>
                  <a:lnTo>
                    <a:pt x="18" y="2"/>
                  </a:lnTo>
                  <a:lnTo>
                    <a:pt x="13" y="6"/>
                  </a:lnTo>
                  <a:lnTo>
                    <a:pt x="9" y="9"/>
                  </a:lnTo>
                  <a:lnTo>
                    <a:pt x="5" y="14"/>
                  </a:lnTo>
                  <a:lnTo>
                    <a:pt x="2" y="18"/>
                  </a:lnTo>
                  <a:lnTo>
                    <a:pt x="0" y="25"/>
                  </a:lnTo>
                  <a:lnTo>
                    <a:pt x="0" y="30"/>
                  </a:lnTo>
                  <a:lnTo>
                    <a:pt x="0" y="37"/>
                  </a:lnTo>
                  <a:lnTo>
                    <a:pt x="2" y="42"/>
                  </a:lnTo>
                  <a:lnTo>
                    <a:pt x="5" y="47"/>
                  </a:lnTo>
                  <a:lnTo>
                    <a:pt x="9" y="52"/>
                  </a:lnTo>
                  <a:lnTo>
                    <a:pt x="13" y="56"/>
                  </a:lnTo>
                  <a:lnTo>
                    <a:pt x="18" y="58"/>
                  </a:lnTo>
                  <a:lnTo>
                    <a:pt x="24"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90"/>
            <p:cNvSpPr>
              <a:spLocks/>
            </p:cNvSpPr>
            <p:nvPr/>
          </p:nvSpPr>
          <p:spPr bwMode="auto">
            <a:xfrm>
              <a:off x="7085013" y="817563"/>
              <a:ext cx="19050" cy="19050"/>
            </a:xfrm>
            <a:custGeom>
              <a:avLst/>
              <a:gdLst>
                <a:gd name="T0" fmla="*/ 30 w 60"/>
                <a:gd name="T1" fmla="*/ 60 h 60"/>
                <a:gd name="T2" fmla="*/ 36 w 60"/>
                <a:gd name="T3" fmla="*/ 60 h 60"/>
                <a:gd name="T4" fmla="*/ 42 w 60"/>
                <a:gd name="T5" fmla="*/ 58 h 60"/>
                <a:gd name="T6" fmla="*/ 47 w 60"/>
                <a:gd name="T7" fmla="*/ 56 h 60"/>
                <a:gd name="T8" fmla="*/ 51 w 60"/>
                <a:gd name="T9" fmla="*/ 52 h 60"/>
                <a:gd name="T10" fmla="*/ 55 w 60"/>
                <a:gd name="T11" fmla="*/ 47 h 60"/>
                <a:gd name="T12" fmla="*/ 58 w 60"/>
                <a:gd name="T13" fmla="*/ 42 h 60"/>
                <a:gd name="T14" fmla="*/ 59 w 60"/>
                <a:gd name="T15" fmla="*/ 37 h 60"/>
                <a:gd name="T16" fmla="*/ 60 w 60"/>
                <a:gd name="T17" fmla="*/ 30 h 60"/>
                <a:gd name="T18" fmla="*/ 59 w 60"/>
                <a:gd name="T19" fmla="*/ 25 h 60"/>
                <a:gd name="T20" fmla="*/ 58 w 60"/>
                <a:gd name="T21" fmla="*/ 18 h 60"/>
                <a:gd name="T22" fmla="*/ 55 w 60"/>
                <a:gd name="T23" fmla="*/ 14 h 60"/>
                <a:gd name="T24" fmla="*/ 51 w 60"/>
                <a:gd name="T25" fmla="*/ 9 h 60"/>
                <a:gd name="T26" fmla="*/ 47 w 60"/>
                <a:gd name="T27" fmla="*/ 6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6 h 60"/>
                <a:gd name="T40" fmla="*/ 9 w 60"/>
                <a:gd name="T41" fmla="*/ 9 h 60"/>
                <a:gd name="T42" fmla="*/ 5 w 60"/>
                <a:gd name="T43" fmla="*/ 14 h 60"/>
                <a:gd name="T44" fmla="*/ 2 w 60"/>
                <a:gd name="T45" fmla="*/ 18 h 60"/>
                <a:gd name="T46" fmla="*/ 0 w 60"/>
                <a:gd name="T47" fmla="*/ 25 h 60"/>
                <a:gd name="T48" fmla="*/ 0 w 60"/>
                <a:gd name="T49" fmla="*/ 30 h 60"/>
                <a:gd name="T50" fmla="*/ 0 w 60"/>
                <a:gd name="T51" fmla="*/ 37 h 60"/>
                <a:gd name="T52" fmla="*/ 2 w 60"/>
                <a:gd name="T53" fmla="*/ 42 h 60"/>
                <a:gd name="T54" fmla="*/ 5 w 60"/>
                <a:gd name="T55" fmla="*/ 47 h 60"/>
                <a:gd name="T56" fmla="*/ 9 w 60"/>
                <a:gd name="T57" fmla="*/ 52 h 60"/>
                <a:gd name="T58" fmla="*/ 13 w 60"/>
                <a:gd name="T59" fmla="*/ 56 h 60"/>
                <a:gd name="T60" fmla="*/ 18 w 60"/>
                <a:gd name="T61" fmla="*/ 58 h 60"/>
                <a:gd name="T62" fmla="*/ 24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7" y="56"/>
                  </a:lnTo>
                  <a:lnTo>
                    <a:pt x="51" y="52"/>
                  </a:lnTo>
                  <a:lnTo>
                    <a:pt x="55" y="47"/>
                  </a:lnTo>
                  <a:lnTo>
                    <a:pt x="58" y="42"/>
                  </a:lnTo>
                  <a:lnTo>
                    <a:pt x="59" y="37"/>
                  </a:lnTo>
                  <a:lnTo>
                    <a:pt x="60" y="30"/>
                  </a:lnTo>
                  <a:lnTo>
                    <a:pt x="59" y="25"/>
                  </a:lnTo>
                  <a:lnTo>
                    <a:pt x="58" y="18"/>
                  </a:lnTo>
                  <a:lnTo>
                    <a:pt x="55" y="14"/>
                  </a:lnTo>
                  <a:lnTo>
                    <a:pt x="51" y="9"/>
                  </a:lnTo>
                  <a:lnTo>
                    <a:pt x="47" y="6"/>
                  </a:lnTo>
                  <a:lnTo>
                    <a:pt x="42" y="2"/>
                  </a:lnTo>
                  <a:lnTo>
                    <a:pt x="36" y="1"/>
                  </a:lnTo>
                  <a:lnTo>
                    <a:pt x="30" y="0"/>
                  </a:lnTo>
                  <a:lnTo>
                    <a:pt x="24" y="1"/>
                  </a:lnTo>
                  <a:lnTo>
                    <a:pt x="18" y="2"/>
                  </a:lnTo>
                  <a:lnTo>
                    <a:pt x="13" y="6"/>
                  </a:lnTo>
                  <a:lnTo>
                    <a:pt x="9" y="9"/>
                  </a:lnTo>
                  <a:lnTo>
                    <a:pt x="5" y="14"/>
                  </a:lnTo>
                  <a:lnTo>
                    <a:pt x="2" y="18"/>
                  </a:lnTo>
                  <a:lnTo>
                    <a:pt x="0" y="25"/>
                  </a:lnTo>
                  <a:lnTo>
                    <a:pt x="0" y="30"/>
                  </a:lnTo>
                  <a:lnTo>
                    <a:pt x="0" y="37"/>
                  </a:lnTo>
                  <a:lnTo>
                    <a:pt x="2" y="42"/>
                  </a:lnTo>
                  <a:lnTo>
                    <a:pt x="5" y="47"/>
                  </a:lnTo>
                  <a:lnTo>
                    <a:pt x="9" y="52"/>
                  </a:lnTo>
                  <a:lnTo>
                    <a:pt x="13" y="56"/>
                  </a:lnTo>
                  <a:lnTo>
                    <a:pt x="18" y="58"/>
                  </a:lnTo>
                  <a:lnTo>
                    <a:pt x="24"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91"/>
            <p:cNvSpPr>
              <a:spLocks/>
            </p:cNvSpPr>
            <p:nvPr/>
          </p:nvSpPr>
          <p:spPr bwMode="auto">
            <a:xfrm>
              <a:off x="7113588" y="817563"/>
              <a:ext cx="19050" cy="19050"/>
            </a:xfrm>
            <a:custGeom>
              <a:avLst/>
              <a:gdLst>
                <a:gd name="T0" fmla="*/ 30 w 60"/>
                <a:gd name="T1" fmla="*/ 60 h 60"/>
                <a:gd name="T2" fmla="*/ 36 w 60"/>
                <a:gd name="T3" fmla="*/ 60 h 60"/>
                <a:gd name="T4" fmla="*/ 42 w 60"/>
                <a:gd name="T5" fmla="*/ 58 h 60"/>
                <a:gd name="T6" fmla="*/ 47 w 60"/>
                <a:gd name="T7" fmla="*/ 56 h 60"/>
                <a:gd name="T8" fmla="*/ 51 w 60"/>
                <a:gd name="T9" fmla="*/ 52 h 60"/>
                <a:gd name="T10" fmla="*/ 54 w 60"/>
                <a:gd name="T11" fmla="*/ 47 h 60"/>
                <a:gd name="T12" fmla="*/ 58 w 60"/>
                <a:gd name="T13" fmla="*/ 42 h 60"/>
                <a:gd name="T14" fmla="*/ 60 w 60"/>
                <a:gd name="T15" fmla="*/ 37 h 60"/>
                <a:gd name="T16" fmla="*/ 60 w 60"/>
                <a:gd name="T17" fmla="*/ 30 h 60"/>
                <a:gd name="T18" fmla="*/ 60 w 60"/>
                <a:gd name="T19" fmla="*/ 25 h 60"/>
                <a:gd name="T20" fmla="*/ 58 w 60"/>
                <a:gd name="T21" fmla="*/ 18 h 60"/>
                <a:gd name="T22" fmla="*/ 54 w 60"/>
                <a:gd name="T23" fmla="*/ 14 h 60"/>
                <a:gd name="T24" fmla="*/ 51 w 60"/>
                <a:gd name="T25" fmla="*/ 9 h 60"/>
                <a:gd name="T26" fmla="*/ 47 w 60"/>
                <a:gd name="T27" fmla="*/ 6 h 60"/>
                <a:gd name="T28" fmla="*/ 42 w 60"/>
                <a:gd name="T29" fmla="*/ 2 h 60"/>
                <a:gd name="T30" fmla="*/ 36 w 60"/>
                <a:gd name="T31" fmla="*/ 1 h 60"/>
                <a:gd name="T32" fmla="*/ 30 w 60"/>
                <a:gd name="T33" fmla="*/ 0 h 60"/>
                <a:gd name="T34" fmla="*/ 23 w 60"/>
                <a:gd name="T35" fmla="*/ 1 h 60"/>
                <a:gd name="T36" fmla="*/ 18 w 60"/>
                <a:gd name="T37" fmla="*/ 2 h 60"/>
                <a:gd name="T38" fmla="*/ 13 w 60"/>
                <a:gd name="T39" fmla="*/ 6 h 60"/>
                <a:gd name="T40" fmla="*/ 8 w 60"/>
                <a:gd name="T41" fmla="*/ 9 h 60"/>
                <a:gd name="T42" fmla="*/ 5 w 60"/>
                <a:gd name="T43" fmla="*/ 14 h 60"/>
                <a:gd name="T44" fmla="*/ 2 w 60"/>
                <a:gd name="T45" fmla="*/ 18 h 60"/>
                <a:gd name="T46" fmla="*/ 1 w 60"/>
                <a:gd name="T47" fmla="*/ 25 h 60"/>
                <a:gd name="T48" fmla="*/ 0 w 60"/>
                <a:gd name="T49" fmla="*/ 30 h 60"/>
                <a:gd name="T50" fmla="*/ 1 w 60"/>
                <a:gd name="T51" fmla="*/ 37 h 60"/>
                <a:gd name="T52" fmla="*/ 2 w 60"/>
                <a:gd name="T53" fmla="*/ 42 h 60"/>
                <a:gd name="T54" fmla="*/ 5 w 60"/>
                <a:gd name="T55" fmla="*/ 47 h 60"/>
                <a:gd name="T56" fmla="*/ 8 w 60"/>
                <a:gd name="T57" fmla="*/ 52 h 60"/>
                <a:gd name="T58" fmla="*/ 13 w 60"/>
                <a:gd name="T59" fmla="*/ 56 h 60"/>
                <a:gd name="T60" fmla="*/ 18 w 60"/>
                <a:gd name="T61" fmla="*/ 58 h 60"/>
                <a:gd name="T62" fmla="*/ 23 w 60"/>
                <a:gd name="T63" fmla="*/ 60 h 60"/>
                <a:gd name="T64" fmla="*/ 30 w 60"/>
                <a:gd name="T65" fmla="*/ 60 h 60"/>
                <a:gd name="T66" fmla="*/ 30 w 60"/>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60"/>
                  </a:moveTo>
                  <a:lnTo>
                    <a:pt x="36" y="60"/>
                  </a:lnTo>
                  <a:lnTo>
                    <a:pt x="42" y="58"/>
                  </a:lnTo>
                  <a:lnTo>
                    <a:pt x="47" y="56"/>
                  </a:lnTo>
                  <a:lnTo>
                    <a:pt x="51" y="52"/>
                  </a:lnTo>
                  <a:lnTo>
                    <a:pt x="54" y="47"/>
                  </a:lnTo>
                  <a:lnTo>
                    <a:pt x="58" y="42"/>
                  </a:lnTo>
                  <a:lnTo>
                    <a:pt x="60" y="37"/>
                  </a:lnTo>
                  <a:lnTo>
                    <a:pt x="60" y="30"/>
                  </a:lnTo>
                  <a:lnTo>
                    <a:pt x="60" y="25"/>
                  </a:lnTo>
                  <a:lnTo>
                    <a:pt x="58" y="18"/>
                  </a:lnTo>
                  <a:lnTo>
                    <a:pt x="54" y="14"/>
                  </a:lnTo>
                  <a:lnTo>
                    <a:pt x="51" y="9"/>
                  </a:lnTo>
                  <a:lnTo>
                    <a:pt x="47" y="6"/>
                  </a:lnTo>
                  <a:lnTo>
                    <a:pt x="42" y="2"/>
                  </a:lnTo>
                  <a:lnTo>
                    <a:pt x="36" y="1"/>
                  </a:lnTo>
                  <a:lnTo>
                    <a:pt x="30" y="0"/>
                  </a:lnTo>
                  <a:lnTo>
                    <a:pt x="23" y="1"/>
                  </a:lnTo>
                  <a:lnTo>
                    <a:pt x="18" y="2"/>
                  </a:lnTo>
                  <a:lnTo>
                    <a:pt x="13" y="6"/>
                  </a:lnTo>
                  <a:lnTo>
                    <a:pt x="8" y="9"/>
                  </a:lnTo>
                  <a:lnTo>
                    <a:pt x="5" y="14"/>
                  </a:lnTo>
                  <a:lnTo>
                    <a:pt x="2" y="18"/>
                  </a:lnTo>
                  <a:lnTo>
                    <a:pt x="1" y="25"/>
                  </a:lnTo>
                  <a:lnTo>
                    <a:pt x="0" y="30"/>
                  </a:lnTo>
                  <a:lnTo>
                    <a:pt x="1" y="37"/>
                  </a:lnTo>
                  <a:lnTo>
                    <a:pt x="2" y="42"/>
                  </a:lnTo>
                  <a:lnTo>
                    <a:pt x="5" y="47"/>
                  </a:lnTo>
                  <a:lnTo>
                    <a:pt x="8" y="52"/>
                  </a:lnTo>
                  <a:lnTo>
                    <a:pt x="13" y="56"/>
                  </a:lnTo>
                  <a:lnTo>
                    <a:pt x="18" y="58"/>
                  </a:lnTo>
                  <a:lnTo>
                    <a:pt x="23" y="60"/>
                  </a:lnTo>
                  <a:lnTo>
                    <a:pt x="30" y="60"/>
                  </a:lnTo>
                  <a:lnTo>
                    <a:pt x="30" y="6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92"/>
            <p:cNvSpPr>
              <a:spLocks noEditPoints="1"/>
            </p:cNvSpPr>
            <p:nvPr/>
          </p:nvSpPr>
          <p:spPr bwMode="auto">
            <a:xfrm>
              <a:off x="7151688" y="923925"/>
              <a:ext cx="161925" cy="161925"/>
            </a:xfrm>
            <a:custGeom>
              <a:avLst/>
              <a:gdLst>
                <a:gd name="T0" fmla="*/ 221 w 510"/>
                <a:gd name="T1" fmla="*/ 478 h 510"/>
                <a:gd name="T2" fmla="*/ 178 w 510"/>
                <a:gd name="T3" fmla="*/ 466 h 510"/>
                <a:gd name="T4" fmla="*/ 112 w 510"/>
                <a:gd name="T5" fmla="*/ 428 h 510"/>
                <a:gd name="T6" fmla="*/ 57 w 510"/>
                <a:gd name="T7" fmla="*/ 362 h 510"/>
                <a:gd name="T8" fmla="*/ 37 w 510"/>
                <a:gd name="T9" fmla="*/ 311 h 510"/>
                <a:gd name="T10" fmla="*/ 31 w 510"/>
                <a:gd name="T11" fmla="*/ 266 h 510"/>
                <a:gd name="T12" fmla="*/ 33 w 510"/>
                <a:gd name="T13" fmla="*/ 221 h 510"/>
                <a:gd name="T14" fmla="*/ 43 w 510"/>
                <a:gd name="T15" fmla="*/ 177 h 510"/>
                <a:gd name="T16" fmla="*/ 82 w 510"/>
                <a:gd name="T17" fmla="*/ 112 h 510"/>
                <a:gd name="T18" fmla="*/ 148 w 510"/>
                <a:gd name="T19" fmla="*/ 56 h 510"/>
                <a:gd name="T20" fmla="*/ 198 w 510"/>
                <a:gd name="T21" fmla="*/ 37 h 510"/>
                <a:gd name="T22" fmla="*/ 243 w 510"/>
                <a:gd name="T23" fmla="*/ 30 h 510"/>
                <a:gd name="T24" fmla="*/ 289 w 510"/>
                <a:gd name="T25" fmla="*/ 32 h 510"/>
                <a:gd name="T26" fmla="*/ 332 w 510"/>
                <a:gd name="T27" fmla="*/ 43 h 510"/>
                <a:gd name="T28" fmla="*/ 398 w 510"/>
                <a:gd name="T29" fmla="*/ 81 h 510"/>
                <a:gd name="T30" fmla="*/ 453 w 510"/>
                <a:gd name="T31" fmla="*/ 147 h 510"/>
                <a:gd name="T32" fmla="*/ 473 w 510"/>
                <a:gd name="T33" fmla="*/ 199 h 510"/>
                <a:gd name="T34" fmla="*/ 480 w 510"/>
                <a:gd name="T35" fmla="*/ 243 h 510"/>
                <a:gd name="T36" fmla="*/ 477 w 510"/>
                <a:gd name="T37" fmla="*/ 289 h 510"/>
                <a:gd name="T38" fmla="*/ 467 w 510"/>
                <a:gd name="T39" fmla="*/ 332 h 510"/>
                <a:gd name="T40" fmla="*/ 428 w 510"/>
                <a:gd name="T41" fmla="*/ 397 h 510"/>
                <a:gd name="T42" fmla="*/ 362 w 510"/>
                <a:gd name="T43" fmla="*/ 453 h 510"/>
                <a:gd name="T44" fmla="*/ 311 w 510"/>
                <a:gd name="T45" fmla="*/ 472 h 510"/>
                <a:gd name="T46" fmla="*/ 267 w 510"/>
                <a:gd name="T47" fmla="*/ 480 h 510"/>
                <a:gd name="T48" fmla="*/ 229 w 510"/>
                <a:gd name="T49" fmla="*/ 1 h 510"/>
                <a:gd name="T50" fmla="*/ 179 w 510"/>
                <a:gd name="T51" fmla="*/ 11 h 510"/>
                <a:gd name="T52" fmla="*/ 133 w 510"/>
                <a:gd name="T53" fmla="*/ 31 h 510"/>
                <a:gd name="T54" fmla="*/ 93 w 510"/>
                <a:gd name="T55" fmla="*/ 57 h 510"/>
                <a:gd name="T56" fmla="*/ 58 w 510"/>
                <a:gd name="T57" fmla="*/ 93 h 510"/>
                <a:gd name="T58" fmla="*/ 31 w 510"/>
                <a:gd name="T59" fmla="*/ 133 h 510"/>
                <a:gd name="T60" fmla="*/ 11 w 510"/>
                <a:gd name="T61" fmla="*/ 179 h 510"/>
                <a:gd name="T62" fmla="*/ 2 w 510"/>
                <a:gd name="T63" fmla="*/ 228 h 510"/>
                <a:gd name="T64" fmla="*/ 2 w 510"/>
                <a:gd name="T65" fmla="*/ 281 h 510"/>
                <a:gd name="T66" fmla="*/ 11 w 510"/>
                <a:gd name="T67" fmla="*/ 330 h 510"/>
                <a:gd name="T68" fmla="*/ 31 w 510"/>
                <a:gd name="T69" fmla="*/ 376 h 510"/>
                <a:gd name="T70" fmla="*/ 58 w 510"/>
                <a:gd name="T71" fmla="*/ 417 h 510"/>
                <a:gd name="T72" fmla="*/ 93 w 510"/>
                <a:gd name="T73" fmla="*/ 452 h 510"/>
                <a:gd name="T74" fmla="*/ 133 w 510"/>
                <a:gd name="T75" fmla="*/ 479 h 510"/>
                <a:gd name="T76" fmla="*/ 179 w 510"/>
                <a:gd name="T77" fmla="*/ 498 h 510"/>
                <a:gd name="T78" fmla="*/ 229 w 510"/>
                <a:gd name="T79" fmla="*/ 509 h 510"/>
                <a:gd name="T80" fmla="*/ 281 w 510"/>
                <a:gd name="T81" fmla="*/ 509 h 510"/>
                <a:gd name="T82" fmla="*/ 331 w 510"/>
                <a:gd name="T83" fmla="*/ 498 h 510"/>
                <a:gd name="T84" fmla="*/ 377 w 510"/>
                <a:gd name="T85" fmla="*/ 479 h 510"/>
                <a:gd name="T86" fmla="*/ 418 w 510"/>
                <a:gd name="T87" fmla="*/ 452 h 510"/>
                <a:gd name="T88" fmla="*/ 452 w 510"/>
                <a:gd name="T89" fmla="*/ 417 h 510"/>
                <a:gd name="T90" fmla="*/ 480 w 510"/>
                <a:gd name="T91" fmla="*/ 376 h 510"/>
                <a:gd name="T92" fmla="*/ 499 w 510"/>
                <a:gd name="T93" fmla="*/ 330 h 510"/>
                <a:gd name="T94" fmla="*/ 508 w 510"/>
                <a:gd name="T95" fmla="*/ 281 h 510"/>
                <a:gd name="T96" fmla="*/ 508 w 510"/>
                <a:gd name="T97" fmla="*/ 228 h 510"/>
                <a:gd name="T98" fmla="*/ 499 w 510"/>
                <a:gd name="T99" fmla="*/ 179 h 510"/>
                <a:gd name="T100" fmla="*/ 480 w 510"/>
                <a:gd name="T101" fmla="*/ 133 h 510"/>
                <a:gd name="T102" fmla="*/ 452 w 510"/>
                <a:gd name="T103" fmla="*/ 93 h 510"/>
                <a:gd name="T104" fmla="*/ 418 w 510"/>
                <a:gd name="T105" fmla="*/ 57 h 510"/>
                <a:gd name="T106" fmla="*/ 377 w 510"/>
                <a:gd name="T107" fmla="*/ 31 h 510"/>
                <a:gd name="T108" fmla="*/ 331 w 510"/>
                <a:gd name="T109" fmla="*/ 11 h 510"/>
                <a:gd name="T110" fmla="*/ 281 w 510"/>
                <a:gd name="T111" fmla="*/ 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510">
                  <a:moveTo>
                    <a:pt x="255" y="480"/>
                  </a:moveTo>
                  <a:lnTo>
                    <a:pt x="243" y="480"/>
                  </a:lnTo>
                  <a:lnTo>
                    <a:pt x="232" y="479"/>
                  </a:lnTo>
                  <a:lnTo>
                    <a:pt x="221" y="478"/>
                  </a:lnTo>
                  <a:lnTo>
                    <a:pt x="210" y="475"/>
                  </a:lnTo>
                  <a:lnTo>
                    <a:pt x="198" y="472"/>
                  </a:lnTo>
                  <a:lnTo>
                    <a:pt x="188" y="470"/>
                  </a:lnTo>
                  <a:lnTo>
                    <a:pt x="178" y="466"/>
                  </a:lnTo>
                  <a:lnTo>
                    <a:pt x="167" y="462"/>
                  </a:lnTo>
                  <a:lnTo>
                    <a:pt x="148" y="453"/>
                  </a:lnTo>
                  <a:lnTo>
                    <a:pt x="129" y="441"/>
                  </a:lnTo>
                  <a:lnTo>
                    <a:pt x="112" y="428"/>
                  </a:lnTo>
                  <a:lnTo>
                    <a:pt x="96" y="413"/>
                  </a:lnTo>
                  <a:lnTo>
                    <a:pt x="82" y="397"/>
                  </a:lnTo>
                  <a:lnTo>
                    <a:pt x="68" y="380"/>
                  </a:lnTo>
                  <a:lnTo>
                    <a:pt x="57" y="362"/>
                  </a:lnTo>
                  <a:lnTo>
                    <a:pt x="48" y="342"/>
                  </a:lnTo>
                  <a:lnTo>
                    <a:pt x="43" y="332"/>
                  </a:lnTo>
                  <a:lnTo>
                    <a:pt x="40" y="321"/>
                  </a:lnTo>
                  <a:lnTo>
                    <a:pt x="37" y="311"/>
                  </a:lnTo>
                  <a:lnTo>
                    <a:pt x="35" y="300"/>
                  </a:lnTo>
                  <a:lnTo>
                    <a:pt x="33" y="289"/>
                  </a:lnTo>
                  <a:lnTo>
                    <a:pt x="31" y="278"/>
                  </a:lnTo>
                  <a:lnTo>
                    <a:pt x="31" y="266"/>
                  </a:lnTo>
                  <a:lnTo>
                    <a:pt x="30" y="255"/>
                  </a:lnTo>
                  <a:lnTo>
                    <a:pt x="31" y="243"/>
                  </a:lnTo>
                  <a:lnTo>
                    <a:pt x="31" y="232"/>
                  </a:lnTo>
                  <a:lnTo>
                    <a:pt x="33" y="221"/>
                  </a:lnTo>
                  <a:lnTo>
                    <a:pt x="35" y="209"/>
                  </a:lnTo>
                  <a:lnTo>
                    <a:pt x="37" y="199"/>
                  </a:lnTo>
                  <a:lnTo>
                    <a:pt x="40" y="188"/>
                  </a:lnTo>
                  <a:lnTo>
                    <a:pt x="43" y="177"/>
                  </a:lnTo>
                  <a:lnTo>
                    <a:pt x="48" y="168"/>
                  </a:lnTo>
                  <a:lnTo>
                    <a:pt x="57" y="147"/>
                  </a:lnTo>
                  <a:lnTo>
                    <a:pt x="68" y="129"/>
                  </a:lnTo>
                  <a:lnTo>
                    <a:pt x="82" y="112"/>
                  </a:lnTo>
                  <a:lnTo>
                    <a:pt x="96" y="96"/>
                  </a:lnTo>
                  <a:lnTo>
                    <a:pt x="112" y="81"/>
                  </a:lnTo>
                  <a:lnTo>
                    <a:pt x="129" y="68"/>
                  </a:lnTo>
                  <a:lnTo>
                    <a:pt x="148" y="56"/>
                  </a:lnTo>
                  <a:lnTo>
                    <a:pt x="167" y="48"/>
                  </a:lnTo>
                  <a:lnTo>
                    <a:pt x="178" y="43"/>
                  </a:lnTo>
                  <a:lnTo>
                    <a:pt x="188" y="40"/>
                  </a:lnTo>
                  <a:lnTo>
                    <a:pt x="198" y="37"/>
                  </a:lnTo>
                  <a:lnTo>
                    <a:pt x="210" y="34"/>
                  </a:lnTo>
                  <a:lnTo>
                    <a:pt x="221" y="32"/>
                  </a:lnTo>
                  <a:lnTo>
                    <a:pt x="232" y="31"/>
                  </a:lnTo>
                  <a:lnTo>
                    <a:pt x="243" y="30"/>
                  </a:lnTo>
                  <a:lnTo>
                    <a:pt x="255" y="30"/>
                  </a:lnTo>
                  <a:lnTo>
                    <a:pt x="267" y="30"/>
                  </a:lnTo>
                  <a:lnTo>
                    <a:pt x="278" y="31"/>
                  </a:lnTo>
                  <a:lnTo>
                    <a:pt x="289" y="32"/>
                  </a:lnTo>
                  <a:lnTo>
                    <a:pt x="300" y="34"/>
                  </a:lnTo>
                  <a:lnTo>
                    <a:pt x="311" y="37"/>
                  </a:lnTo>
                  <a:lnTo>
                    <a:pt x="321" y="39"/>
                  </a:lnTo>
                  <a:lnTo>
                    <a:pt x="332" y="43"/>
                  </a:lnTo>
                  <a:lnTo>
                    <a:pt x="343" y="48"/>
                  </a:lnTo>
                  <a:lnTo>
                    <a:pt x="362" y="56"/>
                  </a:lnTo>
                  <a:lnTo>
                    <a:pt x="381" y="68"/>
                  </a:lnTo>
                  <a:lnTo>
                    <a:pt x="398" y="81"/>
                  </a:lnTo>
                  <a:lnTo>
                    <a:pt x="414" y="96"/>
                  </a:lnTo>
                  <a:lnTo>
                    <a:pt x="428" y="112"/>
                  </a:lnTo>
                  <a:lnTo>
                    <a:pt x="441" y="129"/>
                  </a:lnTo>
                  <a:lnTo>
                    <a:pt x="453" y="147"/>
                  </a:lnTo>
                  <a:lnTo>
                    <a:pt x="462" y="168"/>
                  </a:lnTo>
                  <a:lnTo>
                    <a:pt x="467" y="177"/>
                  </a:lnTo>
                  <a:lnTo>
                    <a:pt x="470" y="188"/>
                  </a:lnTo>
                  <a:lnTo>
                    <a:pt x="473" y="199"/>
                  </a:lnTo>
                  <a:lnTo>
                    <a:pt x="475" y="209"/>
                  </a:lnTo>
                  <a:lnTo>
                    <a:pt x="477" y="221"/>
                  </a:lnTo>
                  <a:lnTo>
                    <a:pt x="479" y="232"/>
                  </a:lnTo>
                  <a:lnTo>
                    <a:pt x="480" y="243"/>
                  </a:lnTo>
                  <a:lnTo>
                    <a:pt x="480" y="255"/>
                  </a:lnTo>
                  <a:lnTo>
                    <a:pt x="480" y="266"/>
                  </a:lnTo>
                  <a:lnTo>
                    <a:pt x="479" y="278"/>
                  </a:lnTo>
                  <a:lnTo>
                    <a:pt x="477" y="289"/>
                  </a:lnTo>
                  <a:lnTo>
                    <a:pt x="475" y="300"/>
                  </a:lnTo>
                  <a:lnTo>
                    <a:pt x="473" y="311"/>
                  </a:lnTo>
                  <a:lnTo>
                    <a:pt x="470" y="321"/>
                  </a:lnTo>
                  <a:lnTo>
                    <a:pt x="467" y="332"/>
                  </a:lnTo>
                  <a:lnTo>
                    <a:pt x="462" y="342"/>
                  </a:lnTo>
                  <a:lnTo>
                    <a:pt x="453" y="362"/>
                  </a:lnTo>
                  <a:lnTo>
                    <a:pt x="441" y="380"/>
                  </a:lnTo>
                  <a:lnTo>
                    <a:pt x="428" y="397"/>
                  </a:lnTo>
                  <a:lnTo>
                    <a:pt x="414" y="413"/>
                  </a:lnTo>
                  <a:lnTo>
                    <a:pt x="398" y="428"/>
                  </a:lnTo>
                  <a:lnTo>
                    <a:pt x="381" y="441"/>
                  </a:lnTo>
                  <a:lnTo>
                    <a:pt x="362" y="453"/>
                  </a:lnTo>
                  <a:lnTo>
                    <a:pt x="343" y="462"/>
                  </a:lnTo>
                  <a:lnTo>
                    <a:pt x="332" y="466"/>
                  </a:lnTo>
                  <a:lnTo>
                    <a:pt x="321" y="470"/>
                  </a:lnTo>
                  <a:lnTo>
                    <a:pt x="311" y="472"/>
                  </a:lnTo>
                  <a:lnTo>
                    <a:pt x="300" y="475"/>
                  </a:lnTo>
                  <a:lnTo>
                    <a:pt x="289" y="478"/>
                  </a:lnTo>
                  <a:lnTo>
                    <a:pt x="278" y="479"/>
                  </a:lnTo>
                  <a:lnTo>
                    <a:pt x="267" y="480"/>
                  </a:lnTo>
                  <a:lnTo>
                    <a:pt x="255" y="480"/>
                  </a:lnTo>
                  <a:close/>
                  <a:moveTo>
                    <a:pt x="255" y="0"/>
                  </a:moveTo>
                  <a:lnTo>
                    <a:pt x="242" y="0"/>
                  </a:lnTo>
                  <a:lnTo>
                    <a:pt x="229" y="1"/>
                  </a:lnTo>
                  <a:lnTo>
                    <a:pt x="217" y="3"/>
                  </a:lnTo>
                  <a:lnTo>
                    <a:pt x="204" y="5"/>
                  </a:lnTo>
                  <a:lnTo>
                    <a:pt x="191" y="7"/>
                  </a:lnTo>
                  <a:lnTo>
                    <a:pt x="179" y="11"/>
                  </a:lnTo>
                  <a:lnTo>
                    <a:pt x="167" y="15"/>
                  </a:lnTo>
                  <a:lnTo>
                    <a:pt x="156" y="20"/>
                  </a:lnTo>
                  <a:lnTo>
                    <a:pt x="145" y="24"/>
                  </a:lnTo>
                  <a:lnTo>
                    <a:pt x="133" y="31"/>
                  </a:lnTo>
                  <a:lnTo>
                    <a:pt x="123" y="36"/>
                  </a:lnTo>
                  <a:lnTo>
                    <a:pt x="113" y="43"/>
                  </a:lnTo>
                  <a:lnTo>
                    <a:pt x="102" y="50"/>
                  </a:lnTo>
                  <a:lnTo>
                    <a:pt x="93" y="57"/>
                  </a:lnTo>
                  <a:lnTo>
                    <a:pt x="84" y="66"/>
                  </a:lnTo>
                  <a:lnTo>
                    <a:pt x="74" y="74"/>
                  </a:lnTo>
                  <a:lnTo>
                    <a:pt x="66" y="83"/>
                  </a:lnTo>
                  <a:lnTo>
                    <a:pt x="58" y="93"/>
                  </a:lnTo>
                  <a:lnTo>
                    <a:pt x="51" y="102"/>
                  </a:lnTo>
                  <a:lnTo>
                    <a:pt x="43" y="112"/>
                  </a:lnTo>
                  <a:lnTo>
                    <a:pt x="37" y="123"/>
                  </a:lnTo>
                  <a:lnTo>
                    <a:pt x="31" y="133"/>
                  </a:lnTo>
                  <a:lnTo>
                    <a:pt x="25" y="144"/>
                  </a:lnTo>
                  <a:lnTo>
                    <a:pt x="20" y="156"/>
                  </a:lnTo>
                  <a:lnTo>
                    <a:pt x="16" y="168"/>
                  </a:lnTo>
                  <a:lnTo>
                    <a:pt x="11" y="179"/>
                  </a:lnTo>
                  <a:lnTo>
                    <a:pt x="8" y="191"/>
                  </a:lnTo>
                  <a:lnTo>
                    <a:pt x="5" y="203"/>
                  </a:lnTo>
                  <a:lnTo>
                    <a:pt x="3" y="216"/>
                  </a:lnTo>
                  <a:lnTo>
                    <a:pt x="2" y="228"/>
                  </a:lnTo>
                  <a:lnTo>
                    <a:pt x="1" y="241"/>
                  </a:lnTo>
                  <a:lnTo>
                    <a:pt x="0" y="255"/>
                  </a:lnTo>
                  <a:lnTo>
                    <a:pt x="1" y="268"/>
                  </a:lnTo>
                  <a:lnTo>
                    <a:pt x="2" y="281"/>
                  </a:lnTo>
                  <a:lnTo>
                    <a:pt x="3" y="294"/>
                  </a:lnTo>
                  <a:lnTo>
                    <a:pt x="5" y="307"/>
                  </a:lnTo>
                  <a:lnTo>
                    <a:pt x="8" y="318"/>
                  </a:lnTo>
                  <a:lnTo>
                    <a:pt x="11" y="330"/>
                  </a:lnTo>
                  <a:lnTo>
                    <a:pt x="16" y="342"/>
                  </a:lnTo>
                  <a:lnTo>
                    <a:pt x="20" y="354"/>
                  </a:lnTo>
                  <a:lnTo>
                    <a:pt x="25" y="365"/>
                  </a:lnTo>
                  <a:lnTo>
                    <a:pt x="31" y="376"/>
                  </a:lnTo>
                  <a:lnTo>
                    <a:pt x="37" y="387"/>
                  </a:lnTo>
                  <a:lnTo>
                    <a:pt x="43" y="397"/>
                  </a:lnTo>
                  <a:lnTo>
                    <a:pt x="51" y="407"/>
                  </a:lnTo>
                  <a:lnTo>
                    <a:pt x="58" y="417"/>
                  </a:lnTo>
                  <a:lnTo>
                    <a:pt x="66" y="426"/>
                  </a:lnTo>
                  <a:lnTo>
                    <a:pt x="74" y="435"/>
                  </a:lnTo>
                  <a:lnTo>
                    <a:pt x="84" y="443"/>
                  </a:lnTo>
                  <a:lnTo>
                    <a:pt x="93" y="452"/>
                  </a:lnTo>
                  <a:lnTo>
                    <a:pt x="102" y="459"/>
                  </a:lnTo>
                  <a:lnTo>
                    <a:pt x="113" y="466"/>
                  </a:lnTo>
                  <a:lnTo>
                    <a:pt x="123" y="472"/>
                  </a:lnTo>
                  <a:lnTo>
                    <a:pt x="133" y="479"/>
                  </a:lnTo>
                  <a:lnTo>
                    <a:pt x="145" y="485"/>
                  </a:lnTo>
                  <a:lnTo>
                    <a:pt x="156" y="489"/>
                  </a:lnTo>
                  <a:lnTo>
                    <a:pt x="167" y="495"/>
                  </a:lnTo>
                  <a:lnTo>
                    <a:pt x="179" y="498"/>
                  </a:lnTo>
                  <a:lnTo>
                    <a:pt x="191" y="502"/>
                  </a:lnTo>
                  <a:lnTo>
                    <a:pt x="204" y="504"/>
                  </a:lnTo>
                  <a:lnTo>
                    <a:pt x="217" y="506"/>
                  </a:lnTo>
                  <a:lnTo>
                    <a:pt x="229" y="509"/>
                  </a:lnTo>
                  <a:lnTo>
                    <a:pt x="242" y="510"/>
                  </a:lnTo>
                  <a:lnTo>
                    <a:pt x="255" y="510"/>
                  </a:lnTo>
                  <a:lnTo>
                    <a:pt x="268" y="510"/>
                  </a:lnTo>
                  <a:lnTo>
                    <a:pt x="281" y="509"/>
                  </a:lnTo>
                  <a:lnTo>
                    <a:pt x="294" y="506"/>
                  </a:lnTo>
                  <a:lnTo>
                    <a:pt x="306" y="504"/>
                  </a:lnTo>
                  <a:lnTo>
                    <a:pt x="318" y="502"/>
                  </a:lnTo>
                  <a:lnTo>
                    <a:pt x="331" y="498"/>
                  </a:lnTo>
                  <a:lnTo>
                    <a:pt x="343" y="495"/>
                  </a:lnTo>
                  <a:lnTo>
                    <a:pt x="355" y="489"/>
                  </a:lnTo>
                  <a:lnTo>
                    <a:pt x="365" y="484"/>
                  </a:lnTo>
                  <a:lnTo>
                    <a:pt x="377" y="479"/>
                  </a:lnTo>
                  <a:lnTo>
                    <a:pt x="388" y="472"/>
                  </a:lnTo>
                  <a:lnTo>
                    <a:pt x="397" y="466"/>
                  </a:lnTo>
                  <a:lnTo>
                    <a:pt x="408" y="459"/>
                  </a:lnTo>
                  <a:lnTo>
                    <a:pt x="418" y="452"/>
                  </a:lnTo>
                  <a:lnTo>
                    <a:pt x="426" y="443"/>
                  </a:lnTo>
                  <a:lnTo>
                    <a:pt x="436" y="435"/>
                  </a:lnTo>
                  <a:lnTo>
                    <a:pt x="443" y="426"/>
                  </a:lnTo>
                  <a:lnTo>
                    <a:pt x="452" y="417"/>
                  </a:lnTo>
                  <a:lnTo>
                    <a:pt x="459" y="407"/>
                  </a:lnTo>
                  <a:lnTo>
                    <a:pt x="467" y="397"/>
                  </a:lnTo>
                  <a:lnTo>
                    <a:pt x="473" y="387"/>
                  </a:lnTo>
                  <a:lnTo>
                    <a:pt x="480" y="376"/>
                  </a:lnTo>
                  <a:lnTo>
                    <a:pt x="485" y="365"/>
                  </a:lnTo>
                  <a:lnTo>
                    <a:pt x="490" y="354"/>
                  </a:lnTo>
                  <a:lnTo>
                    <a:pt x="495" y="342"/>
                  </a:lnTo>
                  <a:lnTo>
                    <a:pt x="499" y="330"/>
                  </a:lnTo>
                  <a:lnTo>
                    <a:pt x="502" y="318"/>
                  </a:lnTo>
                  <a:lnTo>
                    <a:pt x="505" y="307"/>
                  </a:lnTo>
                  <a:lnTo>
                    <a:pt x="507" y="294"/>
                  </a:lnTo>
                  <a:lnTo>
                    <a:pt x="508" y="281"/>
                  </a:lnTo>
                  <a:lnTo>
                    <a:pt x="510" y="268"/>
                  </a:lnTo>
                  <a:lnTo>
                    <a:pt x="510" y="255"/>
                  </a:lnTo>
                  <a:lnTo>
                    <a:pt x="510" y="241"/>
                  </a:lnTo>
                  <a:lnTo>
                    <a:pt x="508" y="228"/>
                  </a:lnTo>
                  <a:lnTo>
                    <a:pt x="507" y="216"/>
                  </a:lnTo>
                  <a:lnTo>
                    <a:pt x="505" y="203"/>
                  </a:lnTo>
                  <a:lnTo>
                    <a:pt x="502" y="191"/>
                  </a:lnTo>
                  <a:lnTo>
                    <a:pt x="499" y="179"/>
                  </a:lnTo>
                  <a:lnTo>
                    <a:pt x="495" y="168"/>
                  </a:lnTo>
                  <a:lnTo>
                    <a:pt x="490" y="156"/>
                  </a:lnTo>
                  <a:lnTo>
                    <a:pt x="485" y="144"/>
                  </a:lnTo>
                  <a:lnTo>
                    <a:pt x="480" y="133"/>
                  </a:lnTo>
                  <a:lnTo>
                    <a:pt x="473" y="123"/>
                  </a:lnTo>
                  <a:lnTo>
                    <a:pt x="467" y="112"/>
                  </a:lnTo>
                  <a:lnTo>
                    <a:pt x="459" y="102"/>
                  </a:lnTo>
                  <a:lnTo>
                    <a:pt x="452" y="93"/>
                  </a:lnTo>
                  <a:lnTo>
                    <a:pt x="443" y="83"/>
                  </a:lnTo>
                  <a:lnTo>
                    <a:pt x="436" y="74"/>
                  </a:lnTo>
                  <a:lnTo>
                    <a:pt x="426" y="66"/>
                  </a:lnTo>
                  <a:lnTo>
                    <a:pt x="418" y="57"/>
                  </a:lnTo>
                  <a:lnTo>
                    <a:pt x="408" y="50"/>
                  </a:lnTo>
                  <a:lnTo>
                    <a:pt x="397" y="43"/>
                  </a:lnTo>
                  <a:lnTo>
                    <a:pt x="388" y="37"/>
                  </a:lnTo>
                  <a:lnTo>
                    <a:pt x="377" y="31"/>
                  </a:lnTo>
                  <a:lnTo>
                    <a:pt x="365" y="25"/>
                  </a:lnTo>
                  <a:lnTo>
                    <a:pt x="355" y="20"/>
                  </a:lnTo>
                  <a:lnTo>
                    <a:pt x="343" y="15"/>
                  </a:lnTo>
                  <a:lnTo>
                    <a:pt x="331" y="11"/>
                  </a:lnTo>
                  <a:lnTo>
                    <a:pt x="318" y="7"/>
                  </a:lnTo>
                  <a:lnTo>
                    <a:pt x="306" y="5"/>
                  </a:lnTo>
                  <a:lnTo>
                    <a:pt x="294" y="3"/>
                  </a:lnTo>
                  <a:lnTo>
                    <a:pt x="281" y="1"/>
                  </a:lnTo>
                  <a:lnTo>
                    <a:pt x="268" y="0"/>
                  </a:lnTo>
                  <a:lnTo>
                    <a:pt x="255" y="0"/>
                  </a:lnTo>
                  <a:lnTo>
                    <a:pt x="255"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 name="Rectangle 37">
            <a:extLst>
              <a:ext uri="{FF2B5EF4-FFF2-40B4-BE49-F238E27FC236}">
                <a16:creationId xmlns:a16="http://schemas.microsoft.com/office/drawing/2014/main" id="{643F7393-CDB4-4015-8B46-A22452FB7492}"/>
              </a:ext>
            </a:extLst>
          </p:cNvPr>
          <p:cNvSpPr/>
          <p:nvPr/>
        </p:nvSpPr>
        <p:spPr>
          <a:xfrm>
            <a:off x="714700" y="3370645"/>
            <a:ext cx="5292401" cy="1477328"/>
          </a:xfrm>
          <a:prstGeom prst="rect">
            <a:avLst/>
          </a:prstGeom>
        </p:spPr>
        <p:txBody>
          <a:bodyPr wrap="square">
            <a:spAutoFit/>
          </a:bodyPr>
          <a:lstStyle/>
          <a:p>
            <a:pPr>
              <a:lnSpc>
                <a:spcPct val="150000"/>
              </a:lnSpc>
              <a:buClr>
                <a:srgbClr val="E24848"/>
              </a:buClr>
              <a:defRPr/>
            </a:pPr>
            <a:r>
              <a:rPr lang="en-US" sz="1200" noProof="1">
                <a:solidFill>
                  <a:schemeClr val="tx1">
                    <a:lumMod val="95000"/>
                    <a:lumOff val="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Lorem ipsum dolor sit amet, consectetur adipiscing elit. Nulla imperdiet volutpat dui at fermentum</a:t>
            </a:r>
          </a:p>
        </p:txBody>
      </p:sp>
      <p:sp>
        <p:nvSpPr>
          <p:cNvPr id="2" name="Slide Number Placeholder 1"/>
          <p:cNvSpPr>
            <a:spLocks noGrp="1"/>
          </p:cNvSpPr>
          <p:nvPr>
            <p:ph type="sldNum" sz="quarter" idx="12"/>
          </p:nvPr>
        </p:nvSpPr>
        <p:spPr/>
        <p:txBody>
          <a:bodyPr/>
          <a:lstStyle/>
          <a:p>
            <a:fld id="{DE156FE7-4276-48C2-8D29-2DA35A3BAE26}" type="slidenum">
              <a:rPr lang="en-US" smtClean="0"/>
              <a:t>6</a:t>
            </a:fld>
            <a:endParaRPr lang="en-US"/>
          </a:p>
        </p:txBody>
      </p:sp>
    </p:spTree>
    <p:extLst>
      <p:ext uri="{BB962C8B-B14F-4D97-AF65-F5344CB8AC3E}">
        <p14:creationId xmlns:p14="http://schemas.microsoft.com/office/powerpoint/2010/main" val="4075508668"/>
      </p:ext>
    </p:extLst>
  </p:cSld>
  <p:clrMapOvr>
    <a:masterClrMapping/>
  </p:clrMapOvr>
  <p:transition spd="med">
    <p:pull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BA016EB0-5F7C-4872-B768-5D315CFCE825}"/>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14058" b="14058"/>
          <a:stretch>
            <a:fillRect/>
          </a:stretch>
        </p:blipFill>
        <p:spPr>
          <a:solidFill>
            <a:schemeClr val="bg1">
              <a:lumMod val="85000"/>
            </a:schemeClr>
          </a:solidFill>
        </p:spPr>
      </p:pic>
      <p:pic>
        <p:nvPicPr>
          <p:cNvPr id="14" name="Picture Placeholder 13">
            <a:extLst>
              <a:ext uri="{FF2B5EF4-FFF2-40B4-BE49-F238E27FC236}">
                <a16:creationId xmlns:a16="http://schemas.microsoft.com/office/drawing/2014/main" id="{2360A433-C8FF-4D66-9BE5-EF28E28D7F08}"/>
              </a:ext>
            </a:extLst>
          </p:cNvPr>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t="14058" b="14058"/>
          <a:stretch>
            <a:fillRect/>
          </a:stretch>
        </p:blipFill>
        <p:spPr>
          <a:solidFill>
            <a:schemeClr val="bg1">
              <a:lumMod val="85000"/>
            </a:schemeClr>
          </a:solidFill>
        </p:spPr>
      </p:pic>
      <p:sp>
        <p:nvSpPr>
          <p:cNvPr id="26" name="Rectangle 25"/>
          <p:cNvSpPr/>
          <p:nvPr>
            <p:custDataLst>
              <p:tags r:id="rId1"/>
            </p:custDataLst>
          </p:nvPr>
        </p:nvSpPr>
        <p:spPr>
          <a:xfrm>
            <a:off x="370026" y="391662"/>
            <a:ext cx="7193367"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OUR COMPANY </a:t>
            </a:r>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PROFILE</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6" name="Rectangle 5"/>
          <p:cNvSpPr/>
          <p:nvPr/>
        </p:nvSpPr>
        <p:spPr>
          <a:xfrm>
            <a:off x="950686" y="3931739"/>
            <a:ext cx="1860135" cy="419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612580" y="3931739"/>
            <a:ext cx="1860135" cy="419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B35DF6C-1CC9-4A68-9660-98C1C2DE3634}"/>
              </a:ext>
            </a:extLst>
          </p:cNvPr>
          <p:cNvSpPr/>
          <p:nvPr/>
        </p:nvSpPr>
        <p:spPr>
          <a:xfrm>
            <a:off x="950685" y="3969536"/>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9" name="Rectangle 8">
            <a:extLst>
              <a:ext uri="{FF2B5EF4-FFF2-40B4-BE49-F238E27FC236}">
                <a16:creationId xmlns:a16="http://schemas.microsoft.com/office/drawing/2014/main" id="{DB35DF6C-1CC9-4A68-9660-98C1C2DE3634}"/>
              </a:ext>
            </a:extLst>
          </p:cNvPr>
          <p:cNvSpPr/>
          <p:nvPr/>
        </p:nvSpPr>
        <p:spPr>
          <a:xfrm>
            <a:off x="6645475" y="3969536"/>
            <a:ext cx="1794343" cy="363099"/>
          </a:xfrm>
          <a:prstGeom prst="rect">
            <a:avLst/>
          </a:prstGeom>
        </p:spPr>
        <p:txBody>
          <a:bodyPr vert="horz" wrap="square" lIns="91440" tIns="45720" rIns="91440" bIns="45720" rtlCol="0" anchor="ctr">
            <a:noAutofit/>
          </a:bodyPr>
          <a:lstStyle/>
          <a:p>
            <a:pPr algn="ctr">
              <a:lnSpc>
                <a:spcPct val="90000"/>
              </a:lnSpc>
              <a:spcBef>
                <a:spcPct val="0"/>
              </a:spcBef>
            </a:pPr>
            <a:r>
              <a:rPr lang="en-US" sz="1100" b="1" noProof="1">
                <a:solidFill>
                  <a:schemeClr val="bg1"/>
                </a:solidFill>
                <a:latin typeface="Montserrat" panose="00000500000000000000" pitchFamily="2" charset="0"/>
                <a:ea typeface="Roboto" panose="02000000000000000000" pitchFamily="2" charset="0"/>
                <a:cs typeface="Lato" panose="020F0502020204030203" pitchFamily="34" charset="0"/>
              </a:rPr>
              <a:t>LOREM</a:t>
            </a:r>
            <a:r>
              <a:rPr lang="en-US" sz="1100" noProof="1">
                <a:solidFill>
                  <a:schemeClr val="bg1"/>
                </a:solidFill>
                <a:latin typeface="Montserrat" panose="00000500000000000000" pitchFamily="2" charset="0"/>
                <a:ea typeface="Roboto" panose="02000000000000000000" pitchFamily="2" charset="0"/>
                <a:cs typeface="Lato" panose="020F0502020204030203" pitchFamily="34" charset="0"/>
              </a:rPr>
              <a:t> IPSUM</a:t>
            </a:r>
          </a:p>
        </p:txBody>
      </p:sp>
      <p:sp>
        <p:nvSpPr>
          <p:cNvPr id="10" name="Rectangle 9">
            <a:extLst>
              <a:ext uri="{FF2B5EF4-FFF2-40B4-BE49-F238E27FC236}">
                <a16:creationId xmlns:a16="http://schemas.microsoft.com/office/drawing/2014/main" id="{643F7393-CDB4-4015-8B46-A22452FB7492}"/>
              </a:ext>
            </a:extLst>
          </p:cNvPr>
          <p:cNvSpPr/>
          <p:nvPr/>
        </p:nvSpPr>
        <p:spPr>
          <a:xfrm>
            <a:off x="504372" y="4491273"/>
            <a:ext cx="4902329" cy="1477328"/>
          </a:xfrm>
          <a:prstGeom prst="rect">
            <a:avLst/>
          </a:prstGeom>
        </p:spPr>
        <p:txBody>
          <a:bodyPr wrap="square">
            <a:spAutoFit/>
          </a:bodyPr>
          <a:lstStyle/>
          <a:p>
            <a:pPr>
              <a:lnSpc>
                <a:spcPct val="150000"/>
              </a:lnSpc>
              <a:buClr>
                <a:srgbClr val="E24848"/>
              </a:buClr>
              <a:defRPr/>
            </a:pPr>
            <a:r>
              <a:rPr lang="en-US" sz="1200" noProof="1">
                <a:solidFill>
                  <a:schemeClr val="tx1">
                    <a:lumMod val="95000"/>
                    <a:lumOff val="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Lorem ipsum dolor sit amet, consectetur adipiscing elit</a:t>
            </a:r>
          </a:p>
        </p:txBody>
      </p:sp>
      <p:sp>
        <p:nvSpPr>
          <p:cNvPr id="11" name="Rectangle 10">
            <a:extLst>
              <a:ext uri="{FF2B5EF4-FFF2-40B4-BE49-F238E27FC236}">
                <a16:creationId xmlns:a16="http://schemas.microsoft.com/office/drawing/2014/main" id="{643F7393-CDB4-4015-8B46-A22452FB7492}"/>
              </a:ext>
            </a:extLst>
          </p:cNvPr>
          <p:cNvSpPr/>
          <p:nvPr/>
        </p:nvSpPr>
        <p:spPr>
          <a:xfrm>
            <a:off x="6150430" y="4491273"/>
            <a:ext cx="4902329" cy="1477328"/>
          </a:xfrm>
          <a:prstGeom prst="rect">
            <a:avLst/>
          </a:prstGeom>
        </p:spPr>
        <p:txBody>
          <a:bodyPr wrap="square">
            <a:spAutoFit/>
          </a:bodyPr>
          <a:lstStyle/>
          <a:p>
            <a:pPr>
              <a:lnSpc>
                <a:spcPct val="150000"/>
              </a:lnSpc>
              <a:buClr>
                <a:srgbClr val="E24848"/>
              </a:buClr>
              <a:defRPr/>
            </a:pPr>
            <a:r>
              <a:rPr lang="en-US" sz="1200" noProof="1">
                <a:solidFill>
                  <a:schemeClr val="tx1">
                    <a:lumMod val="95000"/>
                    <a:lumOff val="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Lorem ipsum dolor sit amet, </a:t>
            </a:r>
          </a:p>
        </p:txBody>
      </p:sp>
      <p:sp>
        <p:nvSpPr>
          <p:cNvPr id="2" name="Slide Number Placeholder 1"/>
          <p:cNvSpPr>
            <a:spLocks noGrp="1"/>
          </p:cNvSpPr>
          <p:nvPr>
            <p:ph type="sldNum" sz="quarter" idx="12"/>
          </p:nvPr>
        </p:nvSpPr>
        <p:spPr/>
        <p:txBody>
          <a:bodyPr/>
          <a:lstStyle/>
          <a:p>
            <a:fld id="{DE156FE7-4276-48C2-8D29-2DA35A3BAE26}" type="slidenum">
              <a:rPr lang="en-US" smtClean="0"/>
              <a:t>7</a:t>
            </a:fld>
            <a:endParaRPr lang="en-US"/>
          </a:p>
        </p:txBody>
      </p:sp>
    </p:spTree>
    <p:extLst>
      <p:ext uri="{BB962C8B-B14F-4D97-AF65-F5344CB8AC3E}">
        <p14:creationId xmlns:p14="http://schemas.microsoft.com/office/powerpoint/2010/main" val="2325138818"/>
      </p:ext>
    </p:extLst>
  </p:cSld>
  <p:clrMapOvr>
    <a:masterClrMapping/>
  </p:clrMapOvr>
  <p:transition spd="med">
    <p:pull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6EE0AD3D-19FB-478B-ABE3-C9C79460E472}"/>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30295" r="30295"/>
          <a:stretch>
            <a:fillRect/>
          </a:stretch>
        </p:blipFill>
        <p:spPr>
          <a:solidFill>
            <a:schemeClr val="bg1">
              <a:lumMod val="85000"/>
            </a:schemeClr>
          </a:solidFill>
        </p:spPr>
      </p:pic>
      <p:pic>
        <p:nvPicPr>
          <p:cNvPr id="20" name="Picture Placeholder 19">
            <a:extLst>
              <a:ext uri="{FF2B5EF4-FFF2-40B4-BE49-F238E27FC236}">
                <a16:creationId xmlns:a16="http://schemas.microsoft.com/office/drawing/2014/main" id="{9308608F-63DE-4AFD-91A8-61F819BBD483}"/>
              </a:ext>
            </a:extLst>
          </p:cNvPr>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30283" r="30283"/>
          <a:stretch>
            <a:fillRect/>
          </a:stretch>
        </p:blipFill>
        <p:spPr>
          <a:solidFill>
            <a:schemeClr val="bg1">
              <a:lumMod val="85000"/>
            </a:schemeClr>
          </a:solidFill>
        </p:spPr>
      </p:pic>
      <p:sp>
        <p:nvSpPr>
          <p:cNvPr id="26" name="Rectangle 25"/>
          <p:cNvSpPr/>
          <p:nvPr>
            <p:custDataLst>
              <p:tags r:id="rId1"/>
            </p:custDataLst>
          </p:nvPr>
        </p:nvSpPr>
        <p:spPr>
          <a:xfrm>
            <a:off x="370027" y="391662"/>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solidFill>
                  <a:schemeClr val="bg1"/>
                </a:solidFill>
                <a:latin typeface="Montserrat" panose="00000500000000000000" pitchFamily="2" charset="0"/>
                <a:ea typeface="Source Sans Pro" panose="020B0503030403020204" pitchFamily="34" charset="0"/>
                <a:cs typeface="Lato Light" panose="020F0402020204030203" pitchFamily="34" charset="0"/>
              </a:rPr>
              <a:t>MISSIONS</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1602" y="939826"/>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solidFill>
                <a:latin typeface="+mj-lt"/>
                <a:ea typeface="Open Sans" panose="020B0606030504020204" pitchFamily="34" charset="0"/>
                <a:cs typeface="Open Sans" panose="020B0606030504020204" pitchFamily="34" charset="0"/>
              </a:rPr>
              <a:t>Put Your Great Subtitle Here</a:t>
            </a:r>
          </a:p>
        </p:txBody>
      </p:sp>
      <p:sp>
        <p:nvSpPr>
          <p:cNvPr id="4" name="Rectangle 3">
            <a:extLst>
              <a:ext uri="{FF2B5EF4-FFF2-40B4-BE49-F238E27FC236}">
                <a16:creationId xmlns:a16="http://schemas.microsoft.com/office/drawing/2014/main" id="{D9D68193-140B-49B4-9702-662ACADC6DCE}"/>
              </a:ext>
            </a:extLst>
          </p:cNvPr>
          <p:cNvSpPr/>
          <p:nvPr/>
        </p:nvSpPr>
        <p:spPr>
          <a:xfrm>
            <a:off x="3094278" y="1534290"/>
            <a:ext cx="6090366" cy="18238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249CC7A5-9BD7-4E1D-9E0A-6C39C418E545}"/>
              </a:ext>
            </a:extLst>
          </p:cNvPr>
          <p:cNvSpPr txBox="1">
            <a:spLocks/>
          </p:cNvSpPr>
          <p:nvPr/>
        </p:nvSpPr>
        <p:spPr>
          <a:xfrm>
            <a:off x="3237998" y="1656440"/>
            <a:ext cx="1295902"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b="1" dirty="0">
                <a:solidFill>
                  <a:schemeClr val="bg1">
                    <a:lumMod val="95000"/>
                  </a:schemeClr>
                </a:solidFill>
                <a:latin typeface="Lato" panose="020F0502020204030203" pitchFamily="34" charset="0"/>
                <a:ea typeface="Open Sans" panose="020B0606030504020204" pitchFamily="34" charset="0"/>
                <a:cs typeface="Lato" panose="020F0502020204030203" pitchFamily="34" charset="0"/>
              </a:rPr>
              <a:t>NAME HERE</a:t>
            </a:r>
          </a:p>
        </p:txBody>
      </p:sp>
      <p:sp>
        <p:nvSpPr>
          <p:cNvPr id="7" name="Rectangle 6">
            <a:extLst>
              <a:ext uri="{FF2B5EF4-FFF2-40B4-BE49-F238E27FC236}">
                <a16:creationId xmlns:a16="http://schemas.microsoft.com/office/drawing/2014/main" id="{54BB0E2A-0CD4-4CDD-8285-33645D4CB4E6}"/>
              </a:ext>
            </a:extLst>
          </p:cNvPr>
          <p:cNvSpPr/>
          <p:nvPr/>
        </p:nvSpPr>
        <p:spPr>
          <a:xfrm>
            <a:off x="3237998" y="2079411"/>
            <a:ext cx="5601202" cy="1015663"/>
          </a:xfrm>
          <a:prstGeom prst="rect">
            <a:avLst/>
          </a:prstGeom>
        </p:spPr>
        <p:txBody>
          <a:bodyPr wrap="square">
            <a:spAutoFit/>
          </a:bodyPr>
          <a:lstStyle/>
          <a:p>
            <a:pPr>
              <a:buClr>
                <a:srgbClr val="E24848"/>
              </a:buClr>
              <a:defRPr/>
            </a:pPr>
            <a:r>
              <a:rPr lang="en-US" sz="1200" noProof="1">
                <a:solidFill>
                  <a:schemeClr val="bg1">
                    <a:lumMod val="9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ot </a:t>
            </a:r>
            <a:r>
              <a:rPr lang="en-US" sz="1200" noProof="1">
                <a:solidFill>
                  <a:schemeClr val="bg1">
                    <a:lumMod val="95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a:t>
            </a:r>
          </a:p>
          <a:p>
            <a:pPr>
              <a:buClr>
                <a:srgbClr val="E24848"/>
              </a:buClr>
              <a:defRPr/>
            </a:pPr>
            <a:r>
              <a:rPr lang="en-US" sz="1200" noProof="1">
                <a:solidFill>
                  <a:schemeClr val="bg1">
                    <a:lumMod val="95000"/>
                  </a:schemeClr>
                </a:solidFill>
                <a:ea typeface="Open Sans Light" panose="020B0306030504020204" pitchFamily="34" charset="0"/>
                <a:cs typeface="Open Sans Light" panose="020B0306030504020204" pitchFamily="34" charset="0"/>
              </a:rPr>
              <a:t>Lorem ipsum dolor sit amet, consectetur adipiscing elit. Nulla imperdiet volutpat dui </a:t>
            </a:r>
          </a:p>
        </p:txBody>
      </p:sp>
      <p:sp>
        <p:nvSpPr>
          <p:cNvPr id="9" name="Rectangle 8">
            <a:extLst>
              <a:ext uri="{FF2B5EF4-FFF2-40B4-BE49-F238E27FC236}">
                <a16:creationId xmlns:a16="http://schemas.microsoft.com/office/drawing/2014/main" id="{DB35DF6C-1CC9-4A68-9660-98C1C2DE3634}"/>
              </a:ext>
            </a:extLst>
          </p:cNvPr>
          <p:cNvSpPr/>
          <p:nvPr/>
        </p:nvSpPr>
        <p:spPr>
          <a:xfrm>
            <a:off x="4215435" y="3640195"/>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bg1"/>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bg1"/>
                </a:solidFill>
                <a:latin typeface="Lato" panose="020F0502020204030203" pitchFamily="34" charset="0"/>
                <a:ea typeface="Roboto" panose="02000000000000000000" pitchFamily="2" charset="0"/>
                <a:cs typeface="Lato" panose="020F0502020204030203" pitchFamily="34" charset="0"/>
              </a:rPr>
              <a:t> IPSUM</a:t>
            </a:r>
          </a:p>
        </p:txBody>
      </p:sp>
      <p:sp>
        <p:nvSpPr>
          <p:cNvPr id="10" name="Rectangle 9">
            <a:extLst>
              <a:ext uri="{FF2B5EF4-FFF2-40B4-BE49-F238E27FC236}">
                <a16:creationId xmlns:a16="http://schemas.microsoft.com/office/drawing/2014/main" id="{36619682-B96B-456C-82E8-C90705949DB6}"/>
              </a:ext>
            </a:extLst>
          </p:cNvPr>
          <p:cNvSpPr/>
          <p:nvPr/>
        </p:nvSpPr>
        <p:spPr>
          <a:xfrm>
            <a:off x="4215435" y="4003294"/>
            <a:ext cx="1932316" cy="707886"/>
          </a:xfrm>
          <a:prstGeom prst="rect">
            <a:avLst/>
          </a:prstGeom>
        </p:spPr>
        <p:txBody>
          <a:bodyPr wrap="square">
            <a:spAutoFit/>
          </a:bodyPr>
          <a:lstStyle/>
          <a:p>
            <a:pP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grpSp>
        <p:nvGrpSpPr>
          <p:cNvPr id="11" name="Group 10"/>
          <p:cNvGrpSpPr/>
          <p:nvPr/>
        </p:nvGrpSpPr>
        <p:grpSpPr>
          <a:xfrm>
            <a:off x="3511111" y="3824929"/>
            <a:ext cx="464514" cy="461963"/>
            <a:chOff x="881063" y="784225"/>
            <a:chExt cx="288925" cy="287338"/>
          </a:xfrm>
          <a:solidFill>
            <a:schemeClr val="bg1"/>
          </a:solidFill>
        </p:grpSpPr>
        <p:sp>
          <p:nvSpPr>
            <p:cNvPr id="12" name="Freeform 27"/>
            <p:cNvSpPr>
              <a:spLocks noEditPoints="1"/>
            </p:cNvSpPr>
            <p:nvPr/>
          </p:nvSpPr>
          <p:spPr bwMode="auto">
            <a:xfrm>
              <a:off x="968375" y="898525"/>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Freeform 28"/>
            <p:cNvSpPr>
              <a:spLocks/>
            </p:cNvSpPr>
            <p:nvPr/>
          </p:nvSpPr>
          <p:spPr bwMode="auto">
            <a:xfrm>
              <a:off x="1063625" y="1023938"/>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29"/>
            <p:cNvSpPr>
              <a:spLocks/>
            </p:cNvSpPr>
            <p:nvPr/>
          </p:nvSpPr>
          <p:spPr bwMode="auto">
            <a:xfrm>
              <a:off x="909638" y="917575"/>
              <a:ext cx="38100" cy="9525"/>
            </a:xfrm>
            <a:custGeom>
              <a:avLst/>
              <a:gdLst>
                <a:gd name="T0" fmla="*/ 105 w 120"/>
                <a:gd name="T1" fmla="*/ 0 h 30"/>
                <a:gd name="T2" fmla="*/ 15 w 120"/>
                <a:gd name="T3" fmla="*/ 0 h 30"/>
                <a:gd name="T4" fmla="*/ 12 w 120"/>
                <a:gd name="T5" fmla="*/ 0 h 30"/>
                <a:gd name="T6" fmla="*/ 8 w 120"/>
                <a:gd name="T7" fmla="*/ 1 h 30"/>
                <a:gd name="T8" fmla="*/ 6 w 120"/>
                <a:gd name="T9" fmla="*/ 2 h 30"/>
                <a:gd name="T10" fmla="*/ 4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4 w 120"/>
                <a:gd name="T27" fmla="*/ 25 h 30"/>
                <a:gd name="T28" fmla="*/ 6 w 120"/>
                <a:gd name="T29" fmla="*/ 28 h 30"/>
                <a:gd name="T30" fmla="*/ 8 w 120"/>
                <a:gd name="T31" fmla="*/ 29 h 30"/>
                <a:gd name="T32" fmla="*/ 12 w 120"/>
                <a:gd name="T33" fmla="*/ 30 h 30"/>
                <a:gd name="T34" fmla="*/ 15 w 120"/>
                <a:gd name="T35" fmla="*/ 30 h 30"/>
                <a:gd name="T36" fmla="*/ 105 w 120"/>
                <a:gd name="T37" fmla="*/ 30 h 30"/>
                <a:gd name="T38" fmla="*/ 108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8"/>
                  </a:lnTo>
                  <a:lnTo>
                    <a:pt x="8" y="29"/>
                  </a:lnTo>
                  <a:lnTo>
                    <a:pt x="12" y="30"/>
                  </a:lnTo>
                  <a:lnTo>
                    <a:pt x="15" y="30"/>
                  </a:lnTo>
                  <a:lnTo>
                    <a:pt x="105" y="30"/>
                  </a:lnTo>
                  <a:lnTo>
                    <a:pt x="108" y="30"/>
                  </a:lnTo>
                  <a:lnTo>
                    <a:pt x="111" y="29"/>
                  </a:lnTo>
                  <a:lnTo>
                    <a:pt x="114" y="28"/>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30"/>
            <p:cNvSpPr>
              <a:spLocks noEditPoints="1"/>
            </p:cNvSpPr>
            <p:nvPr/>
          </p:nvSpPr>
          <p:spPr bwMode="auto">
            <a:xfrm>
              <a:off x="881063" y="784225"/>
              <a:ext cx="153988" cy="114300"/>
            </a:xfrm>
            <a:custGeom>
              <a:avLst/>
              <a:gdLst>
                <a:gd name="T0" fmla="*/ 31 w 483"/>
                <a:gd name="T1" fmla="*/ 55 h 363"/>
                <a:gd name="T2" fmla="*/ 35 w 483"/>
                <a:gd name="T3" fmla="*/ 44 h 363"/>
                <a:gd name="T4" fmla="*/ 44 w 483"/>
                <a:gd name="T5" fmla="*/ 36 h 363"/>
                <a:gd name="T6" fmla="*/ 54 w 483"/>
                <a:gd name="T7" fmla="*/ 31 h 363"/>
                <a:gd name="T8" fmla="*/ 423 w 483"/>
                <a:gd name="T9" fmla="*/ 30 h 363"/>
                <a:gd name="T10" fmla="*/ 435 w 483"/>
                <a:gd name="T11" fmla="*/ 32 h 363"/>
                <a:gd name="T12" fmla="*/ 445 w 483"/>
                <a:gd name="T13" fmla="*/ 39 h 363"/>
                <a:gd name="T14" fmla="*/ 451 w 483"/>
                <a:gd name="T15" fmla="*/ 48 h 363"/>
                <a:gd name="T16" fmla="*/ 453 w 483"/>
                <a:gd name="T17" fmla="*/ 60 h 363"/>
                <a:gd name="T18" fmla="*/ 30 w 483"/>
                <a:gd name="T19" fmla="*/ 273 h 363"/>
                <a:gd name="T20" fmla="*/ 196 w 483"/>
                <a:gd name="T21" fmla="*/ 333 h 363"/>
                <a:gd name="T22" fmla="*/ 54 w 483"/>
                <a:gd name="T23" fmla="*/ 333 h 363"/>
                <a:gd name="T24" fmla="*/ 44 w 483"/>
                <a:gd name="T25" fmla="*/ 327 h 363"/>
                <a:gd name="T26" fmla="*/ 35 w 483"/>
                <a:gd name="T27" fmla="*/ 320 h 363"/>
                <a:gd name="T28" fmla="*/ 31 w 483"/>
                <a:gd name="T29" fmla="*/ 309 h 363"/>
                <a:gd name="T30" fmla="*/ 468 w 483"/>
                <a:gd name="T31" fmla="*/ 303 h 363"/>
                <a:gd name="T32" fmla="*/ 475 w 483"/>
                <a:gd name="T33" fmla="*/ 301 h 363"/>
                <a:gd name="T34" fmla="*/ 479 w 483"/>
                <a:gd name="T35" fmla="*/ 298 h 363"/>
                <a:gd name="T36" fmla="*/ 482 w 483"/>
                <a:gd name="T37" fmla="*/ 293 h 363"/>
                <a:gd name="T38" fmla="*/ 483 w 483"/>
                <a:gd name="T39" fmla="*/ 288 h 363"/>
                <a:gd name="T40" fmla="*/ 483 w 483"/>
                <a:gd name="T41" fmla="*/ 54 h 363"/>
                <a:gd name="T42" fmla="*/ 481 w 483"/>
                <a:gd name="T43" fmla="*/ 42 h 363"/>
                <a:gd name="T44" fmla="*/ 477 w 483"/>
                <a:gd name="T45" fmla="*/ 31 h 363"/>
                <a:gd name="T46" fmla="*/ 471 w 483"/>
                <a:gd name="T47" fmla="*/ 22 h 363"/>
                <a:gd name="T48" fmla="*/ 462 w 483"/>
                <a:gd name="T49" fmla="*/ 14 h 363"/>
                <a:gd name="T50" fmla="*/ 452 w 483"/>
                <a:gd name="T51" fmla="*/ 8 h 363"/>
                <a:gd name="T52" fmla="*/ 442 w 483"/>
                <a:gd name="T53" fmla="*/ 2 h 363"/>
                <a:gd name="T54" fmla="*/ 430 w 483"/>
                <a:gd name="T55" fmla="*/ 0 h 363"/>
                <a:gd name="T56" fmla="*/ 60 w 483"/>
                <a:gd name="T57" fmla="*/ 0 h 363"/>
                <a:gd name="T58" fmla="*/ 48 w 483"/>
                <a:gd name="T59" fmla="*/ 1 h 363"/>
                <a:gd name="T60" fmla="*/ 36 w 483"/>
                <a:gd name="T61" fmla="*/ 5 h 363"/>
                <a:gd name="T62" fmla="*/ 27 w 483"/>
                <a:gd name="T63" fmla="*/ 10 h 363"/>
                <a:gd name="T64" fmla="*/ 17 w 483"/>
                <a:gd name="T65" fmla="*/ 17 h 363"/>
                <a:gd name="T66" fmla="*/ 10 w 483"/>
                <a:gd name="T67" fmla="*/ 27 h 363"/>
                <a:gd name="T68" fmla="*/ 4 w 483"/>
                <a:gd name="T69" fmla="*/ 37 h 363"/>
                <a:gd name="T70" fmla="*/ 1 w 483"/>
                <a:gd name="T71" fmla="*/ 48 h 363"/>
                <a:gd name="T72" fmla="*/ 0 w 483"/>
                <a:gd name="T73" fmla="*/ 60 h 363"/>
                <a:gd name="T74" fmla="*/ 0 w 483"/>
                <a:gd name="T75" fmla="*/ 309 h 363"/>
                <a:gd name="T76" fmla="*/ 2 w 483"/>
                <a:gd name="T77" fmla="*/ 321 h 363"/>
                <a:gd name="T78" fmla="*/ 7 w 483"/>
                <a:gd name="T79" fmla="*/ 331 h 363"/>
                <a:gd name="T80" fmla="*/ 14 w 483"/>
                <a:gd name="T81" fmla="*/ 341 h 363"/>
                <a:gd name="T82" fmla="*/ 21 w 483"/>
                <a:gd name="T83" fmla="*/ 349 h 363"/>
                <a:gd name="T84" fmla="*/ 31 w 483"/>
                <a:gd name="T85" fmla="*/ 356 h 363"/>
                <a:gd name="T86" fmla="*/ 43 w 483"/>
                <a:gd name="T87" fmla="*/ 360 h 363"/>
                <a:gd name="T88" fmla="*/ 54 w 483"/>
                <a:gd name="T89" fmla="*/ 363 h 363"/>
                <a:gd name="T90" fmla="*/ 196 w 483"/>
                <a:gd name="T91" fmla="*/ 363 h 363"/>
                <a:gd name="T92" fmla="*/ 202 w 483"/>
                <a:gd name="T93" fmla="*/ 361 h 363"/>
                <a:gd name="T94" fmla="*/ 207 w 483"/>
                <a:gd name="T95" fmla="*/ 358 h 363"/>
                <a:gd name="T96" fmla="*/ 210 w 483"/>
                <a:gd name="T97" fmla="*/ 354 h 363"/>
                <a:gd name="T98" fmla="*/ 211 w 483"/>
                <a:gd name="T99" fmla="*/ 348 h 363"/>
                <a:gd name="T100" fmla="*/ 210 w 483"/>
                <a:gd name="T101" fmla="*/ 342 h 363"/>
                <a:gd name="T102" fmla="*/ 207 w 483"/>
                <a:gd name="T103" fmla="*/ 337 h 363"/>
                <a:gd name="T104" fmla="*/ 202 w 483"/>
                <a:gd name="T105" fmla="*/ 334 h 363"/>
                <a:gd name="T106" fmla="*/ 196 w 483"/>
                <a:gd name="T107" fmla="*/ 33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 h="363">
                  <a:moveTo>
                    <a:pt x="30" y="60"/>
                  </a:moveTo>
                  <a:lnTo>
                    <a:pt x="31" y="55"/>
                  </a:lnTo>
                  <a:lnTo>
                    <a:pt x="32" y="48"/>
                  </a:lnTo>
                  <a:lnTo>
                    <a:pt x="35" y="44"/>
                  </a:lnTo>
                  <a:lnTo>
                    <a:pt x="38" y="39"/>
                  </a:lnTo>
                  <a:lnTo>
                    <a:pt x="44" y="36"/>
                  </a:lnTo>
                  <a:lnTo>
                    <a:pt x="48" y="32"/>
                  </a:lnTo>
                  <a:lnTo>
                    <a:pt x="54" y="31"/>
                  </a:lnTo>
                  <a:lnTo>
                    <a:pt x="60" y="30"/>
                  </a:lnTo>
                  <a:lnTo>
                    <a:pt x="423" y="30"/>
                  </a:lnTo>
                  <a:lnTo>
                    <a:pt x="430" y="31"/>
                  </a:lnTo>
                  <a:lnTo>
                    <a:pt x="435" y="32"/>
                  </a:lnTo>
                  <a:lnTo>
                    <a:pt x="441" y="36"/>
                  </a:lnTo>
                  <a:lnTo>
                    <a:pt x="445" y="39"/>
                  </a:lnTo>
                  <a:lnTo>
                    <a:pt x="448" y="44"/>
                  </a:lnTo>
                  <a:lnTo>
                    <a:pt x="451" y="48"/>
                  </a:lnTo>
                  <a:lnTo>
                    <a:pt x="453" y="55"/>
                  </a:lnTo>
                  <a:lnTo>
                    <a:pt x="453" y="60"/>
                  </a:lnTo>
                  <a:lnTo>
                    <a:pt x="453" y="273"/>
                  </a:lnTo>
                  <a:lnTo>
                    <a:pt x="30" y="273"/>
                  </a:lnTo>
                  <a:lnTo>
                    <a:pt x="30" y="60"/>
                  </a:lnTo>
                  <a:close/>
                  <a:moveTo>
                    <a:pt x="196" y="333"/>
                  </a:moveTo>
                  <a:lnTo>
                    <a:pt x="60" y="333"/>
                  </a:lnTo>
                  <a:lnTo>
                    <a:pt x="54" y="333"/>
                  </a:lnTo>
                  <a:lnTo>
                    <a:pt x="48" y="330"/>
                  </a:lnTo>
                  <a:lnTo>
                    <a:pt x="44" y="327"/>
                  </a:lnTo>
                  <a:lnTo>
                    <a:pt x="38" y="324"/>
                  </a:lnTo>
                  <a:lnTo>
                    <a:pt x="35" y="320"/>
                  </a:lnTo>
                  <a:lnTo>
                    <a:pt x="32" y="314"/>
                  </a:lnTo>
                  <a:lnTo>
                    <a:pt x="31" y="309"/>
                  </a:lnTo>
                  <a:lnTo>
                    <a:pt x="30" y="303"/>
                  </a:lnTo>
                  <a:lnTo>
                    <a:pt x="468" y="303"/>
                  </a:lnTo>
                  <a:lnTo>
                    <a:pt x="472" y="303"/>
                  </a:lnTo>
                  <a:lnTo>
                    <a:pt x="475" y="301"/>
                  </a:lnTo>
                  <a:lnTo>
                    <a:pt x="477" y="300"/>
                  </a:lnTo>
                  <a:lnTo>
                    <a:pt x="479" y="298"/>
                  </a:lnTo>
                  <a:lnTo>
                    <a:pt x="481" y="296"/>
                  </a:lnTo>
                  <a:lnTo>
                    <a:pt x="482" y="293"/>
                  </a:lnTo>
                  <a:lnTo>
                    <a:pt x="483" y="291"/>
                  </a:lnTo>
                  <a:lnTo>
                    <a:pt x="483" y="288"/>
                  </a:lnTo>
                  <a:lnTo>
                    <a:pt x="483" y="60"/>
                  </a:lnTo>
                  <a:lnTo>
                    <a:pt x="483" y="54"/>
                  </a:lnTo>
                  <a:lnTo>
                    <a:pt x="482" y="48"/>
                  </a:lnTo>
                  <a:lnTo>
                    <a:pt x="481" y="42"/>
                  </a:lnTo>
                  <a:lnTo>
                    <a:pt x="479" y="37"/>
                  </a:lnTo>
                  <a:lnTo>
                    <a:pt x="477" y="31"/>
                  </a:lnTo>
                  <a:lnTo>
                    <a:pt x="474" y="27"/>
                  </a:lnTo>
                  <a:lnTo>
                    <a:pt x="471" y="22"/>
                  </a:lnTo>
                  <a:lnTo>
                    <a:pt x="466" y="17"/>
                  </a:lnTo>
                  <a:lnTo>
                    <a:pt x="462" y="14"/>
                  </a:lnTo>
                  <a:lnTo>
                    <a:pt x="458" y="10"/>
                  </a:lnTo>
                  <a:lnTo>
                    <a:pt x="452" y="8"/>
                  </a:lnTo>
                  <a:lnTo>
                    <a:pt x="447" y="5"/>
                  </a:lnTo>
                  <a:lnTo>
                    <a:pt x="442" y="2"/>
                  </a:lnTo>
                  <a:lnTo>
                    <a:pt x="435" y="1"/>
                  </a:lnTo>
                  <a:lnTo>
                    <a:pt x="430" y="0"/>
                  </a:lnTo>
                  <a:lnTo>
                    <a:pt x="423" y="0"/>
                  </a:lnTo>
                  <a:lnTo>
                    <a:pt x="60" y="0"/>
                  </a:lnTo>
                  <a:lnTo>
                    <a:pt x="54" y="0"/>
                  </a:lnTo>
                  <a:lnTo>
                    <a:pt x="48" y="1"/>
                  </a:lnTo>
                  <a:lnTo>
                    <a:pt x="43" y="2"/>
                  </a:lnTo>
                  <a:lnTo>
                    <a:pt x="36" y="5"/>
                  </a:lnTo>
                  <a:lnTo>
                    <a:pt x="31" y="8"/>
                  </a:lnTo>
                  <a:lnTo>
                    <a:pt x="27" y="10"/>
                  </a:lnTo>
                  <a:lnTo>
                    <a:pt x="21" y="14"/>
                  </a:lnTo>
                  <a:lnTo>
                    <a:pt x="17" y="17"/>
                  </a:lnTo>
                  <a:lnTo>
                    <a:pt x="14" y="22"/>
                  </a:lnTo>
                  <a:lnTo>
                    <a:pt x="10" y="27"/>
                  </a:lnTo>
                  <a:lnTo>
                    <a:pt x="7" y="31"/>
                  </a:lnTo>
                  <a:lnTo>
                    <a:pt x="4" y="37"/>
                  </a:lnTo>
                  <a:lnTo>
                    <a:pt x="2" y="42"/>
                  </a:lnTo>
                  <a:lnTo>
                    <a:pt x="1" y="48"/>
                  </a:lnTo>
                  <a:lnTo>
                    <a:pt x="0" y="54"/>
                  </a:lnTo>
                  <a:lnTo>
                    <a:pt x="0" y="60"/>
                  </a:lnTo>
                  <a:lnTo>
                    <a:pt x="0" y="303"/>
                  </a:lnTo>
                  <a:lnTo>
                    <a:pt x="0" y="309"/>
                  </a:lnTo>
                  <a:lnTo>
                    <a:pt x="1" y="314"/>
                  </a:lnTo>
                  <a:lnTo>
                    <a:pt x="2" y="321"/>
                  </a:lnTo>
                  <a:lnTo>
                    <a:pt x="4" y="326"/>
                  </a:lnTo>
                  <a:lnTo>
                    <a:pt x="7" y="331"/>
                  </a:lnTo>
                  <a:lnTo>
                    <a:pt x="10" y="336"/>
                  </a:lnTo>
                  <a:lnTo>
                    <a:pt x="14" y="341"/>
                  </a:lnTo>
                  <a:lnTo>
                    <a:pt x="17" y="345"/>
                  </a:lnTo>
                  <a:lnTo>
                    <a:pt x="21" y="349"/>
                  </a:lnTo>
                  <a:lnTo>
                    <a:pt x="27" y="353"/>
                  </a:lnTo>
                  <a:lnTo>
                    <a:pt x="31" y="356"/>
                  </a:lnTo>
                  <a:lnTo>
                    <a:pt x="36" y="358"/>
                  </a:lnTo>
                  <a:lnTo>
                    <a:pt x="43" y="360"/>
                  </a:lnTo>
                  <a:lnTo>
                    <a:pt x="48" y="361"/>
                  </a:lnTo>
                  <a:lnTo>
                    <a:pt x="54" y="363"/>
                  </a:lnTo>
                  <a:lnTo>
                    <a:pt x="60" y="363"/>
                  </a:lnTo>
                  <a:lnTo>
                    <a:pt x="196" y="363"/>
                  </a:lnTo>
                  <a:lnTo>
                    <a:pt x="199" y="363"/>
                  </a:lnTo>
                  <a:lnTo>
                    <a:pt x="202" y="361"/>
                  </a:lnTo>
                  <a:lnTo>
                    <a:pt x="205" y="360"/>
                  </a:lnTo>
                  <a:lnTo>
                    <a:pt x="207" y="358"/>
                  </a:lnTo>
                  <a:lnTo>
                    <a:pt x="209" y="356"/>
                  </a:lnTo>
                  <a:lnTo>
                    <a:pt x="210" y="354"/>
                  </a:lnTo>
                  <a:lnTo>
                    <a:pt x="211" y="351"/>
                  </a:lnTo>
                  <a:lnTo>
                    <a:pt x="211" y="348"/>
                  </a:lnTo>
                  <a:lnTo>
                    <a:pt x="211" y="344"/>
                  </a:lnTo>
                  <a:lnTo>
                    <a:pt x="210" y="342"/>
                  </a:lnTo>
                  <a:lnTo>
                    <a:pt x="209" y="339"/>
                  </a:lnTo>
                  <a:lnTo>
                    <a:pt x="207" y="337"/>
                  </a:lnTo>
                  <a:lnTo>
                    <a:pt x="205" y="336"/>
                  </a:lnTo>
                  <a:lnTo>
                    <a:pt x="202" y="334"/>
                  </a:lnTo>
                  <a:lnTo>
                    <a:pt x="199" y="333"/>
                  </a:lnTo>
                  <a:lnTo>
                    <a:pt x="19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6" name="Rectangle 15">
            <a:extLst>
              <a:ext uri="{FF2B5EF4-FFF2-40B4-BE49-F238E27FC236}">
                <a16:creationId xmlns:a16="http://schemas.microsoft.com/office/drawing/2014/main" id="{DB35DF6C-1CC9-4A68-9660-98C1C2DE3634}"/>
              </a:ext>
            </a:extLst>
          </p:cNvPr>
          <p:cNvSpPr/>
          <p:nvPr/>
        </p:nvSpPr>
        <p:spPr>
          <a:xfrm>
            <a:off x="7080540" y="3640195"/>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bg1"/>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bg1"/>
                </a:solidFill>
                <a:latin typeface="Lato" panose="020F0502020204030203" pitchFamily="34" charset="0"/>
                <a:ea typeface="Roboto" panose="02000000000000000000" pitchFamily="2" charset="0"/>
                <a:cs typeface="Lato" panose="020F0502020204030203" pitchFamily="34" charset="0"/>
              </a:rPr>
              <a:t> IPSUM</a:t>
            </a:r>
          </a:p>
        </p:txBody>
      </p:sp>
      <p:sp>
        <p:nvSpPr>
          <p:cNvPr id="17" name="Rectangle 16">
            <a:extLst>
              <a:ext uri="{FF2B5EF4-FFF2-40B4-BE49-F238E27FC236}">
                <a16:creationId xmlns:a16="http://schemas.microsoft.com/office/drawing/2014/main" id="{36619682-B96B-456C-82E8-C90705949DB6}"/>
              </a:ext>
            </a:extLst>
          </p:cNvPr>
          <p:cNvSpPr/>
          <p:nvPr/>
        </p:nvSpPr>
        <p:spPr>
          <a:xfrm>
            <a:off x="7080540" y="4003294"/>
            <a:ext cx="1932316" cy="707886"/>
          </a:xfrm>
          <a:prstGeom prst="rect">
            <a:avLst/>
          </a:prstGeom>
        </p:spPr>
        <p:txBody>
          <a:bodyPr wrap="square">
            <a:spAutoFit/>
          </a:bodyPr>
          <a:lstStyle/>
          <a:p>
            <a:pP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23" name="Rectangle 22">
            <a:extLst>
              <a:ext uri="{FF2B5EF4-FFF2-40B4-BE49-F238E27FC236}">
                <a16:creationId xmlns:a16="http://schemas.microsoft.com/office/drawing/2014/main" id="{DB35DF6C-1CC9-4A68-9660-98C1C2DE3634}"/>
              </a:ext>
            </a:extLst>
          </p:cNvPr>
          <p:cNvSpPr/>
          <p:nvPr/>
        </p:nvSpPr>
        <p:spPr>
          <a:xfrm>
            <a:off x="4215435" y="5024773"/>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bg1"/>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bg1"/>
                </a:solidFill>
                <a:latin typeface="Lato" panose="020F0502020204030203" pitchFamily="34" charset="0"/>
                <a:ea typeface="Roboto" panose="02000000000000000000" pitchFamily="2" charset="0"/>
                <a:cs typeface="Lato" panose="020F0502020204030203" pitchFamily="34" charset="0"/>
              </a:rPr>
              <a:t> IPSUM</a:t>
            </a:r>
          </a:p>
        </p:txBody>
      </p:sp>
      <p:sp>
        <p:nvSpPr>
          <p:cNvPr id="24" name="Rectangle 23">
            <a:extLst>
              <a:ext uri="{FF2B5EF4-FFF2-40B4-BE49-F238E27FC236}">
                <a16:creationId xmlns:a16="http://schemas.microsoft.com/office/drawing/2014/main" id="{36619682-B96B-456C-82E8-C90705949DB6}"/>
              </a:ext>
            </a:extLst>
          </p:cNvPr>
          <p:cNvSpPr/>
          <p:nvPr/>
        </p:nvSpPr>
        <p:spPr>
          <a:xfrm>
            <a:off x="4215435" y="5387872"/>
            <a:ext cx="1932316" cy="707886"/>
          </a:xfrm>
          <a:prstGeom prst="rect">
            <a:avLst/>
          </a:prstGeom>
        </p:spPr>
        <p:txBody>
          <a:bodyPr wrap="square">
            <a:spAutoFit/>
          </a:bodyPr>
          <a:lstStyle/>
          <a:p>
            <a:pP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32" name="Rectangle 31">
            <a:extLst>
              <a:ext uri="{FF2B5EF4-FFF2-40B4-BE49-F238E27FC236}">
                <a16:creationId xmlns:a16="http://schemas.microsoft.com/office/drawing/2014/main" id="{DB35DF6C-1CC9-4A68-9660-98C1C2DE3634}"/>
              </a:ext>
            </a:extLst>
          </p:cNvPr>
          <p:cNvSpPr/>
          <p:nvPr/>
        </p:nvSpPr>
        <p:spPr>
          <a:xfrm>
            <a:off x="7080540" y="5024773"/>
            <a:ext cx="1932316" cy="363099"/>
          </a:xfrm>
          <a:prstGeom prst="rect">
            <a:avLst/>
          </a:prstGeom>
        </p:spPr>
        <p:txBody>
          <a:bodyPr vert="horz" wrap="square" lIns="91440" tIns="45720" rIns="91440" bIns="45720" rtlCol="0" anchor="ctr">
            <a:noAutofit/>
          </a:bodyPr>
          <a:lstStyle/>
          <a:p>
            <a:pPr>
              <a:lnSpc>
                <a:spcPct val="90000"/>
              </a:lnSpc>
              <a:spcBef>
                <a:spcPct val="0"/>
              </a:spcBef>
            </a:pPr>
            <a:r>
              <a:rPr lang="en-US" sz="1200" b="1" noProof="1">
                <a:solidFill>
                  <a:schemeClr val="bg1"/>
                </a:solidFill>
                <a:latin typeface="Lato" panose="020F0502020204030203" pitchFamily="34" charset="0"/>
                <a:ea typeface="Roboto" panose="02000000000000000000" pitchFamily="2" charset="0"/>
                <a:cs typeface="Lato" panose="020F0502020204030203" pitchFamily="34" charset="0"/>
              </a:rPr>
              <a:t>LOREM</a:t>
            </a:r>
            <a:r>
              <a:rPr lang="en-US" sz="1200" noProof="1">
                <a:solidFill>
                  <a:schemeClr val="bg1"/>
                </a:solidFill>
                <a:latin typeface="Lato" panose="020F0502020204030203" pitchFamily="34" charset="0"/>
                <a:ea typeface="Roboto" panose="02000000000000000000" pitchFamily="2" charset="0"/>
                <a:cs typeface="Lato" panose="020F0502020204030203" pitchFamily="34" charset="0"/>
              </a:rPr>
              <a:t> IPSUM</a:t>
            </a:r>
          </a:p>
        </p:txBody>
      </p:sp>
      <p:sp>
        <p:nvSpPr>
          <p:cNvPr id="33" name="Rectangle 32">
            <a:extLst>
              <a:ext uri="{FF2B5EF4-FFF2-40B4-BE49-F238E27FC236}">
                <a16:creationId xmlns:a16="http://schemas.microsoft.com/office/drawing/2014/main" id="{36619682-B96B-456C-82E8-C90705949DB6}"/>
              </a:ext>
            </a:extLst>
          </p:cNvPr>
          <p:cNvSpPr/>
          <p:nvPr/>
        </p:nvSpPr>
        <p:spPr>
          <a:xfrm>
            <a:off x="7080540" y="5387872"/>
            <a:ext cx="1932316" cy="707886"/>
          </a:xfrm>
          <a:prstGeom prst="rect">
            <a:avLst/>
          </a:prstGeom>
        </p:spPr>
        <p:txBody>
          <a:bodyPr wrap="square">
            <a:spAutoFit/>
          </a:bodyPr>
          <a:lstStyle/>
          <a:p>
            <a:pP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sp>
        <p:nvSpPr>
          <p:cNvPr id="40" name="Freeform 26"/>
          <p:cNvSpPr>
            <a:spLocks noEditPoints="1"/>
          </p:cNvSpPr>
          <p:nvPr/>
        </p:nvSpPr>
        <p:spPr bwMode="auto">
          <a:xfrm>
            <a:off x="6555564" y="5061288"/>
            <a:ext cx="434670" cy="544114"/>
          </a:xfrm>
          <a:custGeom>
            <a:avLst/>
            <a:gdLst>
              <a:gd name="T0" fmla="*/ 657 w 698"/>
              <a:gd name="T1" fmla="*/ 694 h 868"/>
              <a:gd name="T2" fmla="*/ 591 w 698"/>
              <a:gd name="T3" fmla="*/ 789 h 868"/>
              <a:gd name="T4" fmla="*/ 498 w 698"/>
              <a:gd name="T5" fmla="*/ 835 h 868"/>
              <a:gd name="T6" fmla="*/ 319 w 698"/>
              <a:gd name="T7" fmla="*/ 836 h 868"/>
              <a:gd name="T8" fmla="*/ 254 w 698"/>
              <a:gd name="T9" fmla="*/ 806 h 868"/>
              <a:gd name="T10" fmla="*/ 193 w 698"/>
              <a:gd name="T11" fmla="*/ 741 h 868"/>
              <a:gd name="T12" fmla="*/ 57 w 698"/>
              <a:gd name="T13" fmla="*/ 482 h 868"/>
              <a:gd name="T14" fmla="*/ 31 w 698"/>
              <a:gd name="T15" fmla="*/ 407 h 868"/>
              <a:gd name="T16" fmla="*/ 48 w 698"/>
              <a:gd name="T17" fmla="*/ 385 h 868"/>
              <a:gd name="T18" fmla="*/ 71 w 698"/>
              <a:gd name="T19" fmla="*/ 383 h 868"/>
              <a:gd name="T20" fmla="*/ 187 w 698"/>
              <a:gd name="T21" fmla="*/ 542 h 868"/>
              <a:gd name="T22" fmla="*/ 210 w 698"/>
              <a:gd name="T23" fmla="*/ 536 h 868"/>
              <a:gd name="T24" fmla="*/ 224 w 698"/>
              <a:gd name="T25" fmla="*/ 121 h 868"/>
              <a:gd name="T26" fmla="*/ 273 w 698"/>
              <a:gd name="T27" fmla="*/ 110 h 868"/>
              <a:gd name="T28" fmla="*/ 302 w 698"/>
              <a:gd name="T29" fmla="*/ 152 h 868"/>
              <a:gd name="T30" fmla="*/ 307 w 698"/>
              <a:gd name="T31" fmla="*/ 392 h 868"/>
              <a:gd name="T32" fmla="*/ 323 w 698"/>
              <a:gd name="T33" fmla="*/ 395 h 868"/>
              <a:gd name="T34" fmla="*/ 332 w 698"/>
              <a:gd name="T35" fmla="*/ 381 h 868"/>
              <a:gd name="T36" fmla="*/ 341 w 698"/>
              <a:gd name="T37" fmla="*/ 51 h 868"/>
              <a:gd name="T38" fmla="*/ 387 w 698"/>
              <a:gd name="T39" fmla="*/ 32 h 868"/>
              <a:gd name="T40" fmla="*/ 423 w 698"/>
              <a:gd name="T41" fmla="*/ 67 h 868"/>
              <a:gd name="T42" fmla="*/ 425 w 698"/>
              <a:gd name="T43" fmla="*/ 387 h 868"/>
              <a:gd name="T44" fmla="*/ 439 w 698"/>
              <a:gd name="T45" fmla="*/ 396 h 868"/>
              <a:gd name="T46" fmla="*/ 454 w 698"/>
              <a:gd name="T47" fmla="*/ 387 h 868"/>
              <a:gd name="T48" fmla="*/ 458 w 698"/>
              <a:gd name="T49" fmla="*/ 135 h 868"/>
              <a:gd name="T50" fmla="*/ 500 w 698"/>
              <a:gd name="T51" fmla="*/ 107 h 868"/>
              <a:gd name="T52" fmla="*/ 542 w 698"/>
              <a:gd name="T53" fmla="*/ 135 h 868"/>
              <a:gd name="T54" fmla="*/ 546 w 698"/>
              <a:gd name="T55" fmla="*/ 435 h 868"/>
              <a:gd name="T56" fmla="*/ 558 w 698"/>
              <a:gd name="T57" fmla="*/ 447 h 868"/>
              <a:gd name="T58" fmla="*/ 574 w 698"/>
              <a:gd name="T59" fmla="*/ 440 h 868"/>
              <a:gd name="T60" fmla="*/ 577 w 698"/>
              <a:gd name="T61" fmla="*/ 251 h 868"/>
              <a:gd name="T62" fmla="*/ 613 w 698"/>
              <a:gd name="T63" fmla="*/ 214 h 868"/>
              <a:gd name="T64" fmla="*/ 660 w 698"/>
              <a:gd name="T65" fmla="*/ 234 h 868"/>
              <a:gd name="T66" fmla="*/ 668 w 698"/>
              <a:gd name="T67" fmla="*/ 640 h 868"/>
              <a:gd name="T68" fmla="*/ 587 w 698"/>
              <a:gd name="T69" fmla="*/ 193 h 868"/>
              <a:gd name="T70" fmla="*/ 571 w 698"/>
              <a:gd name="T71" fmla="*/ 123 h 868"/>
              <a:gd name="T72" fmla="*/ 542 w 698"/>
              <a:gd name="T73" fmla="*/ 90 h 868"/>
              <a:gd name="T74" fmla="*/ 500 w 698"/>
              <a:gd name="T75" fmla="*/ 76 h 868"/>
              <a:gd name="T76" fmla="*/ 455 w 698"/>
              <a:gd name="T77" fmla="*/ 93 h 868"/>
              <a:gd name="T78" fmla="*/ 445 w 698"/>
              <a:gd name="T79" fmla="*/ 40 h 868"/>
              <a:gd name="T80" fmla="*/ 414 w 698"/>
              <a:gd name="T81" fmla="*/ 9 h 868"/>
              <a:gd name="T82" fmla="*/ 371 w 698"/>
              <a:gd name="T83" fmla="*/ 1 h 868"/>
              <a:gd name="T84" fmla="*/ 330 w 698"/>
              <a:gd name="T85" fmla="*/ 18 h 868"/>
              <a:gd name="T86" fmla="*/ 306 w 698"/>
              <a:gd name="T87" fmla="*/ 54 h 868"/>
              <a:gd name="T88" fmla="*/ 281 w 698"/>
              <a:gd name="T89" fmla="*/ 80 h 868"/>
              <a:gd name="T90" fmla="*/ 241 w 698"/>
              <a:gd name="T91" fmla="*/ 78 h 868"/>
              <a:gd name="T92" fmla="*/ 203 w 698"/>
              <a:gd name="T93" fmla="*/ 99 h 868"/>
              <a:gd name="T94" fmla="*/ 181 w 698"/>
              <a:gd name="T95" fmla="*/ 137 h 868"/>
              <a:gd name="T96" fmla="*/ 105 w 698"/>
              <a:gd name="T97" fmla="*/ 373 h 868"/>
              <a:gd name="T98" fmla="*/ 65 w 698"/>
              <a:gd name="T99" fmla="*/ 350 h 868"/>
              <a:gd name="T100" fmla="*/ 17 w 698"/>
              <a:gd name="T101" fmla="*/ 370 h 868"/>
              <a:gd name="T102" fmla="*/ 3 w 698"/>
              <a:gd name="T103" fmla="*/ 435 h 868"/>
              <a:gd name="T104" fmla="*/ 66 w 698"/>
              <a:gd name="T105" fmla="*/ 572 h 868"/>
              <a:gd name="T106" fmla="*/ 181 w 698"/>
              <a:gd name="T107" fmla="*/ 777 h 868"/>
              <a:gd name="T108" fmla="*/ 239 w 698"/>
              <a:gd name="T109" fmla="*/ 833 h 868"/>
              <a:gd name="T110" fmla="*/ 314 w 698"/>
              <a:gd name="T111" fmla="*/ 866 h 868"/>
              <a:gd name="T112" fmla="*/ 503 w 698"/>
              <a:gd name="T113" fmla="*/ 865 h 868"/>
              <a:gd name="T114" fmla="*/ 574 w 698"/>
              <a:gd name="T115" fmla="*/ 838 h 868"/>
              <a:gd name="T116" fmla="*/ 668 w 698"/>
              <a:gd name="T117" fmla="*/ 744 h 868"/>
              <a:gd name="T118" fmla="*/ 695 w 698"/>
              <a:gd name="T119" fmla="*/ 672 h 868"/>
              <a:gd name="T120" fmla="*/ 698 w 698"/>
              <a:gd name="T121" fmla="*/ 259 h 868"/>
              <a:gd name="T122" fmla="*/ 685 w 698"/>
              <a:gd name="T123" fmla="*/ 217 h 868"/>
              <a:gd name="T124" fmla="*/ 651 w 698"/>
              <a:gd name="T125" fmla="*/ 18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8" h="868">
                <a:moveTo>
                  <a:pt x="668" y="640"/>
                </a:moveTo>
                <a:lnTo>
                  <a:pt x="667" y="649"/>
                </a:lnTo>
                <a:lnTo>
                  <a:pt x="667" y="658"/>
                </a:lnTo>
                <a:lnTo>
                  <a:pt x="665" y="668"/>
                </a:lnTo>
                <a:lnTo>
                  <a:pt x="663" y="676"/>
                </a:lnTo>
                <a:lnTo>
                  <a:pt x="657" y="694"/>
                </a:lnTo>
                <a:lnTo>
                  <a:pt x="651" y="712"/>
                </a:lnTo>
                <a:lnTo>
                  <a:pt x="641" y="729"/>
                </a:lnTo>
                <a:lnTo>
                  <a:pt x="631" y="746"/>
                </a:lnTo>
                <a:lnTo>
                  <a:pt x="619" y="761"/>
                </a:lnTo>
                <a:lnTo>
                  <a:pt x="606" y="776"/>
                </a:lnTo>
                <a:lnTo>
                  <a:pt x="591" y="789"/>
                </a:lnTo>
                <a:lnTo>
                  <a:pt x="576" y="801"/>
                </a:lnTo>
                <a:lnTo>
                  <a:pt x="560" y="811"/>
                </a:lnTo>
                <a:lnTo>
                  <a:pt x="543" y="821"/>
                </a:lnTo>
                <a:lnTo>
                  <a:pt x="526" y="828"/>
                </a:lnTo>
                <a:lnTo>
                  <a:pt x="507" y="834"/>
                </a:lnTo>
                <a:lnTo>
                  <a:pt x="498" y="835"/>
                </a:lnTo>
                <a:lnTo>
                  <a:pt x="489" y="837"/>
                </a:lnTo>
                <a:lnTo>
                  <a:pt x="479" y="837"/>
                </a:lnTo>
                <a:lnTo>
                  <a:pt x="471" y="838"/>
                </a:lnTo>
                <a:lnTo>
                  <a:pt x="342" y="838"/>
                </a:lnTo>
                <a:lnTo>
                  <a:pt x="330" y="837"/>
                </a:lnTo>
                <a:lnTo>
                  <a:pt x="319" y="836"/>
                </a:lnTo>
                <a:lnTo>
                  <a:pt x="307" y="833"/>
                </a:lnTo>
                <a:lnTo>
                  <a:pt x="296" y="828"/>
                </a:lnTo>
                <a:lnTo>
                  <a:pt x="285" y="824"/>
                </a:lnTo>
                <a:lnTo>
                  <a:pt x="275" y="819"/>
                </a:lnTo>
                <a:lnTo>
                  <a:pt x="264" y="812"/>
                </a:lnTo>
                <a:lnTo>
                  <a:pt x="254" y="806"/>
                </a:lnTo>
                <a:lnTo>
                  <a:pt x="245" y="798"/>
                </a:lnTo>
                <a:lnTo>
                  <a:pt x="236" y="791"/>
                </a:lnTo>
                <a:lnTo>
                  <a:pt x="227" y="783"/>
                </a:lnTo>
                <a:lnTo>
                  <a:pt x="219" y="775"/>
                </a:lnTo>
                <a:lnTo>
                  <a:pt x="205" y="758"/>
                </a:lnTo>
                <a:lnTo>
                  <a:pt x="193" y="741"/>
                </a:lnTo>
                <a:lnTo>
                  <a:pt x="168" y="699"/>
                </a:lnTo>
                <a:lnTo>
                  <a:pt x="142" y="653"/>
                </a:lnTo>
                <a:lnTo>
                  <a:pt x="117" y="604"/>
                </a:lnTo>
                <a:lnTo>
                  <a:pt x="93" y="558"/>
                </a:lnTo>
                <a:lnTo>
                  <a:pt x="73" y="516"/>
                </a:lnTo>
                <a:lnTo>
                  <a:pt x="57" y="482"/>
                </a:lnTo>
                <a:lnTo>
                  <a:pt x="45" y="459"/>
                </a:lnTo>
                <a:lnTo>
                  <a:pt x="42" y="450"/>
                </a:lnTo>
                <a:lnTo>
                  <a:pt x="35" y="436"/>
                </a:lnTo>
                <a:lnTo>
                  <a:pt x="31" y="424"/>
                </a:lnTo>
                <a:lnTo>
                  <a:pt x="30" y="415"/>
                </a:lnTo>
                <a:lnTo>
                  <a:pt x="31" y="407"/>
                </a:lnTo>
                <a:lnTo>
                  <a:pt x="32" y="401"/>
                </a:lnTo>
                <a:lnTo>
                  <a:pt x="34" y="396"/>
                </a:lnTo>
                <a:lnTo>
                  <a:pt x="36" y="393"/>
                </a:lnTo>
                <a:lnTo>
                  <a:pt x="39" y="392"/>
                </a:lnTo>
                <a:lnTo>
                  <a:pt x="43" y="388"/>
                </a:lnTo>
                <a:lnTo>
                  <a:pt x="48" y="385"/>
                </a:lnTo>
                <a:lnTo>
                  <a:pt x="51" y="382"/>
                </a:lnTo>
                <a:lnTo>
                  <a:pt x="55" y="381"/>
                </a:lnTo>
                <a:lnTo>
                  <a:pt x="58" y="381"/>
                </a:lnTo>
                <a:lnTo>
                  <a:pt x="62" y="381"/>
                </a:lnTo>
                <a:lnTo>
                  <a:pt x="66" y="381"/>
                </a:lnTo>
                <a:lnTo>
                  <a:pt x="71" y="383"/>
                </a:lnTo>
                <a:lnTo>
                  <a:pt x="75" y="386"/>
                </a:lnTo>
                <a:lnTo>
                  <a:pt x="78" y="389"/>
                </a:lnTo>
                <a:lnTo>
                  <a:pt x="86" y="396"/>
                </a:lnTo>
                <a:lnTo>
                  <a:pt x="91" y="405"/>
                </a:lnTo>
                <a:lnTo>
                  <a:pt x="182" y="539"/>
                </a:lnTo>
                <a:lnTo>
                  <a:pt x="187" y="542"/>
                </a:lnTo>
                <a:lnTo>
                  <a:pt x="190" y="544"/>
                </a:lnTo>
                <a:lnTo>
                  <a:pt x="195" y="545"/>
                </a:lnTo>
                <a:lnTo>
                  <a:pt x="199" y="545"/>
                </a:lnTo>
                <a:lnTo>
                  <a:pt x="204" y="543"/>
                </a:lnTo>
                <a:lnTo>
                  <a:pt x="208" y="539"/>
                </a:lnTo>
                <a:lnTo>
                  <a:pt x="210" y="536"/>
                </a:lnTo>
                <a:lnTo>
                  <a:pt x="210" y="530"/>
                </a:lnTo>
                <a:lnTo>
                  <a:pt x="210" y="152"/>
                </a:lnTo>
                <a:lnTo>
                  <a:pt x="211" y="143"/>
                </a:lnTo>
                <a:lnTo>
                  <a:pt x="214" y="135"/>
                </a:lnTo>
                <a:lnTo>
                  <a:pt x="219" y="127"/>
                </a:lnTo>
                <a:lnTo>
                  <a:pt x="224" y="121"/>
                </a:lnTo>
                <a:lnTo>
                  <a:pt x="232" y="114"/>
                </a:lnTo>
                <a:lnTo>
                  <a:pt x="239" y="110"/>
                </a:lnTo>
                <a:lnTo>
                  <a:pt x="248" y="108"/>
                </a:lnTo>
                <a:lnTo>
                  <a:pt x="256" y="107"/>
                </a:lnTo>
                <a:lnTo>
                  <a:pt x="265" y="108"/>
                </a:lnTo>
                <a:lnTo>
                  <a:pt x="273" y="110"/>
                </a:lnTo>
                <a:lnTo>
                  <a:pt x="281" y="114"/>
                </a:lnTo>
                <a:lnTo>
                  <a:pt x="287" y="121"/>
                </a:lnTo>
                <a:lnTo>
                  <a:pt x="294" y="127"/>
                </a:lnTo>
                <a:lnTo>
                  <a:pt x="298" y="135"/>
                </a:lnTo>
                <a:lnTo>
                  <a:pt x="301" y="143"/>
                </a:lnTo>
                <a:lnTo>
                  <a:pt x="302" y="152"/>
                </a:lnTo>
                <a:lnTo>
                  <a:pt x="302" y="304"/>
                </a:lnTo>
                <a:lnTo>
                  <a:pt x="302" y="381"/>
                </a:lnTo>
                <a:lnTo>
                  <a:pt x="302" y="383"/>
                </a:lnTo>
                <a:lnTo>
                  <a:pt x="304" y="387"/>
                </a:lnTo>
                <a:lnTo>
                  <a:pt x="305" y="389"/>
                </a:lnTo>
                <a:lnTo>
                  <a:pt x="307" y="392"/>
                </a:lnTo>
                <a:lnTo>
                  <a:pt x="309" y="393"/>
                </a:lnTo>
                <a:lnTo>
                  <a:pt x="311" y="395"/>
                </a:lnTo>
                <a:lnTo>
                  <a:pt x="314" y="395"/>
                </a:lnTo>
                <a:lnTo>
                  <a:pt x="317" y="396"/>
                </a:lnTo>
                <a:lnTo>
                  <a:pt x="321" y="395"/>
                </a:lnTo>
                <a:lnTo>
                  <a:pt x="323" y="395"/>
                </a:lnTo>
                <a:lnTo>
                  <a:pt x="326" y="393"/>
                </a:lnTo>
                <a:lnTo>
                  <a:pt x="328" y="392"/>
                </a:lnTo>
                <a:lnTo>
                  <a:pt x="330" y="389"/>
                </a:lnTo>
                <a:lnTo>
                  <a:pt x="331" y="387"/>
                </a:lnTo>
                <a:lnTo>
                  <a:pt x="332" y="383"/>
                </a:lnTo>
                <a:lnTo>
                  <a:pt x="332" y="381"/>
                </a:lnTo>
                <a:lnTo>
                  <a:pt x="332" y="304"/>
                </a:lnTo>
                <a:lnTo>
                  <a:pt x="332" y="152"/>
                </a:lnTo>
                <a:lnTo>
                  <a:pt x="332" y="76"/>
                </a:lnTo>
                <a:lnTo>
                  <a:pt x="334" y="67"/>
                </a:lnTo>
                <a:lnTo>
                  <a:pt x="337" y="59"/>
                </a:lnTo>
                <a:lnTo>
                  <a:pt x="341" y="51"/>
                </a:lnTo>
                <a:lnTo>
                  <a:pt x="346" y="45"/>
                </a:lnTo>
                <a:lnTo>
                  <a:pt x="354" y="38"/>
                </a:lnTo>
                <a:lnTo>
                  <a:pt x="361" y="34"/>
                </a:lnTo>
                <a:lnTo>
                  <a:pt x="370" y="32"/>
                </a:lnTo>
                <a:lnTo>
                  <a:pt x="379" y="31"/>
                </a:lnTo>
                <a:lnTo>
                  <a:pt x="387" y="32"/>
                </a:lnTo>
                <a:lnTo>
                  <a:pt x="396" y="34"/>
                </a:lnTo>
                <a:lnTo>
                  <a:pt x="403" y="38"/>
                </a:lnTo>
                <a:lnTo>
                  <a:pt x="410" y="45"/>
                </a:lnTo>
                <a:lnTo>
                  <a:pt x="416" y="51"/>
                </a:lnTo>
                <a:lnTo>
                  <a:pt x="420" y="59"/>
                </a:lnTo>
                <a:lnTo>
                  <a:pt x="423" y="67"/>
                </a:lnTo>
                <a:lnTo>
                  <a:pt x="424" y="76"/>
                </a:lnTo>
                <a:lnTo>
                  <a:pt x="424" y="152"/>
                </a:lnTo>
                <a:lnTo>
                  <a:pt x="424" y="304"/>
                </a:lnTo>
                <a:lnTo>
                  <a:pt x="424" y="381"/>
                </a:lnTo>
                <a:lnTo>
                  <a:pt x="425" y="383"/>
                </a:lnTo>
                <a:lnTo>
                  <a:pt x="425" y="387"/>
                </a:lnTo>
                <a:lnTo>
                  <a:pt x="427" y="389"/>
                </a:lnTo>
                <a:lnTo>
                  <a:pt x="428" y="392"/>
                </a:lnTo>
                <a:lnTo>
                  <a:pt x="431" y="393"/>
                </a:lnTo>
                <a:lnTo>
                  <a:pt x="433" y="395"/>
                </a:lnTo>
                <a:lnTo>
                  <a:pt x="437" y="395"/>
                </a:lnTo>
                <a:lnTo>
                  <a:pt x="439" y="396"/>
                </a:lnTo>
                <a:lnTo>
                  <a:pt x="442" y="395"/>
                </a:lnTo>
                <a:lnTo>
                  <a:pt x="445" y="395"/>
                </a:lnTo>
                <a:lnTo>
                  <a:pt x="447" y="393"/>
                </a:lnTo>
                <a:lnTo>
                  <a:pt x="450" y="392"/>
                </a:lnTo>
                <a:lnTo>
                  <a:pt x="452" y="389"/>
                </a:lnTo>
                <a:lnTo>
                  <a:pt x="454" y="387"/>
                </a:lnTo>
                <a:lnTo>
                  <a:pt x="454" y="383"/>
                </a:lnTo>
                <a:lnTo>
                  <a:pt x="455" y="381"/>
                </a:lnTo>
                <a:lnTo>
                  <a:pt x="455" y="304"/>
                </a:lnTo>
                <a:lnTo>
                  <a:pt x="455" y="152"/>
                </a:lnTo>
                <a:lnTo>
                  <a:pt x="456" y="143"/>
                </a:lnTo>
                <a:lnTo>
                  <a:pt x="458" y="135"/>
                </a:lnTo>
                <a:lnTo>
                  <a:pt x="462" y="127"/>
                </a:lnTo>
                <a:lnTo>
                  <a:pt x="469" y="121"/>
                </a:lnTo>
                <a:lnTo>
                  <a:pt x="475" y="114"/>
                </a:lnTo>
                <a:lnTo>
                  <a:pt x="483" y="110"/>
                </a:lnTo>
                <a:lnTo>
                  <a:pt x="491" y="108"/>
                </a:lnTo>
                <a:lnTo>
                  <a:pt x="500" y="107"/>
                </a:lnTo>
                <a:lnTo>
                  <a:pt x="508" y="108"/>
                </a:lnTo>
                <a:lnTo>
                  <a:pt x="517" y="110"/>
                </a:lnTo>
                <a:lnTo>
                  <a:pt x="524" y="114"/>
                </a:lnTo>
                <a:lnTo>
                  <a:pt x="532" y="121"/>
                </a:lnTo>
                <a:lnTo>
                  <a:pt x="537" y="127"/>
                </a:lnTo>
                <a:lnTo>
                  <a:pt x="542" y="135"/>
                </a:lnTo>
                <a:lnTo>
                  <a:pt x="545" y="143"/>
                </a:lnTo>
                <a:lnTo>
                  <a:pt x="546" y="152"/>
                </a:lnTo>
                <a:lnTo>
                  <a:pt x="546" y="259"/>
                </a:lnTo>
                <a:lnTo>
                  <a:pt x="546" y="374"/>
                </a:lnTo>
                <a:lnTo>
                  <a:pt x="546" y="432"/>
                </a:lnTo>
                <a:lnTo>
                  <a:pt x="546" y="435"/>
                </a:lnTo>
                <a:lnTo>
                  <a:pt x="547" y="438"/>
                </a:lnTo>
                <a:lnTo>
                  <a:pt x="548" y="440"/>
                </a:lnTo>
                <a:lnTo>
                  <a:pt x="550" y="442"/>
                </a:lnTo>
                <a:lnTo>
                  <a:pt x="552" y="445"/>
                </a:lnTo>
                <a:lnTo>
                  <a:pt x="556" y="446"/>
                </a:lnTo>
                <a:lnTo>
                  <a:pt x="558" y="447"/>
                </a:lnTo>
                <a:lnTo>
                  <a:pt x="561" y="447"/>
                </a:lnTo>
                <a:lnTo>
                  <a:pt x="564" y="447"/>
                </a:lnTo>
                <a:lnTo>
                  <a:pt x="567" y="446"/>
                </a:lnTo>
                <a:lnTo>
                  <a:pt x="569" y="445"/>
                </a:lnTo>
                <a:lnTo>
                  <a:pt x="572" y="442"/>
                </a:lnTo>
                <a:lnTo>
                  <a:pt x="574" y="440"/>
                </a:lnTo>
                <a:lnTo>
                  <a:pt x="575" y="438"/>
                </a:lnTo>
                <a:lnTo>
                  <a:pt x="576" y="435"/>
                </a:lnTo>
                <a:lnTo>
                  <a:pt x="576" y="432"/>
                </a:lnTo>
                <a:lnTo>
                  <a:pt x="576" y="374"/>
                </a:lnTo>
                <a:lnTo>
                  <a:pt x="576" y="259"/>
                </a:lnTo>
                <a:lnTo>
                  <a:pt x="577" y="251"/>
                </a:lnTo>
                <a:lnTo>
                  <a:pt x="580" y="242"/>
                </a:lnTo>
                <a:lnTo>
                  <a:pt x="585" y="234"/>
                </a:lnTo>
                <a:lnTo>
                  <a:pt x="590" y="227"/>
                </a:lnTo>
                <a:lnTo>
                  <a:pt x="597" y="222"/>
                </a:lnTo>
                <a:lnTo>
                  <a:pt x="605" y="217"/>
                </a:lnTo>
                <a:lnTo>
                  <a:pt x="613" y="214"/>
                </a:lnTo>
                <a:lnTo>
                  <a:pt x="622" y="213"/>
                </a:lnTo>
                <a:lnTo>
                  <a:pt x="631" y="214"/>
                </a:lnTo>
                <a:lnTo>
                  <a:pt x="639" y="217"/>
                </a:lnTo>
                <a:lnTo>
                  <a:pt x="647" y="222"/>
                </a:lnTo>
                <a:lnTo>
                  <a:pt x="654" y="227"/>
                </a:lnTo>
                <a:lnTo>
                  <a:pt x="660" y="234"/>
                </a:lnTo>
                <a:lnTo>
                  <a:pt x="664" y="242"/>
                </a:lnTo>
                <a:lnTo>
                  <a:pt x="667" y="251"/>
                </a:lnTo>
                <a:lnTo>
                  <a:pt x="668" y="259"/>
                </a:lnTo>
                <a:lnTo>
                  <a:pt x="668" y="390"/>
                </a:lnTo>
                <a:lnTo>
                  <a:pt x="668" y="486"/>
                </a:lnTo>
                <a:lnTo>
                  <a:pt x="668" y="640"/>
                </a:lnTo>
                <a:close/>
                <a:moveTo>
                  <a:pt x="622" y="183"/>
                </a:moveTo>
                <a:lnTo>
                  <a:pt x="616" y="183"/>
                </a:lnTo>
                <a:lnTo>
                  <a:pt x="609" y="184"/>
                </a:lnTo>
                <a:lnTo>
                  <a:pt x="604" y="185"/>
                </a:lnTo>
                <a:lnTo>
                  <a:pt x="597" y="187"/>
                </a:lnTo>
                <a:lnTo>
                  <a:pt x="587" y="193"/>
                </a:lnTo>
                <a:lnTo>
                  <a:pt x="576" y="199"/>
                </a:lnTo>
                <a:lnTo>
                  <a:pt x="576" y="152"/>
                </a:lnTo>
                <a:lnTo>
                  <a:pt x="576" y="144"/>
                </a:lnTo>
                <a:lnTo>
                  <a:pt x="575" y="137"/>
                </a:lnTo>
                <a:lnTo>
                  <a:pt x="573" y="130"/>
                </a:lnTo>
                <a:lnTo>
                  <a:pt x="571" y="123"/>
                </a:lnTo>
                <a:lnTo>
                  <a:pt x="567" y="116"/>
                </a:lnTo>
                <a:lnTo>
                  <a:pt x="563" y="110"/>
                </a:lnTo>
                <a:lnTo>
                  <a:pt x="559" y="105"/>
                </a:lnTo>
                <a:lnTo>
                  <a:pt x="553" y="99"/>
                </a:lnTo>
                <a:lnTo>
                  <a:pt x="548" y="94"/>
                </a:lnTo>
                <a:lnTo>
                  <a:pt x="542" y="90"/>
                </a:lnTo>
                <a:lnTo>
                  <a:pt x="536" y="85"/>
                </a:lnTo>
                <a:lnTo>
                  <a:pt x="529" y="82"/>
                </a:lnTo>
                <a:lnTo>
                  <a:pt x="522" y="80"/>
                </a:lnTo>
                <a:lnTo>
                  <a:pt x="515" y="78"/>
                </a:lnTo>
                <a:lnTo>
                  <a:pt x="507" y="77"/>
                </a:lnTo>
                <a:lnTo>
                  <a:pt x="500" y="76"/>
                </a:lnTo>
                <a:lnTo>
                  <a:pt x="493" y="77"/>
                </a:lnTo>
                <a:lnTo>
                  <a:pt x="488" y="77"/>
                </a:lnTo>
                <a:lnTo>
                  <a:pt x="482" y="79"/>
                </a:lnTo>
                <a:lnTo>
                  <a:pt x="476" y="80"/>
                </a:lnTo>
                <a:lnTo>
                  <a:pt x="464" y="85"/>
                </a:lnTo>
                <a:lnTo>
                  <a:pt x="455" y="93"/>
                </a:lnTo>
                <a:lnTo>
                  <a:pt x="455" y="76"/>
                </a:lnTo>
                <a:lnTo>
                  <a:pt x="454" y="68"/>
                </a:lnTo>
                <a:lnTo>
                  <a:pt x="453" y="61"/>
                </a:lnTo>
                <a:lnTo>
                  <a:pt x="450" y="54"/>
                </a:lnTo>
                <a:lnTo>
                  <a:pt x="448" y="47"/>
                </a:lnTo>
                <a:lnTo>
                  <a:pt x="445" y="40"/>
                </a:lnTo>
                <a:lnTo>
                  <a:pt x="441" y="34"/>
                </a:lnTo>
                <a:lnTo>
                  <a:pt x="437" y="29"/>
                </a:lnTo>
                <a:lnTo>
                  <a:pt x="431" y="23"/>
                </a:lnTo>
                <a:lnTo>
                  <a:pt x="426" y="18"/>
                </a:lnTo>
                <a:lnTo>
                  <a:pt x="420" y="14"/>
                </a:lnTo>
                <a:lnTo>
                  <a:pt x="414" y="9"/>
                </a:lnTo>
                <a:lnTo>
                  <a:pt x="408" y="6"/>
                </a:lnTo>
                <a:lnTo>
                  <a:pt x="400" y="4"/>
                </a:lnTo>
                <a:lnTo>
                  <a:pt x="394" y="2"/>
                </a:lnTo>
                <a:lnTo>
                  <a:pt x="386" y="1"/>
                </a:lnTo>
                <a:lnTo>
                  <a:pt x="379" y="0"/>
                </a:lnTo>
                <a:lnTo>
                  <a:pt x="371" y="1"/>
                </a:lnTo>
                <a:lnTo>
                  <a:pt x="364" y="2"/>
                </a:lnTo>
                <a:lnTo>
                  <a:pt x="356" y="4"/>
                </a:lnTo>
                <a:lnTo>
                  <a:pt x="350" y="6"/>
                </a:lnTo>
                <a:lnTo>
                  <a:pt x="342" y="9"/>
                </a:lnTo>
                <a:lnTo>
                  <a:pt x="337" y="14"/>
                </a:lnTo>
                <a:lnTo>
                  <a:pt x="330" y="18"/>
                </a:lnTo>
                <a:lnTo>
                  <a:pt x="325" y="23"/>
                </a:lnTo>
                <a:lnTo>
                  <a:pt x="320" y="29"/>
                </a:lnTo>
                <a:lnTo>
                  <a:pt x="315" y="34"/>
                </a:lnTo>
                <a:lnTo>
                  <a:pt x="311" y="40"/>
                </a:lnTo>
                <a:lnTo>
                  <a:pt x="308" y="47"/>
                </a:lnTo>
                <a:lnTo>
                  <a:pt x="306" y="54"/>
                </a:lnTo>
                <a:lnTo>
                  <a:pt x="304" y="61"/>
                </a:lnTo>
                <a:lnTo>
                  <a:pt x="302" y="68"/>
                </a:lnTo>
                <a:lnTo>
                  <a:pt x="302" y="76"/>
                </a:lnTo>
                <a:lnTo>
                  <a:pt x="302" y="93"/>
                </a:lnTo>
                <a:lnTo>
                  <a:pt x="292" y="85"/>
                </a:lnTo>
                <a:lnTo>
                  <a:pt x="281" y="80"/>
                </a:lnTo>
                <a:lnTo>
                  <a:pt x="275" y="79"/>
                </a:lnTo>
                <a:lnTo>
                  <a:pt x="269" y="77"/>
                </a:lnTo>
                <a:lnTo>
                  <a:pt x="263" y="77"/>
                </a:lnTo>
                <a:lnTo>
                  <a:pt x="256" y="76"/>
                </a:lnTo>
                <a:lnTo>
                  <a:pt x="249" y="77"/>
                </a:lnTo>
                <a:lnTo>
                  <a:pt x="241" y="78"/>
                </a:lnTo>
                <a:lnTo>
                  <a:pt x="234" y="80"/>
                </a:lnTo>
                <a:lnTo>
                  <a:pt x="227" y="82"/>
                </a:lnTo>
                <a:lnTo>
                  <a:pt x="221" y="85"/>
                </a:lnTo>
                <a:lnTo>
                  <a:pt x="214" y="90"/>
                </a:lnTo>
                <a:lnTo>
                  <a:pt x="208" y="94"/>
                </a:lnTo>
                <a:lnTo>
                  <a:pt x="203" y="99"/>
                </a:lnTo>
                <a:lnTo>
                  <a:pt x="198" y="105"/>
                </a:lnTo>
                <a:lnTo>
                  <a:pt x="193" y="110"/>
                </a:lnTo>
                <a:lnTo>
                  <a:pt x="190" y="116"/>
                </a:lnTo>
                <a:lnTo>
                  <a:pt x="187" y="123"/>
                </a:lnTo>
                <a:lnTo>
                  <a:pt x="183" y="130"/>
                </a:lnTo>
                <a:lnTo>
                  <a:pt x="181" y="137"/>
                </a:lnTo>
                <a:lnTo>
                  <a:pt x="180" y="144"/>
                </a:lnTo>
                <a:lnTo>
                  <a:pt x="180" y="152"/>
                </a:lnTo>
                <a:lnTo>
                  <a:pt x="180" y="481"/>
                </a:lnTo>
                <a:lnTo>
                  <a:pt x="117" y="388"/>
                </a:lnTo>
                <a:lnTo>
                  <a:pt x="110" y="379"/>
                </a:lnTo>
                <a:lnTo>
                  <a:pt x="105" y="373"/>
                </a:lnTo>
                <a:lnTo>
                  <a:pt x="99" y="366"/>
                </a:lnTo>
                <a:lnTo>
                  <a:pt x="92" y="361"/>
                </a:lnTo>
                <a:lnTo>
                  <a:pt x="86" y="357"/>
                </a:lnTo>
                <a:lnTo>
                  <a:pt x="79" y="353"/>
                </a:lnTo>
                <a:lnTo>
                  <a:pt x="72" y="351"/>
                </a:lnTo>
                <a:lnTo>
                  <a:pt x="65" y="350"/>
                </a:lnTo>
                <a:lnTo>
                  <a:pt x="57" y="350"/>
                </a:lnTo>
                <a:lnTo>
                  <a:pt x="49" y="351"/>
                </a:lnTo>
                <a:lnTo>
                  <a:pt x="42" y="353"/>
                </a:lnTo>
                <a:lnTo>
                  <a:pt x="35" y="357"/>
                </a:lnTo>
                <a:lnTo>
                  <a:pt x="25" y="363"/>
                </a:lnTo>
                <a:lnTo>
                  <a:pt x="17" y="370"/>
                </a:lnTo>
                <a:lnTo>
                  <a:pt x="10" y="379"/>
                </a:lnTo>
                <a:lnTo>
                  <a:pt x="4" y="388"/>
                </a:lnTo>
                <a:lnTo>
                  <a:pt x="1" y="398"/>
                </a:lnTo>
                <a:lnTo>
                  <a:pt x="0" y="410"/>
                </a:lnTo>
                <a:lnTo>
                  <a:pt x="0" y="422"/>
                </a:lnTo>
                <a:lnTo>
                  <a:pt x="3" y="435"/>
                </a:lnTo>
                <a:lnTo>
                  <a:pt x="8" y="449"/>
                </a:lnTo>
                <a:lnTo>
                  <a:pt x="14" y="464"/>
                </a:lnTo>
                <a:lnTo>
                  <a:pt x="18" y="472"/>
                </a:lnTo>
                <a:lnTo>
                  <a:pt x="29" y="495"/>
                </a:lnTo>
                <a:lnTo>
                  <a:pt x="45" y="529"/>
                </a:lnTo>
                <a:lnTo>
                  <a:pt x="66" y="572"/>
                </a:lnTo>
                <a:lnTo>
                  <a:pt x="90" y="618"/>
                </a:lnTo>
                <a:lnTo>
                  <a:pt x="116" y="668"/>
                </a:lnTo>
                <a:lnTo>
                  <a:pt x="142" y="715"/>
                </a:lnTo>
                <a:lnTo>
                  <a:pt x="167" y="757"/>
                </a:lnTo>
                <a:lnTo>
                  <a:pt x="174" y="767"/>
                </a:lnTo>
                <a:lnTo>
                  <a:pt x="181" y="777"/>
                </a:lnTo>
                <a:lnTo>
                  <a:pt x="190" y="787"/>
                </a:lnTo>
                <a:lnTo>
                  <a:pt x="198" y="797"/>
                </a:lnTo>
                <a:lnTo>
                  <a:pt x="208" y="807"/>
                </a:lnTo>
                <a:lnTo>
                  <a:pt x="218" y="816"/>
                </a:lnTo>
                <a:lnTo>
                  <a:pt x="227" y="824"/>
                </a:lnTo>
                <a:lnTo>
                  <a:pt x="239" y="833"/>
                </a:lnTo>
                <a:lnTo>
                  <a:pt x="250" y="840"/>
                </a:lnTo>
                <a:lnTo>
                  <a:pt x="262" y="847"/>
                </a:lnTo>
                <a:lnTo>
                  <a:pt x="275" y="853"/>
                </a:lnTo>
                <a:lnTo>
                  <a:pt x="287" y="859"/>
                </a:lnTo>
                <a:lnTo>
                  <a:pt x="300" y="863"/>
                </a:lnTo>
                <a:lnTo>
                  <a:pt x="314" y="866"/>
                </a:lnTo>
                <a:lnTo>
                  <a:pt x="328" y="868"/>
                </a:lnTo>
                <a:lnTo>
                  <a:pt x="342" y="868"/>
                </a:lnTo>
                <a:lnTo>
                  <a:pt x="471" y="868"/>
                </a:lnTo>
                <a:lnTo>
                  <a:pt x="482" y="868"/>
                </a:lnTo>
                <a:lnTo>
                  <a:pt x="492" y="867"/>
                </a:lnTo>
                <a:lnTo>
                  <a:pt x="503" y="865"/>
                </a:lnTo>
                <a:lnTo>
                  <a:pt x="514" y="863"/>
                </a:lnTo>
                <a:lnTo>
                  <a:pt x="523" y="861"/>
                </a:lnTo>
                <a:lnTo>
                  <a:pt x="534" y="857"/>
                </a:lnTo>
                <a:lnTo>
                  <a:pt x="545" y="853"/>
                </a:lnTo>
                <a:lnTo>
                  <a:pt x="554" y="849"/>
                </a:lnTo>
                <a:lnTo>
                  <a:pt x="574" y="838"/>
                </a:lnTo>
                <a:lnTo>
                  <a:pt x="593" y="826"/>
                </a:lnTo>
                <a:lnTo>
                  <a:pt x="611" y="812"/>
                </a:lnTo>
                <a:lnTo>
                  <a:pt x="627" y="797"/>
                </a:lnTo>
                <a:lnTo>
                  <a:pt x="642" y="780"/>
                </a:lnTo>
                <a:lnTo>
                  <a:pt x="656" y="763"/>
                </a:lnTo>
                <a:lnTo>
                  <a:pt x="668" y="744"/>
                </a:lnTo>
                <a:lnTo>
                  <a:pt x="679" y="724"/>
                </a:lnTo>
                <a:lnTo>
                  <a:pt x="683" y="714"/>
                </a:lnTo>
                <a:lnTo>
                  <a:pt x="687" y="704"/>
                </a:lnTo>
                <a:lnTo>
                  <a:pt x="691" y="693"/>
                </a:lnTo>
                <a:lnTo>
                  <a:pt x="693" y="683"/>
                </a:lnTo>
                <a:lnTo>
                  <a:pt x="695" y="672"/>
                </a:lnTo>
                <a:lnTo>
                  <a:pt x="697" y="661"/>
                </a:lnTo>
                <a:lnTo>
                  <a:pt x="698" y="650"/>
                </a:lnTo>
                <a:lnTo>
                  <a:pt x="698" y="640"/>
                </a:lnTo>
                <a:lnTo>
                  <a:pt x="698" y="486"/>
                </a:lnTo>
                <a:lnTo>
                  <a:pt x="698" y="390"/>
                </a:lnTo>
                <a:lnTo>
                  <a:pt x="698" y="259"/>
                </a:lnTo>
                <a:lnTo>
                  <a:pt x="698" y="252"/>
                </a:lnTo>
                <a:lnTo>
                  <a:pt x="697" y="244"/>
                </a:lnTo>
                <a:lnTo>
                  <a:pt x="695" y="237"/>
                </a:lnTo>
                <a:lnTo>
                  <a:pt x="692" y="230"/>
                </a:lnTo>
                <a:lnTo>
                  <a:pt x="689" y="224"/>
                </a:lnTo>
                <a:lnTo>
                  <a:pt x="685" y="217"/>
                </a:lnTo>
                <a:lnTo>
                  <a:pt x="680" y="211"/>
                </a:lnTo>
                <a:lnTo>
                  <a:pt x="676" y="205"/>
                </a:lnTo>
                <a:lnTo>
                  <a:pt x="670" y="200"/>
                </a:lnTo>
                <a:lnTo>
                  <a:pt x="664" y="196"/>
                </a:lnTo>
                <a:lnTo>
                  <a:pt x="657" y="193"/>
                </a:lnTo>
                <a:lnTo>
                  <a:pt x="651" y="189"/>
                </a:lnTo>
                <a:lnTo>
                  <a:pt x="645" y="186"/>
                </a:lnTo>
                <a:lnTo>
                  <a:pt x="637" y="184"/>
                </a:lnTo>
                <a:lnTo>
                  <a:pt x="630" y="183"/>
                </a:lnTo>
                <a:lnTo>
                  <a:pt x="622" y="183"/>
                </a:lnTo>
                <a:lnTo>
                  <a:pt x="622" y="1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1" name="Group 40"/>
          <p:cNvGrpSpPr/>
          <p:nvPr/>
        </p:nvGrpSpPr>
        <p:grpSpPr>
          <a:xfrm>
            <a:off x="3579751" y="4983794"/>
            <a:ext cx="468659" cy="466068"/>
            <a:chOff x="882650" y="2714625"/>
            <a:chExt cx="287338" cy="285750"/>
          </a:xfrm>
          <a:solidFill>
            <a:schemeClr val="bg1"/>
          </a:solidFill>
        </p:grpSpPr>
        <p:sp>
          <p:nvSpPr>
            <p:cNvPr id="42" name="Freeform 79"/>
            <p:cNvSpPr>
              <a:spLocks noEditPoints="1"/>
            </p:cNvSpPr>
            <p:nvPr/>
          </p:nvSpPr>
          <p:spPr bwMode="auto">
            <a:xfrm>
              <a:off x="1025525" y="2857500"/>
              <a:ext cx="144463" cy="142875"/>
            </a:xfrm>
            <a:custGeom>
              <a:avLst/>
              <a:gdLst>
                <a:gd name="T0" fmla="*/ 39 w 451"/>
                <a:gd name="T1" fmla="*/ 420 h 450"/>
                <a:gd name="T2" fmla="*/ 225 w 451"/>
                <a:gd name="T3" fmla="*/ 48 h 450"/>
                <a:gd name="T4" fmla="*/ 411 w 451"/>
                <a:gd name="T5" fmla="*/ 420 h 450"/>
                <a:gd name="T6" fmla="*/ 39 w 451"/>
                <a:gd name="T7" fmla="*/ 420 h 450"/>
                <a:gd name="T8" fmla="*/ 448 w 451"/>
                <a:gd name="T9" fmla="*/ 426 h 450"/>
                <a:gd name="T10" fmla="*/ 239 w 451"/>
                <a:gd name="T11" fmla="*/ 7 h 450"/>
                <a:gd name="T12" fmla="*/ 236 w 451"/>
                <a:gd name="T13" fmla="*/ 4 h 450"/>
                <a:gd name="T14" fmla="*/ 232 w 451"/>
                <a:gd name="T15" fmla="*/ 2 h 450"/>
                <a:gd name="T16" fmla="*/ 229 w 451"/>
                <a:gd name="T17" fmla="*/ 1 h 450"/>
                <a:gd name="T18" fmla="*/ 225 w 451"/>
                <a:gd name="T19" fmla="*/ 0 h 450"/>
                <a:gd name="T20" fmla="*/ 220 w 451"/>
                <a:gd name="T21" fmla="*/ 1 h 450"/>
                <a:gd name="T22" fmla="*/ 217 w 451"/>
                <a:gd name="T23" fmla="*/ 2 h 450"/>
                <a:gd name="T24" fmla="*/ 214 w 451"/>
                <a:gd name="T25" fmla="*/ 4 h 450"/>
                <a:gd name="T26" fmla="*/ 212 w 451"/>
                <a:gd name="T27" fmla="*/ 7 h 450"/>
                <a:gd name="T28" fmla="*/ 1 w 451"/>
                <a:gd name="T29" fmla="*/ 428 h 450"/>
                <a:gd name="T30" fmla="*/ 0 w 451"/>
                <a:gd name="T31" fmla="*/ 431 h 450"/>
                <a:gd name="T32" fmla="*/ 0 w 451"/>
                <a:gd name="T33" fmla="*/ 436 h 450"/>
                <a:gd name="T34" fmla="*/ 0 w 451"/>
                <a:gd name="T35" fmla="*/ 439 h 450"/>
                <a:gd name="T36" fmla="*/ 2 w 451"/>
                <a:gd name="T37" fmla="*/ 443 h 450"/>
                <a:gd name="T38" fmla="*/ 4 w 451"/>
                <a:gd name="T39" fmla="*/ 445 h 450"/>
                <a:gd name="T40" fmla="*/ 7 w 451"/>
                <a:gd name="T41" fmla="*/ 449 h 450"/>
                <a:gd name="T42" fmla="*/ 10 w 451"/>
                <a:gd name="T43" fmla="*/ 450 h 450"/>
                <a:gd name="T44" fmla="*/ 15 w 451"/>
                <a:gd name="T45" fmla="*/ 450 h 450"/>
                <a:gd name="T46" fmla="*/ 435 w 451"/>
                <a:gd name="T47" fmla="*/ 450 h 450"/>
                <a:gd name="T48" fmla="*/ 436 w 451"/>
                <a:gd name="T49" fmla="*/ 450 h 450"/>
                <a:gd name="T50" fmla="*/ 436 w 451"/>
                <a:gd name="T51" fmla="*/ 450 h 450"/>
                <a:gd name="T52" fmla="*/ 439 w 451"/>
                <a:gd name="T53" fmla="*/ 450 h 450"/>
                <a:gd name="T54" fmla="*/ 441 w 451"/>
                <a:gd name="T55" fmla="*/ 449 h 450"/>
                <a:gd name="T56" fmla="*/ 445 w 451"/>
                <a:gd name="T57" fmla="*/ 447 h 450"/>
                <a:gd name="T58" fmla="*/ 447 w 451"/>
                <a:gd name="T59" fmla="*/ 445 h 450"/>
                <a:gd name="T60" fmla="*/ 448 w 451"/>
                <a:gd name="T61" fmla="*/ 443 h 450"/>
                <a:gd name="T62" fmla="*/ 450 w 451"/>
                <a:gd name="T63" fmla="*/ 441 h 450"/>
                <a:gd name="T64" fmla="*/ 450 w 451"/>
                <a:gd name="T65" fmla="*/ 438 h 450"/>
                <a:gd name="T66" fmla="*/ 451 w 451"/>
                <a:gd name="T67" fmla="*/ 435 h 450"/>
                <a:gd name="T68" fmla="*/ 450 w 451"/>
                <a:gd name="T69" fmla="*/ 430 h 450"/>
                <a:gd name="T70" fmla="*/ 448 w 451"/>
                <a:gd name="T71" fmla="*/ 426 h 450"/>
                <a:gd name="T72" fmla="*/ 448 w 451"/>
                <a:gd name="T73" fmla="*/ 4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1" h="450">
                  <a:moveTo>
                    <a:pt x="39" y="420"/>
                  </a:moveTo>
                  <a:lnTo>
                    <a:pt x="225" y="48"/>
                  </a:lnTo>
                  <a:lnTo>
                    <a:pt x="411" y="420"/>
                  </a:lnTo>
                  <a:lnTo>
                    <a:pt x="39" y="420"/>
                  </a:lnTo>
                  <a:close/>
                  <a:moveTo>
                    <a:pt x="448" y="426"/>
                  </a:moveTo>
                  <a:lnTo>
                    <a:pt x="239" y="7"/>
                  </a:lnTo>
                  <a:lnTo>
                    <a:pt x="236" y="4"/>
                  </a:lnTo>
                  <a:lnTo>
                    <a:pt x="232" y="2"/>
                  </a:lnTo>
                  <a:lnTo>
                    <a:pt x="229" y="1"/>
                  </a:lnTo>
                  <a:lnTo>
                    <a:pt x="225" y="0"/>
                  </a:lnTo>
                  <a:lnTo>
                    <a:pt x="220" y="1"/>
                  </a:lnTo>
                  <a:lnTo>
                    <a:pt x="217" y="2"/>
                  </a:lnTo>
                  <a:lnTo>
                    <a:pt x="214" y="4"/>
                  </a:lnTo>
                  <a:lnTo>
                    <a:pt x="212" y="7"/>
                  </a:lnTo>
                  <a:lnTo>
                    <a:pt x="1" y="428"/>
                  </a:lnTo>
                  <a:lnTo>
                    <a:pt x="0" y="431"/>
                  </a:lnTo>
                  <a:lnTo>
                    <a:pt x="0" y="436"/>
                  </a:lnTo>
                  <a:lnTo>
                    <a:pt x="0" y="439"/>
                  </a:lnTo>
                  <a:lnTo>
                    <a:pt x="2" y="443"/>
                  </a:lnTo>
                  <a:lnTo>
                    <a:pt x="4" y="445"/>
                  </a:lnTo>
                  <a:lnTo>
                    <a:pt x="7" y="449"/>
                  </a:lnTo>
                  <a:lnTo>
                    <a:pt x="10" y="450"/>
                  </a:lnTo>
                  <a:lnTo>
                    <a:pt x="15" y="450"/>
                  </a:lnTo>
                  <a:lnTo>
                    <a:pt x="435" y="450"/>
                  </a:lnTo>
                  <a:lnTo>
                    <a:pt x="436" y="450"/>
                  </a:lnTo>
                  <a:lnTo>
                    <a:pt x="436" y="450"/>
                  </a:lnTo>
                  <a:lnTo>
                    <a:pt x="439" y="450"/>
                  </a:lnTo>
                  <a:lnTo>
                    <a:pt x="441" y="449"/>
                  </a:lnTo>
                  <a:lnTo>
                    <a:pt x="445" y="447"/>
                  </a:lnTo>
                  <a:lnTo>
                    <a:pt x="447" y="445"/>
                  </a:lnTo>
                  <a:lnTo>
                    <a:pt x="448" y="443"/>
                  </a:lnTo>
                  <a:lnTo>
                    <a:pt x="450" y="441"/>
                  </a:lnTo>
                  <a:lnTo>
                    <a:pt x="450" y="438"/>
                  </a:lnTo>
                  <a:lnTo>
                    <a:pt x="451" y="435"/>
                  </a:lnTo>
                  <a:lnTo>
                    <a:pt x="450" y="430"/>
                  </a:lnTo>
                  <a:lnTo>
                    <a:pt x="448" y="426"/>
                  </a:lnTo>
                  <a:lnTo>
                    <a:pt x="448" y="4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80"/>
            <p:cNvSpPr>
              <a:spLocks/>
            </p:cNvSpPr>
            <p:nvPr/>
          </p:nvSpPr>
          <p:spPr bwMode="auto">
            <a:xfrm>
              <a:off x="1092200" y="2914650"/>
              <a:ext cx="9525" cy="38100"/>
            </a:xfrm>
            <a:custGeom>
              <a:avLst/>
              <a:gdLst>
                <a:gd name="T0" fmla="*/ 0 w 30"/>
                <a:gd name="T1" fmla="*/ 15 h 120"/>
                <a:gd name="T2" fmla="*/ 0 w 30"/>
                <a:gd name="T3" fmla="*/ 105 h 120"/>
                <a:gd name="T4" fmla="*/ 0 w 30"/>
                <a:gd name="T5" fmla="*/ 108 h 120"/>
                <a:gd name="T6" fmla="*/ 1 w 30"/>
                <a:gd name="T7" fmla="*/ 111 h 120"/>
                <a:gd name="T8" fmla="*/ 3 w 30"/>
                <a:gd name="T9" fmla="*/ 113 h 120"/>
                <a:gd name="T10" fmla="*/ 4 w 30"/>
                <a:gd name="T11" fmla="*/ 115 h 120"/>
                <a:gd name="T12" fmla="*/ 6 w 30"/>
                <a:gd name="T13" fmla="*/ 117 h 120"/>
                <a:gd name="T14" fmla="*/ 9 w 30"/>
                <a:gd name="T15" fmla="*/ 119 h 120"/>
                <a:gd name="T16" fmla="*/ 12 w 30"/>
                <a:gd name="T17" fmla="*/ 120 h 120"/>
                <a:gd name="T18" fmla="*/ 15 w 30"/>
                <a:gd name="T19" fmla="*/ 120 h 120"/>
                <a:gd name="T20" fmla="*/ 18 w 30"/>
                <a:gd name="T21" fmla="*/ 120 h 120"/>
                <a:gd name="T22" fmla="*/ 21 w 30"/>
                <a:gd name="T23" fmla="*/ 119 h 120"/>
                <a:gd name="T24" fmla="*/ 23 w 30"/>
                <a:gd name="T25" fmla="*/ 117 h 120"/>
                <a:gd name="T26" fmla="*/ 26 w 30"/>
                <a:gd name="T27" fmla="*/ 115 h 120"/>
                <a:gd name="T28" fmla="*/ 28 w 30"/>
                <a:gd name="T29" fmla="*/ 113 h 120"/>
                <a:gd name="T30" fmla="*/ 29 w 30"/>
                <a:gd name="T31" fmla="*/ 111 h 120"/>
                <a:gd name="T32" fmla="*/ 30 w 30"/>
                <a:gd name="T33" fmla="*/ 108 h 120"/>
                <a:gd name="T34" fmla="*/ 30 w 30"/>
                <a:gd name="T35" fmla="*/ 105 h 120"/>
                <a:gd name="T36" fmla="*/ 30 w 30"/>
                <a:gd name="T37" fmla="*/ 15 h 120"/>
                <a:gd name="T38" fmla="*/ 30 w 30"/>
                <a:gd name="T39" fmla="*/ 11 h 120"/>
                <a:gd name="T40" fmla="*/ 29 w 30"/>
                <a:gd name="T41" fmla="*/ 9 h 120"/>
                <a:gd name="T42" fmla="*/ 28 w 30"/>
                <a:gd name="T43" fmla="*/ 6 h 120"/>
                <a:gd name="T44" fmla="*/ 26 w 30"/>
                <a:gd name="T45" fmla="*/ 4 h 120"/>
                <a:gd name="T46" fmla="*/ 23 w 30"/>
                <a:gd name="T47" fmla="*/ 2 h 120"/>
                <a:gd name="T48" fmla="*/ 21 w 30"/>
                <a:gd name="T49" fmla="*/ 1 h 120"/>
                <a:gd name="T50" fmla="*/ 18 w 30"/>
                <a:gd name="T51" fmla="*/ 0 h 120"/>
                <a:gd name="T52" fmla="*/ 15 w 30"/>
                <a:gd name="T53" fmla="*/ 0 h 120"/>
                <a:gd name="T54" fmla="*/ 12 w 30"/>
                <a:gd name="T55" fmla="*/ 0 h 120"/>
                <a:gd name="T56" fmla="*/ 9 w 30"/>
                <a:gd name="T57" fmla="*/ 1 h 120"/>
                <a:gd name="T58" fmla="*/ 6 w 30"/>
                <a:gd name="T59" fmla="*/ 2 h 120"/>
                <a:gd name="T60" fmla="*/ 4 w 30"/>
                <a:gd name="T61" fmla="*/ 4 h 120"/>
                <a:gd name="T62" fmla="*/ 3 w 30"/>
                <a:gd name="T63" fmla="*/ 6 h 120"/>
                <a:gd name="T64" fmla="*/ 1 w 30"/>
                <a:gd name="T65" fmla="*/ 9 h 120"/>
                <a:gd name="T66" fmla="*/ 0 w 30"/>
                <a:gd name="T67" fmla="*/ 11 h 120"/>
                <a:gd name="T68" fmla="*/ 0 w 30"/>
                <a:gd name="T69" fmla="*/ 15 h 120"/>
                <a:gd name="T70" fmla="*/ 0 w 30"/>
                <a:gd name="T71" fmla="*/ 1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0" y="15"/>
                  </a:moveTo>
                  <a:lnTo>
                    <a:pt x="0" y="105"/>
                  </a:lnTo>
                  <a:lnTo>
                    <a:pt x="0" y="108"/>
                  </a:lnTo>
                  <a:lnTo>
                    <a:pt x="1" y="111"/>
                  </a:lnTo>
                  <a:lnTo>
                    <a:pt x="3" y="113"/>
                  </a:lnTo>
                  <a:lnTo>
                    <a:pt x="4" y="115"/>
                  </a:lnTo>
                  <a:lnTo>
                    <a:pt x="6" y="117"/>
                  </a:lnTo>
                  <a:lnTo>
                    <a:pt x="9" y="119"/>
                  </a:lnTo>
                  <a:lnTo>
                    <a:pt x="12" y="120"/>
                  </a:lnTo>
                  <a:lnTo>
                    <a:pt x="15" y="120"/>
                  </a:lnTo>
                  <a:lnTo>
                    <a:pt x="18" y="120"/>
                  </a:lnTo>
                  <a:lnTo>
                    <a:pt x="21" y="119"/>
                  </a:lnTo>
                  <a:lnTo>
                    <a:pt x="23" y="117"/>
                  </a:lnTo>
                  <a:lnTo>
                    <a:pt x="26" y="115"/>
                  </a:lnTo>
                  <a:lnTo>
                    <a:pt x="28" y="113"/>
                  </a:lnTo>
                  <a:lnTo>
                    <a:pt x="29" y="111"/>
                  </a:lnTo>
                  <a:lnTo>
                    <a:pt x="30" y="108"/>
                  </a:lnTo>
                  <a:lnTo>
                    <a:pt x="30" y="105"/>
                  </a:lnTo>
                  <a:lnTo>
                    <a:pt x="30" y="15"/>
                  </a:lnTo>
                  <a:lnTo>
                    <a:pt x="30" y="11"/>
                  </a:lnTo>
                  <a:lnTo>
                    <a:pt x="29" y="9"/>
                  </a:lnTo>
                  <a:lnTo>
                    <a:pt x="28" y="6"/>
                  </a:lnTo>
                  <a:lnTo>
                    <a:pt x="26" y="4"/>
                  </a:lnTo>
                  <a:lnTo>
                    <a:pt x="23" y="2"/>
                  </a:lnTo>
                  <a:lnTo>
                    <a:pt x="21" y="1"/>
                  </a:lnTo>
                  <a:lnTo>
                    <a:pt x="18" y="0"/>
                  </a:lnTo>
                  <a:lnTo>
                    <a:pt x="15" y="0"/>
                  </a:lnTo>
                  <a:lnTo>
                    <a:pt x="12" y="0"/>
                  </a:lnTo>
                  <a:lnTo>
                    <a:pt x="9" y="1"/>
                  </a:lnTo>
                  <a:lnTo>
                    <a:pt x="6" y="2"/>
                  </a:lnTo>
                  <a:lnTo>
                    <a:pt x="4" y="4"/>
                  </a:lnTo>
                  <a:lnTo>
                    <a:pt x="3" y="6"/>
                  </a:lnTo>
                  <a:lnTo>
                    <a:pt x="1" y="9"/>
                  </a:lnTo>
                  <a:lnTo>
                    <a:pt x="0" y="11"/>
                  </a:lnTo>
                  <a:lnTo>
                    <a:pt x="0" y="15"/>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1"/>
            <p:cNvSpPr>
              <a:spLocks/>
            </p:cNvSpPr>
            <p:nvPr/>
          </p:nvSpPr>
          <p:spPr bwMode="auto">
            <a:xfrm>
              <a:off x="1092200" y="2962275"/>
              <a:ext cx="9525" cy="9525"/>
            </a:xfrm>
            <a:custGeom>
              <a:avLst/>
              <a:gdLst>
                <a:gd name="T0" fmla="*/ 15 w 30"/>
                <a:gd name="T1" fmla="*/ 0 h 30"/>
                <a:gd name="T2" fmla="*/ 12 w 30"/>
                <a:gd name="T3" fmla="*/ 0 h 30"/>
                <a:gd name="T4" fmla="*/ 9 w 30"/>
                <a:gd name="T5" fmla="*/ 1 h 30"/>
                <a:gd name="T6" fmla="*/ 6 w 30"/>
                <a:gd name="T7" fmla="*/ 3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3 w 30"/>
                <a:gd name="T23" fmla="*/ 23 h 30"/>
                <a:gd name="T24" fmla="*/ 4 w 30"/>
                <a:gd name="T25" fmla="*/ 25 h 30"/>
                <a:gd name="T26" fmla="*/ 6 w 30"/>
                <a:gd name="T27" fmla="*/ 27 h 30"/>
                <a:gd name="T28" fmla="*/ 9 w 30"/>
                <a:gd name="T29" fmla="*/ 29 h 30"/>
                <a:gd name="T30" fmla="*/ 12 w 30"/>
                <a:gd name="T31" fmla="*/ 30 h 30"/>
                <a:gd name="T32" fmla="*/ 15 w 30"/>
                <a:gd name="T33" fmla="*/ 30 h 30"/>
                <a:gd name="T34" fmla="*/ 18 w 30"/>
                <a:gd name="T35" fmla="*/ 30 h 30"/>
                <a:gd name="T36" fmla="*/ 21 w 30"/>
                <a:gd name="T37" fmla="*/ 29 h 30"/>
                <a:gd name="T38" fmla="*/ 23 w 30"/>
                <a:gd name="T39" fmla="*/ 27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3 w 30"/>
                <a:gd name="T59" fmla="*/ 3 h 30"/>
                <a:gd name="T60" fmla="*/ 21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6" y="3"/>
                  </a:lnTo>
                  <a:lnTo>
                    <a:pt x="4" y="4"/>
                  </a:lnTo>
                  <a:lnTo>
                    <a:pt x="3" y="6"/>
                  </a:lnTo>
                  <a:lnTo>
                    <a:pt x="1" y="9"/>
                  </a:lnTo>
                  <a:lnTo>
                    <a:pt x="0" y="11"/>
                  </a:lnTo>
                  <a:lnTo>
                    <a:pt x="0" y="15"/>
                  </a:lnTo>
                  <a:lnTo>
                    <a:pt x="0" y="18"/>
                  </a:lnTo>
                  <a:lnTo>
                    <a:pt x="1" y="21"/>
                  </a:lnTo>
                  <a:lnTo>
                    <a:pt x="3" y="23"/>
                  </a:lnTo>
                  <a:lnTo>
                    <a:pt x="4" y="25"/>
                  </a:lnTo>
                  <a:lnTo>
                    <a:pt x="6" y="27"/>
                  </a:lnTo>
                  <a:lnTo>
                    <a:pt x="9" y="29"/>
                  </a:lnTo>
                  <a:lnTo>
                    <a:pt x="12" y="30"/>
                  </a:lnTo>
                  <a:lnTo>
                    <a:pt x="15" y="30"/>
                  </a:lnTo>
                  <a:lnTo>
                    <a:pt x="18" y="30"/>
                  </a:lnTo>
                  <a:lnTo>
                    <a:pt x="21" y="29"/>
                  </a:lnTo>
                  <a:lnTo>
                    <a:pt x="23" y="27"/>
                  </a:lnTo>
                  <a:lnTo>
                    <a:pt x="26" y="25"/>
                  </a:lnTo>
                  <a:lnTo>
                    <a:pt x="28" y="23"/>
                  </a:lnTo>
                  <a:lnTo>
                    <a:pt x="29" y="21"/>
                  </a:lnTo>
                  <a:lnTo>
                    <a:pt x="30" y="18"/>
                  </a:lnTo>
                  <a:lnTo>
                    <a:pt x="30" y="15"/>
                  </a:lnTo>
                  <a:lnTo>
                    <a:pt x="30" y="11"/>
                  </a:lnTo>
                  <a:lnTo>
                    <a:pt x="29" y="9"/>
                  </a:lnTo>
                  <a:lnTo>
                    <a:pt x="28" y="6"/>
                  </a:lnTo>
                  <a:lnTo>
                    <a:pt x="26" y="4"/>
                  </a:lnTo>
                  <a:lnTo>
                    <a:pt x="23" y="3"/>
                  </a:lnTo>
                  <a:lnTo>
                    <a:pt x="21"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2"/>
            <p:cNvSpPr>
              <a:spLocks noEditPoints="1"/>
            </p:cNvSpPr>
            <p:nvPr/>
          </p:nvSpPr>
          <p:spPr bwMode="auto">
            <a:xfrm>
              <a:off x="882650" y="2714625"/>
              <a:ext cx="238125" cy="247650"/>
            </a:xfrm>
            <a:custGeom>
              <a:avLst/>
              <a:gdLst>
                <a:gd name="T0" fmla="*/ 548 w 752"/>
                <a:gd name="T1" fmla="*/ 49 h 782"/>
                <a:gd name="T2" fmla="*/ 683 w 752"/>
                <a:gd name="T3" fmla="*/ 105 h 782"/>
                <a:gd name="T4" fmla="*/ 719 w 752"/>
                <a:gd name="T5" fmla="*/ 147 h 782"/>
                <a:gd name="T6" fmla="*/ 719 w 752"/>
                <a:gd name="T7" fmla="*/ 184 h 782"/>
                <a:gd name="T8" fmla="*/ 683 w 752"/>
                <a:gd name="T9" fmla="*/ 227 h 782"/>
                <a:gd name="T10" fmla="*/ 548 w 752"/>
                <a:gd name="T11" fmla="*/ 282 h 782"/>
                <a:gd name="T12" fmla="*/ 338 w 752"/>
                <a:gd name="T13" fmla="*/ 300 h 782"/>
                <a:gd name="T14" fmla="*/ 149 w 752"/>
                <a:gd name="T15" fmla="*/ 267 h 782"/>
                <a:gd name="T16" fmla="*/ 49 w 752"/>
                <a:gd name="T17" fmla="*/ 208 h 782"/>
                <a:gd name="T18" fmla="*/ 31 w 752"/>
                <a:gd name="T19" fmla="*/ 172 h 782"/>
                <a:gd name="T20" fmla="*/ 40 w 752"/>
                <a:gd name="T21" fmla="*/ 135 h 782"/>
                <a:gd name="T22" fmla="*/ 104 w 752"/>
                <a:gd name="T23" fmla="*/ 84 h 782"/>
                <a:gd name="T24" fmla="*/ 267 w 752"/>
                <a:gd name="T25" fmla="*/ 38 h 782"/>
                <a:gd name="T26" fmla="*/ 382 w 752"/>
                <a:gd name="T27" fmla="*/ 631 h 782"/>
                <a:gd name="T28" fmla="*/ 391 w 752"/>
                <a:gd name="T29" fmla="*/ 617 h 782"/>
                <a:gd name="T30" fmla="*/ 382 w 752"/>
                <a:gd name="T31" fmla="*/ 603 h 782"/>
                <a:gd name="T32" fmla="*/ 235 w 752"/>
                <a:gd name="T33" fmla="*/ 590 h 782"/>
                <a:gd name="T34" fmla="*/ 85 w 752"/>
                <a:gd name="T35" fmla="*/ 537 h 782"/>
                <a:gd name="T36" fmla="*/ 36 w 752"/>
                <a:gd name="T37" fmla="*/ 491 h 782"/>
                <a:gd name="T38" fmla="*/ 42 w 752"/>
                <a:gd name="T39" fmla="*/ 393 h 782"/>
                <a:gd name="T40" fmla="*/ 144 w 752"/>
                <a:gd name="T41" fmla="*/ 447 h 782"/>
                <a:gd name="T42" fmla="*/ 291 w 752"/>
                <a:gd name="T43" fmla="*/ 477 h 782"/>
                <a:gd name="T44" fmla="*/ 456 w 752"/>
                <a:gd name="T45" fmla="*/ 477 h 782"/>
                <a:gd name="T46" fmla="*/ 493 w 752"/>
                <a:gd name="T47" fmla="*/ 467 h 782"/>
                <a:gd name="T48" fmla="*/ 491 w 752"/>
                <a:gd name="T49" fmla="*/ 451 h 782"/>
                <a:gd name="T50" fmla="*/ 454 w 752"/>
                <a:gd name="T51" fmla="*/ 447 h 782"/>
                <a:gd name="T52" fmla="*/ 267 w 752"/>
                <a:gd name="T53" fmla="*/ 444 h 782"/>
                <a:gd name="T54" fmla="*/ 104 w 752"/>
                <a:gd name="T55" fmla="*/ 398 h 782"/>
                <a:gd name="T56" fmla="*/ 40 w 752"/>
                <a:gd name="T57" fmla="*/ 347 h 782"/>
                <a:gd name="T58" fmla="*/ 30 w 752"/>
                <a:gd name="T59" fmla="*/ 232 h 782"/>
                <a:gd name="T60" fmla="*/ 123 w 752"/>
                <a:gd name="T61" fmla="*/ 289 h 782"/>
                <a:gd name="T62" fmla="*/ 264 w 752"/>
                <a:gd name="T63" fmla="*/ 324 h 782"/>
                <a:gd name="T64" fmla="*/ 433 w 752"/>
                <a:gd name="T65" fmla="*/ 329 h 782"/>
                <a:gd name="T66" fmla="*/ 587 w 752"/>
                <a:gd name="T67" fmla="*/ 304 h 782"/>
                <a:gd name="T68" fmla="*/ 697 w 752"/>
                <a:gd name="T69" fmla="*/ 253 h 782"/>
                <a:gd name="T70" fmla="*/ 725 w 752"/>
                <a:gd name="T71" fmla="*/ 384 h 782"/>
                <a:gd name="T72" fmla="*/ 740 w 752"/>
                <a:gd name="T73" fmla="*/ 391 h 782"/>
                <a:gd name="T74" fmla="*/ 752 w 752"/>
                <a:gd name="T75" fmla="*/ 379 h 782"/>
                <a:gd name="T76" fmla="*/ 744 w 752"/>
                <a:gd name="T77" fmla="*/ 132 h 782"/>
                <a:gd name="T78" fmla="*/ 708 w 752"/>
                <a:gd name="T79" fmla="*/ 86 h 782"/>
                <a:gd name="T80" fmla="*/ 588 w 752"/>
                <a:gd name="T81" fmla="*/ 28 h 782"/>
                <a:gd name="T82" fmla="*/ 376 w 752"/>
                <a:gd name="T83" fmla="*/ 0 h 782"/>
                <a:gd name="T84" fmla="*/ 164 w 752"/>
                <a:gd name="T85" fmla="*/ 28 h 782"/>
                <a:gd name="T86" fmla="*/ 45 w 752"/>
                <a:gd name="T87" fmla="*/ 86 h 782"/>
                <a:gd name="T88" fmla="*/ 8 w 752"/>
                <a:gd name="T89" fmla="*/ 132 h 782"/>
                <a:gd name="T90" fmla="*/ 1 w 752"/>
                <a:gd name="T91" fmla="*/ 625 h 782"/>
                <a:gd name="T92" fmla="*/ 23 w 752"/>
                <a:gd name="T93" fmla="*/ 674 h 782"/>
                <a:gd name="T94" fmla="*/ 85 w 752"/>
                <a:gd name="T95" fmla="*/ 723 h 782"/>
                <a:gd name="T96" fmla="*/ 263 w 752"/>
                <a:gd name="T97" fmla="*/ 774 h 782"/>
                <a:gd name="T98" fmla="*/ 385 w 752"/>
                <a:gd name="T99" fmla="*/ 779 h 782"/>
                <a:gd name="T100" fmla="*/ 390 w 752"/>
                <a:gd name="T101" fmla="*/ 763 h 782"/>
                <a:gd name="T102" fmla="*/ 380 w 752"/>
                <a:gd name="T103" fmla="*/ 752 h 782"/>
                <a:gd name="T104" fmla="*/ 204 w 752"/>
                <a:gd name="T105" fmla="*/ 733 h 782"/>
                <a:gd name="T106" fmla="*/ 69 w 752"/>
                <a:gd name="T107" fmla="*/ 677 h 782"/>
                <a:gd name="T108" fmla="*/ 34 w 752"/>
                <a:gd name="T109" fmla="*/ 635 h 782"/>
                <a:gd name="T110" fmla="*/ 55 w 752"/>
                <a:gd name="T111" fmla="*/ 553 h 782"/>
                <a:gd name="T112" fmla="*/ 165 w 752"/>
                <a:gd name="T113" fmla="*/ 604 h 782"/>
                <a:gd name="T114" fmla="*/ 319 w 752"/>
                <a:gd name="T115" fmla="*/ 62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2" h="782">
                  <a:moveTo>
                    <a:pt x="376" y="30"/>
                  </a:moveTo>
                  <a:lnTo>
                    <a:pt x="414" y="32"/>
                  </a:lnTo>
                  <a:lnTo>
                    <a:pt x="450" y="34"/>
                  </a:lnTo>
                  <a:lnTo>
                    <a:pt x="485" y="38"/>
                  </a:lnTo>
                  <a:lnTo>
                    <a:pt x="517" y="42"/>
                  </a:lnTo>
                  <a:lnTo>
                    <a:pt x="548" y="49"/>
                  </a:lnTo>
                  <a:lnTo>
                    <a:pt x="577" y="56"/>
                  </a:lnTo>
                  <a:lnTo>
                    <a:pt x="603" y="65"/>
                  </a:lnTo>
                  <a:lnTo>
                    <a:pt x="626" y="73"/>
                  </a:lnTo>
                  <a:lnTo>
                    <a:pt x="648" y="84"/>
                  </a:lnTo>
                  <a:lnTo>
                    <a:pt x="667" y="95"/>
                  </a:lnTo>
                  <a:lnTo>
                    <a:pt x="683" y="105"/>
                  </a:lnTo>
                  <a:lnTo>
                    <a:pt x="697" y="117"/>
                  </a:lnTo>
                  <a:lnTo>
                    <a:pt x="703" y="123"/>
                  </a:lnTo>
                  <a:lnTo>
                    <a:pt x="708" y="129"/>
                  </a:lnTo>
                  <a:lnTo>
                    <a:pt x="712" y="135"/>
                  </a:lnTo>
                  <a:lnTo>
                    <a:pt x="715" y="141"/>
                  </a:lnTo>
                  <a:lnTo>
                    <a:pt x="719" y="147"/>
                  </a:lnTo>
                  <a:lnTo>
                    <a:pt x="721" y="154"/>
                  </a:lnTo>
                  <a:lnTo>
                    <a:pt x="722" y="160"/>
                  </a:lnTo>
                  <a:lnTo>
                    <a:pt x="722" y="165"/>
                  </a:lnTo>
                  <a:lnTo>
                    <a:pt x="722" y="172"/>
                  </a:lnTo>
                  <a:lnTo>
                    <a:pt x="721" y="178"/>
                  </a:lnTo>
                  <a:lnTo>
                    <a:pt x="719" y="184"/>
                  </a:lnTo>
                  <a:lnTo>
                    <a:pt x="715" y="190"/>
                  </a:lnTo>
                  <a:lnTo>
                    <a:pt x="712" y="197"/>
                  </a:lnTo>
                  <a:lnTo>
                    <a:pt x="708" y="203"/>
                  </a:lnTo>
                  <a:lnTo>
                    <a:pt x="703" y="208"/>
                  </a:lnTo>
                  <a:lnTo>
                    <a:pt x="697" y="215"/>
                  </a:lnTo>
                  <a:lnTo>
                    <a:pt x="683" y="227"/>
                  </a:lnTo>
                  <a:lnTo>
                    <a:pt x="667" y="237"/>
                  </a:lnTo>
                  <a:lnTo>
                    <a:pt x="648" y="248"/>
                  </a:lnTo>
                  <a:lnTo>
                    <a:pt x="626" y="258"/>
                  </a:lnTo>
                  <a:lnTo>
                    <a:pt x="603" y="267"/>
                  </a:lnTo>
                  <a:lnTo>
                    <a:pt x="577" y="276"/>
                  </a:lnTo>
                  <a:lnTo>
                    <a:pt x="548" y="282"/>
                  </a:lnTo>
                  <a:lnTo>
                    <a:pt x="517" y="289"/>
                  </a:lnTo>
                  <a:lnTo>
                    <a:pt x="485" y="294"/>
                  </a:lnTo>
                  <a:lnTo>
                    <a:pt x="450" y="298"/>
                  </a:lnTo>
                  <a:lnTo>
                    <a:pt x="414" y="300"/>
                  </a:lnTo>
                  <a:lnTo>
                    <a:pt x="376" y="302"/>
                  </a:lnTo>
                  <a:lnTo>
                    <a:pt x="338" y="300"/>
                  </a:lnTo>
                  <a:lnTo>
                    <a:pt x="301" y="298"/>
                  </a:lnTo>
                  <a:lnTo>
                    <a:pt x="267" y="294"/>
                  </a:lnTo>
                  <a:lnTo>
                    <a:pt x="235" y="289"/>
                  </a:lnTo>
                  <a:lnTo>
                    <a:pt x="204" y="282"/>
                  </a:lnTo>
                  <a:lnTo>
                    <a:pt x="176" y="276"/>
                  </a:lnTo>
                  <a:lnTo>
                    <a:pt x="149" y="267"/>
                  </a:lnTo>
                  <a:lnTo>
                    <a:pt x="126" y="258"/>
                  </a:lnTo>
                  <a:lnTo>
                    <a:pt x="104" y="248"/>
                  </a:lnTo>
                  <a:lnTo>
                    <a:pt x="85" y="237"/>
                  </a:lnTo>
                  <a:lnTo>
                    <a:pt x="69" y="227"/>
                  </a:lnTo>
                  <a:lnTo>
                    <a:pt x="55" y="215"/>
                  </a:lnTo>
                  <a:lnTo>
                    <a:pt x="49" y="208"/>
                  </a:lnTo>
                  <a:lnTo>
                    <a:pt x="44" y="203"/>
                  </a:lnTo>
                  <a:lnTo>
                    <a:pt x="40" y="197"/>
                  </a:lnTo>
                  <a:lnTo>
                    <a:pt x="36" y="190"/>
                  </a:lnTo>
                  <a:lnTo>
                    <a:pt x="34" y="184"/>
                  </a:lnTo>
                  <a:lnTo>
                    <a:pt x="32" y="178"/>
                  </a:lnTo>
                  <a:lnTo>
                    <a:pt x="31" y="172"/>
                  </a:lnTo>
                  <a:lnTo>
                    <a:pt x="30" y="165"/>
                  </a:lnTo>
                  <a:lnTo>
                    <a:pt x="31" y="160"/>
                  </a:lnTo>
                  <a:lnTo>
                    <a:pt x="32" y="154"/>
                  </a:lnTo>
                  <a:lnTo>
                    <a:pt x="34" y="147"/>
                  </a:lnTo>
                  <a:lnTo>
                    <a:pt x="36" y="141"/>
                  </a:lnTo>
                  <a:lnTo>
                    <a:pt x="40" y="135"/>
                  </a:lnTo>
                  <a:lnTo>
                    <a:pt x="44" y="129"/>
                  </a:lnTo>
                  <a:lnTo>
                    <a:pt x="49" y="123"/>
                  </a:lnTo>
                  <a:lnTo>
                    <a:pt x="55" y="117"/>
                  </a:lnTo>
                  <a:lnTo>
                    <a:pt x="69" y="105"/>
                  </a:lnTo>
                  <a:lnTo>
                    <a:pt x="85" y="95"/>
                  </a:lnTo>
                  <a:lnTo>
                    <a:pt x="104" y="84"/>
                  </a:lnTo>
                  <a:lnTo>
                    <a:pt x="126" y="73"/>
                  </a:lnTo>
                  <a:lnTo>
                    <a:pt x="149" y="65"/>
                  </a:lnTo>
                  <a:lnTo>
                    <a:pt x="176" y="56"/>
                  </a:lnTo>
                  <a:lnTo>
                    <a:pt x="204" y="49"/>
                  </a:lnTo>
                  <a:lnTo>
                    <a:pt x="235" y="42"/>
                  </a:lnTo>
                  <a:lnTo>
                    <a:pt x="267" y="38"/>
                  </a:lnTo>
                  <a:lnTo>
                    <a:pt x="301" y="34"/>
                  </a:lnTo>
                  <a:lnTo>
                    <a:pt x="338" y="32"/>
                  </a:lnTo>
                  <a:lnTo>
                    <a:pt x="376" y="30"/>
                  </a:lnTo>
                  <a:close/>
                  <a:moveTo>
                    <a:pt x="376" y="632"/>
                  </a:moveTo>
                  <a:lnTo>
                    <a:pt x="380" y="632"/>
                  </a:lnTo>
                  <a:lnTo>
                    <a:pt x="382" y="631"/>
                  </a:lnTo>
                  <a:lnTo>
                    <a:pt x="385" y="629"/>
                  </a:lnTo>
                  <a:lnTo>
                    <a:pt x="387" y="627"/>
                  </a:lnTo>
                  <a:lnTo>
                    <a:pt x="388" y="625"/>
                  </a:lnTo>
                  <a:lnTo>
                    <a:pt x="390" y="622"/>
                  </a:lnTo>
                  <a:lnTo>
                    <a:pt x="390" y="620"/>
                  </a:lnTo>
                  <a:lnTo>
                    <a:pt x="391" y="617"/>
                  </a:lnTo>
                  <a:lnTo>
                    <a:pt x="390" y="613"/>
                  </a:lnTo>
                  <a:lnTo>
                    <a:pt x="390" y="611"/>
                  </a:lnTo>
                  <a:lnTo>
                    <a:pt x="388" y="608"/>
                  </a:lnTo>
                  <a:lnTo>
                    <a:pt x="387" y="606"/>
                  </a:lnTo>
                  <a:lnTo>
                    <a:pt x="385" y="604"/>
                  </a:lnTo>
                  <a:lnTo>
                    <a:pt x="382" y="603"/>
                  </a:lnTo>
                  <a:lnTo>
                    <a:pt x="380" y="602"/>
                  </a:lnTo>
                  <a:lnTo>
                    <a:pt x="376" y="602"/>
                  </a:lnTo>
                  <a:lnTo>
                    <a:pt x="338" y="601"/>
                  </a:lnTo>
                  <a:lnTo>
                    <a:pt x="301" y="598"/>
                  </a:lnTo>
                  <a:lnTo>
                    <a:pt x="267" y="595"/>
                  </a:lnTo>
                  <a:lnTo>
                    <a:pt x="235" y="590"/>
                  </a:lnTo>
                  <a:lnTo>
                    <a:pt x="204" y="583"/>
                  </a:lnTo>
                  <a:lnTo>
                    <a:pt x="176" y="576"/>
                  </a:lnTo>
                  <a:lnTo>
                    <a:pt x="149" y="567"/>
                  </a:lnTo>
                  <a:lnTo>
                    <a:pt x="126" y="559"/>
                  </a:lnTo>
                  <a:lnTo>
                    <a:pt x="104" y="548"/>
                  </a:lnTo>
                  <a:lnTo>
                    <a:pt x="85" y="537"/>
                  </a:lnTo>
                  <a:lnTo>
                    <a:pt x="69" y="527"/>
                  </a:lnTo>
                  <a:lnTo>
                    <a:pt x="55" y="515"/>
                  </a:lnTo>
                  <a:lnTo>
                    <a:pt x="49" y="509"/>
                  </a:lnTo>
                  <a:lnTo>
                    <a:pt x="44" y="503"/>
                  </a:lnTo>
                  <a:lnTo>
                    <a:pt x="40" y="497"/>
                  </a:lnTo>
                  <a:lnTo>
                    <a:pt x="36" y="491"/>
                  </a:lnTo>
                  <a:lnTo>
                    <a:pt x="34" y="485"/>
                  </a:lnTo>
                  <a:lnTo>
                    <a:pt x="32" y="478"/>
                  </a:lnTo>
                  <a:lnTo>
                    <a:pt x="31" y="472"/>
                  </a:lnTo>
                  <a:lnTo>
                    <a:pt x="30" y="467"/>
                  </a:lnTo>
                  <a:lnTo>
                    <a:pt x="30" y="382"/>
                  </a:lnTo>
                  <a:lnTo>
                    <a:pt x="42" y="393"/>
                  </a:lnTo>
                  <a:lnTo>
                    <a:pt x="55" y="403"/>
                  </a:lnTo>
                  <a:lnTo>
                    <a:pt x="70" y="413"/>
                  </a:lnTo>
                  <a:lnTo>
                    <a:pt x="86" y="423"/>
                  </a:lnTo>
                  <a:lnTo>
                    <a:pt x="104" y="431"/>
                  </a:lnTo>
                  <a:lnTo>
                    <a:pt x="123" y="439"/>
                  </a:lnTo>
                  <a:lnTo>
                    <a:pt x="144" y="447"/>
                  </a:lnTo>
                  <a:lnTo>
                    <a:pt x="165" y="454"/>
                  </a:lnTo>
                  <a:lnTo>
                    <a:pt x="189" y="460"/>
                  </a:lnTo>
                  <a:lnTo>
                    <a:pt x="212" y="466"/>
                  </a:lnTo>
                  <a:lnTo>
                    <a:pt x="238" y="470"/>
                  </a:lnTo>
                  <a:lnTo>
                    <a:pt x="264" y="474"/>
                  </a:lnTo>
                  <a:lnTo>
                    <a:pt x="291" y="477"/>
                  </a:lnTo>
                  <a:lnTo>
                    <a:pt x="319" y="479"/>
                  </a:lnTo>
                  <a:lnTo>
                    <a:pt x="346" y="481"/>
                  </a:lnTo>
                  <a:lnTo>
                    <a:pt x="376" y="482"/>
                  </a:lnTo>
                  <a:lnTo>
                    <a:pt x="403" y="481"/>
                  </a:lnTo>
                  <a:lnTo>
                    <a:pt x="430" y="479"/>
                  </a:lnTo>
                  <a:lnTo>
                    <a:pt x="456" y="477"/>
                  </a:lnTo>
                  <a:lnTo>
                    <a:pt x="482" y="475"/>
                  </a:lnTo>
                  <a:lnTo>
                    <a:pt x="485" y="474"/>
                  </a:lnTo>
                  <a:lnTo>
                    <a:pt x="488" y="473"/>
                  </a:lnTo>
                  <a:lnTo>
                    <a:pt x="490" y="471"/>
                  </a:lnTo>
                  <a:lnTo>
                    <a:pt x="492" y="469"/>
                  </a:lnTo>
                  <a:lnTo>
                    <a:pt x="493" y="467"/>
                  </a:lnTo>
                  <a:lnTo>
                    <a:pt x="494" y="464"/>
                  </a:lnTo>
                  <a:lnTo>
                    <a:pt x="496" y="461"/>
                  </a:lnTo>
                  <a:lnTo>
                    <a:pt x="494" y="458"/>
                  </a:lnTo>
                  <a:lnTo>
                    <a:pt x="494" y="455"/>
                  </a:lnTo>
                  <a:lnTo>
                    <a:pt x="493" y="453"/>
                  </a:lnTo>
                  <a:lnTo>
                    <a:pt x="491" y="451"/>
                  </a:lnTo>
                  <a:lnTo>
                    <a:pt x="489" y="448"/>
                  </a:lnTo>
                  <a:lnTo>
                    <a:pt x="487" y="446"/>
                  </a:lnTo>
                  <a:lnTo>
                    <a:pt x="484" y="445"/>
                  </a:lnTo>
                  <a:lnTo>
                    <a:pt x="482" y="445"/>
                  </a:lnTo>
                  <a:lnTo>
                    <a:pt x="478" y="445"/>
                  </a:lnTo>
                  <a:lnTo>
                    <a:pt x="454" y="447"/>
                  </a:lnTo>
                  <a:lnTo>
                    <a:pt x="428" y="449"/>
                  </a:lnTo>
                  <a:lnTo>
                    <a:pt x="402" y="451"/>
                  </a:lnTo>
                  <a:lnTo>
                    <a:pt x="376" y="452"/>
                  </a:lnTo>
                  <a:lnTo>
                    <a:pt x="338" y="451"/>
                  </a:lnTo>
                  <a:lnTo>
                    <a:pt x="301" y="448"/>
                  </a:lnTo>
                  <a:lnTo>
                    <a:pt x="267" y="444"/>
                  </a:lnTo>
                  <a:lnTo>
                    <a:pt x="235" y="440"/>
                  </a:lnTo>
                  <a:lnTo>
                    <a:pt x="204" y="433"/>
                  </a:lnTo>
                  <a:lnTo>
                    <a:pt x="176" y="426"/>
                  </a:lnTo>
                  <a:lnTo>
                    <a:pt x="149" y="417"/>
                  </a:lnTo>
                  <a:lnTo>
                    <a:pt x="126" y="408"/>
                  </a:lnTo>
                  <a:lnTo>
                    <a:pt x="104" y="398"/>
                  </a:lnTo>
                  <a:lnTo>
                    <a:pt x="85" y="387"/>
                  </a:lnTo>
                  <a:lnTo>
                    <a:pt x="69" y="377"/>
                  </a:lnTo>
                  <a:lnTo>
                    <a:pt x="55" y="365"/>
                  </a:lnTo>
                  <a:lnTo>
                    <a:pt x="49" y="358"/>
                  </a:lnTo>
                  <a:lnTo>
                    <a:pt x="44" y="353"/>
                  </a:lnTo>
                  <a:lnTo>
                    <a:pt x="40" y="347"/>
                  </a:lnTo>
                  <a:lnTo>
                    <a:pt x="36" y="340"/>
                  </a:lnTo>
                  <a:lnTo>
                    <a:pt x="34" y="335"/>
                  </a:lnTo>
                  <a:lnTo>
                    <a:pt x="32" y="328"/>
                  </a:lnTo>
                  <a:lnTo>
                    <a:pt x="31" y="322"/>
                  </a:lnTo>
                  <a:lnTo>
                    <a:pt x="30" y="317"/>
                  </a:lnTo>
                  <a:lnTo>
                    <a:pt x="30" y="232"/>
                  </a:lnTo>
                  <a:lnTo>
                    <a:pt x="42" y="243"/>
                  </a:lnTo>
                  <a:lnTo>
                    <a:pt x="55" y="252"/>
                  </a:lnTo>
                  <a:lnTo>
                    <a:pt x="70" y="263"/>
                  </a:lnTo>
                  <a:lnTo>
                    <a:pt x="86" y="272"/>
                  </a:lnTo>
                  <a:lnTo>
                    <a:pt x="104" y="281"/>
                  </a:lnTo>
                  <a:lnTo>
                    <a:pt x="123" y="289"/>
                  </a:lnTo>
                  <a:lnTo>
                    <a:pt x="144" y="296"/>
                  </a:lnTo>
                  <a:lnTo>
                    <a:pt x="165" y="304"/>
                  </a:lnTo>
                  <a:lnTo>
                    <a:pt x="189" y="310"/>
                  </a:lnTo>
                  <a:lnTo>
                    <a:pt x="212" y="316"/>
                  </a:lnTo>
                  <a:lnTo>
                    <a:pt x="238" y="320"/>
                  </a:lnTo>
                  <a:lnTo>
                    <a:pt x="264" y="324"/>
                  </a:lnTo>
                  <a:lnTo>
                    <a:pt x="291" y="327"/>
                  </a:lnTo>
                  <a:lnTo>
                    <a:pt x="319" y="329"/>
                  </a:lnTo>
                  <a:lnTo>
                    <a:pt x="346" y="331"/>
                  </a:lnTo>
                  <a:lnTo>
                    <a:pt x="376" y="332"/>
                  </a:lnTo>
                  <a:lnTo>
                    <a:pt x="405" y="331"/>
                  </a:lnTo>
                  <a:lnTo>
                    <a:pt x="433" y="329"/>
                  </a:lnTo>
                  <a:lnTo>
                    <a:pt x="461" y="327"/>
                  </a:lnTo>
                  <a:lnTo>
                    <a:pt x="489" y="324"/>
                  </a:lnTo>
                  <a:lnTo>
                    <a:pt x="515" y="320"/>
                  </a:lnTo>
                  <a:lnTo>
                    <a:pt x="540" y="316"/>
                  </a:lnTo>
                  <a:lnTo>
                    <a:pt x="564" y="310"/>
                  </a:lnTo>
                  <a:lnTo>
                    <a:pt x="587" y="304"/>
                  </a:lnTo>
                  <a:lnTo>
                    <a:pt x="608" y="296"/>
                  </a:lnTo>
                  <a:lnTo>
                    <a:pt x="630" y="289"/>
                  </a:lnTo>
                  <a:lnTo>
                    <a:pt x="648" y="281"/>
                  </a:lnTo>
                  <a:lnTo>
                    <a:pt x="666" y="272"/>
                  </a:lnTo>
                  <a:lnTo>
                    <a:pt x="682" y="263"/>
                  </a:lnTo>
                  <a:lnTo>
                    <a:pt x="697" y="253"/>
                  </a:lnTo>
                  <a:lnTo>
                    <a:pt x="710" y="243"/>
                  </a:lnTo>
                  <a:lnTo>
                    <a:pt x="722" y="232"/>
                  </a:lnTo>
                  <a:lnTo>
                    <a:pt x="722" y="377"/>
                  </a:lnTo>
                  <a:lnTo>
                    <a:pt x="723" y="379"/>
                  </a:lnTo>
                  <a:lnTo>
                    <a:pt x="723" y="382"/>
                  </a:lnTo>
                  <a:lnTo>
                    <a:pt x="725" y="384"/>
                  </a:lnTo>
                  <a:lnTo>
                    <a:pt x="726" y="386"/>
                  </a:lnTo>
                  <a:lnTo>
                    <a:pt x="728" y="388"/>
                  </a:lnTo>
                  <a:lnTo>
                    <a:pt x="731" y="391"/>
                  </a:lnTo>
                  <a:lnTo>
                    <a:pt x="734" y="391"/>
                  </a:lnTo>
                  <a:lnTo>
                    <a:pt x="737" y="392"/>
                  </a:lnTo>
                  <a:lnTo>
                    <a:pt x="740" y="391"/>
                  </a:lnTo>
                  <a:lnTo>
                    <a:pt x="743" y="391"/>
                  </a:lnTo>
                  <a:lnTo>
                    <a:pt x="745" y="388"/>
                  </a:lnTo>
                  <a:lnTo>
                    <a:pt x="748" y="386"/>
                  </a:lnTo>
                  <a:lnTo>
                    <a:pt x="750" y="384"/>
                  </a:lnTo>
                  <a:lnTo>
                    <a:pt x="751" y="382"/>
                  </a:lnTo>
                  <a:lnTo>
                    <a:pt x="752" y="379"/>
                  </a:lnTo>
                  <a:lnTo>
                    <a:pt x="752" y="377"/>
                  </a:lnTo>
                  <a:lnTo>
                    <a:pt x="752" y="165"/>
                  </a:lnTo>
                  <a:lnTo>
                    <a:pt x="752" y="157"/>
                  </a:lnTo>
                  <a:lnTo>
                    <a:pt x="750" y="148"/>
                  </a:lnTo>
                  <a:lnTo>
                    <a:pt x="748" y="140"/>
                  </a:lnTo>
                  <a:lnTo>
                    <a:pt x="744" y="132"/>
                  </a:lnTo>
                  <a:lnTo>
                    <a:pt x="740" y="124"/>
                  </a:lnTo>
                  <a:lnTo>
                    <a:pt x="736" y="116"/>
                  </a:lnTo>
                  <a:lnTo>
                    <a:pt x="729" y="109"/>
                  </a:lnTo>
                  <a:lnTo>
                    <a:pt x="723" y="101"/>
                  </a:lnTo>
                  <a:lnTo>
                    <a:pt x="715" y="94"/>
                  </a:lnTo>
                  <a:lnTo>
                    <a:pt x="708" y="86"/>
                  </a:lnTo>
                  <a:lnTo>
                    <a:pt x="698" y="80"/>
                  </a:lnTo>
                  <a:lnTo>
                    <a:pt x="689" y="72"/>
                  </a:lnTo>
                  <a:lnTo>
                    <a:pt x="667" y="60"/>
                  </a:lnTo>
                  <a:lnTo>
                    <a:pt x="644" y="49"/>
                  </a:lnTo>
                  <a:lnTo>
                    <a:pt x="617" y="38"/>
                  </a:lnTo>
                  <a:lnTo>
                    <a:pt x="588" y="28"/>
                  </a:lnTo>
                  <a:lnTo>
                    <a:pt x="557" y="20"/>
                  </a:lnTo>
                  <a:lnTo>
                    <a:pt x="523" y="13"/>
                  </a:lnTo>
                  <a:lnTo>
                    <a:pt x="489" y="8"/>
                  </a:lnTo>
                  <a:lnTo>
                    <a:pt x="453" y="4"/>
                  </a:lnTo>
                  <a:lnTo>
                    <a:pt x="415" y="2"/>
                  </a:lnTo>
                  <a:lnTo>
                    <a:pt x="376" y="0"/>
                  </a:lnTo>
                  <a:lnTo>
                    <a:pt x="337" y="2"/>
                  </a:lnTo>
                  <a:lnTo>
                    <a:pt x="299" y="4"/>
                  </a:lnTo>
                  <a:lnTo>
                    <a:pt x="263" y="8"/>
                  </a:lnTo>
                  <a:lnTo>
                    <a:pt x="228" y="13"/>
                  </a:lnTo>
                  <a:lnTo>
                    <a:pt x="195" y="20"/>
                  </a:lnTo>
                  <a:lnTo>
                    <a:pt x="164" y="28"/>
                  </a:lnTo>
                  <a:lnTo>
                    <a:pt x="135" y="38"/>
                  </a:lnTo>
                  <a:lnTo>
                    <a:pt x="109" y="49"/>
                  </a:lnTo>
                  <a:lnTo>
                    <a:pt x="85" y="60"/>
                  </a:lnTo>
                  <a:lnTo>
                    <a:pt x="63" y="72"/>
                  </a:lnTo>
                  <a:lnTo>
                    <a:pt x="54" y="80"/>
                  </a:lnTo>
                  <a:lnTo>
                    <a:pt x="45" y="86"/>
                  </a:lnTo>
                  <a:lnTo>
                    <a:pt x="36" y="94"/>
                  </a:lnTo>
                  <a:lnTo>
                    <a:pt x="29" y="101"/>
                  </a:lnTo>
                  <a:lnTo>
                    <a:pt x="23" y="109"/>
                  </a:lnTo>
                  <a:lnTo>
                    <a:pt x="17" y="116"/>
                  </a:lnTo>
                  <a:lnTo>
                    <a:pt x="12" y="124"/>
                  </a:lnTo>
                  <a:lnTo>
                    <a:pt x="8" y="132"/>
                  </a:lnTo>
                  <a:lnTo>
                    <a:pt x="4" y="141"/>
                  </a:lnTo>
                  <a:lnTo>
                    <a:pt x="2" y="148"/>
                  </a:lnTo>
                  <a:lnTo>
                    <a:pt x="1" y="157"/>
                  </a:lnTo>
                  <a:lnTo>
                    <a:pt x="0" y="165"/>
                  </a:lnTo>
                  <a:lnTo>
                    <a:pt x="0" y="617"/>
                  </a:lnTo>
                  <a:lnTo>
                    <a:pt x="1" y="625"/>
                  </a:lnTo>
                  <a:lnTo>
                    <a:pt x="2" y="634"/>
                  </a:lnTo>
                  <a:lnTo>
                    <a:pt x="4" y="642"/>
                  </a:lnTo>
                  <a:lnTo>
                    <a:pt x="8" y="650"/>
                  </a:lnTo>
                  <a:lnTo>
                    <a:pt x="12" y="658"/>
                  </a:lnTo>
                  <a:lnTo>
                    <a:pt x="17" y="666"/>
                  </a:lnTo>
                  <a:lnTo>
                    <a:pt x="23" y="674"/>
                  </a:lnTo>
                  <a:lnTo>
                    <a:pt x="29" y="682"/>
                  </a:lnTo>
                  <a:lnTo>
                    <a:pt x="36" y="688"/>
                  </a:lnTo>
                  <a:lnTo>
                    <a:pt x="45" y="696"/>
                  </a:lnTo>
                  <a:lnTo>
                    <a:pt x="54" y="703"/>
                  </a:lnTo>
                  <a:lnTo>
                    <a:pt x="63" y="710"/>
                  </a:lnTo>
                  <a:lnTo>
                    <a:pt x="85" y="723"/>
                  </a:lnTo>
                  <a:lnTo>
                    <a:pt x="109" y="734"/>
                  </a:lnTo>
                  <a:lnTo>
                    <a:pt x="135" y="744"/>
                  </a:lnTo>
                  <a:lnTo>
                    <a:pt x="164" y="754"/>
                  </a:lnTo>
                  <a:lnTo>
                    <a:pt x="195" y="762"/>
                  </a:lnTo>
                  <a:lnTo>
                    <a:pt x="228" y="769"/>
                  </a:lnTo>
                  <a:lnTo>
                    <a:pt x="263" y="774"/>
                  </a:lnTo>
                  <a:lnTo>
                    <a:pt x="299" y="778"/>
                  </a:lnTo>
                  <a:lnTo>
                    <a:pt x="337" y="781"/>
                  </a:lnTo>
                  <a:lnTo>
                    <a:pt x="376" y="782"/>
                  </a:lnTo>
                  <a:lnTo>
                    <a:pt x="380" y="782"/>
                  </a:lnTo>
                  <a:lnTo>
                    <a:pt x="382" y="781"/>
                  </a:lnTo>
                  <a:lnTo>
                    <a:pt x="385" y="779"/>
                  </a:lnTo>
                  <a:lnTo>
                    <a:pt x="387" y="777"/>
                  </a:lnTo>
                  <a:lnTo>
                    <a:pt x="388" y="775"/>
                  </a:lnTo>
                  <a:lnTo>
                    <a:pt x="390" y="773"/>
                  </a:lnTo>
                  <a:lnTo>
                    <a:pt x="390" y="770"/>
                  </a:lnTo>
                  <a:lnTo>
                    <a:pt x="391" y="767"/>
                  </a:lnTo>
                  <a:lnTo>
                    <a:pt x="390" y="763"/>
                  </a:lnTo>
                  <a:lnTo>
                    <a:pt x="390" y="761"/>
                  </a:lnTo>
                  <a:lnTo>
                    <a:pt x="388" y="758"/>
                  </a:lnTo>
                  <a:lnTo>
                    <a:pt x="387" y="756"/>
                  </a:lnTo>
                  <a:lnTo>
                    <a:pt x="385" y="755"/>
                  </a:lnTo>
                  <a:lnTo>
                    <a:pt x="382" y="753"/>
                  </a:lnTo>
                  <a:lnTo>
                    <a:pt x="380" y="752"/>
                  </a:lnTo>
                  <a:lnTo>
                    <a:pt x="376" y="752"/>
                  </a:lnTo>
                  <a:lnTo>
                    <a:pt x="338" y="751"/>
                  </a:lnTo>
                  <a:lnTo>
                    <a:pt x="301" y="748"/>
                  </a:lnTo>
                  <a:lnTo>
                    <a:pt x="267" y="745"/>
                  </a:lnTo>
                  <a:lnTo>
                    <a:pt x="235" y="740"/>
                  </a:lnTo>
                  <a:lnTo>
                    <a:pt x="204" y="733"/>
                  </a:lnTo>
                  <a:lnTo>
                    <a:pt x="176" y="726"/>
                  </a:lnTo>
                  <a:lnTo>
                    <a:pt x="149" y="717"/>
                  </a:lnTo>
                  <a:lnTo>
                    <a:pt x="126" y="709"/>
                  </a:lnTo>
                  <a:lnTo>
                    <a:pt x="104" y="699"/>
                  </a:lnTo>
                  <a:lnTo>
                    <a:pt x="85" y="688"/>
                  </a:lnTo>
                  <a:lnTo>
                    <a:pt x="69" y="677"/>
                  </a:lnTo>
                  <a:lnTo>
                    <a:pt x="55" y="665"/>
                  </a:lnTo>
                  <a:lnTo>
                    <a:pt x="49" y="659"/>
                  </a:lnTo>
                  <a:lnTo>
                    <a:pt x="44" y="653"/>
                  </a:lnTo>
                  <a:lnTo>
                    <a:pt x="40" y="648"/>
                  </a:lnTo>
                  <a:lnTo>
                    <a:pt x="36" y="641"/>
                  </a:lnTo>
                  <a:lnTo>
                    <a:pt x="34" y="635"/>
                  </a:lnTo>
                  <a:lnTo>
                    <a:pt x="32" y="628"/>
                  </a:lnTo>
                  <a:lnTo>
                    <a:pt x="31" y="623"/>
                  </a:lnTo>
                  <a:lnTo>
                    <a:pt x="30" y="617"/>
                  </a:lnTo>
                  <a:lnTo>
                    <a:pt x="30" y="532"/>
                  </a:lnTo>
                  <a:lnTo>
                    <a:pt x="42" y="543"/>
                  </a:lnTo>
                  <a:lnTo>
                    <a:pt x="55" y="553"/>
                  </a:lnTo>
                  <a:lnTo>
                    <a:pt x="70" y="563"/>
                  </a:lnTo>
                  <a:lnTo>
                    <a:pt x="86" y="573"/>
                  </a:lnTo>
                  <a:lnTo>
                    <a:pt x="104" y="581"/>
                  </a:lnTo>
                  <a:lnTo>
                    <a:pt x="123" y="590"/>
                  </a:lnTo>
                  <a:lnTo>
                    <a:pt x="144" y="597"/>
                  </a:lnTo>
                  <a:lnTo>
                    <a:pt x="165" y="604"/>
                  </a:lnTo>
                  <a:lnTo>
                    <a:pt x="189" y="610"/>
                  </a:lnTo>
                  <a:lnTo>
                    <a:pt x="212" y="616"/>
                  </a:lnTo>
                  <a:lnTo>
                    <a:pt x="238" y="621"/>
                  </a:lnTo>
                  <a:lnTo>
                    <a:pt x="264" y="624"/>
                  </a:lnTo>
                  <a:lnTo>
                    <a:pt x="291" y="627"/>
                  </a:lnTo>
                  <a:lnTo>
                    <a:pt x="319" y="629"/>
                  </a:lnTo>
                  <a:lnTo>
                    <a:pt x="346" y="632"/>
                  </a:lnTo>
                  <a:lnTo>
                    <a:pt x="376" y="632"/>
                  </a:lnTo>
                  <a:lnTo>
                    <a:pt x="376" y="6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 name="Freeform 26"/>
          <p:cNvSpPr>
            <a:spLocks noEditPoints="1"/>
          </p:cNvSpPr>
          <p:nvPr/>
        </p:nvSpPr>
        <p:spPr bwMode="auto">
          <a:xfrm>
            <a:off x="6555564" y="3737050"/>
            <a:ext cx="410744" cy="410742"/>
          </a:xfrm>
          <a:custGeom>
            <a:avLst/>
            <a:gdLst>
              <a:gd name="T0" fmla="*/ 738 w 869"/>
              <a:gd name="T1" fmla="*/ 825 h 869"/>
              <a:gd name="T2" fmla="*/ 684 w 869"/>
              <a:gd name="T3" fmla="*/ 839 h 869"/>
              <a:gd name="T4" fmla="*/ 642 w 869"/>
              <a:gd name="T5" fmla="*/ 831 h 869"/>
              <a:gd name="T6" fmla="*/ 536 w 869"/>
              <a:gd name="T7" fmla="*/ 761 h 869"/>
              <a:gd name="T8" fmla="*/ 343 w 869"/>
              <a:gd name="T9" fmla="*/ 599 h 869"/>
              <a:gd name="T10" fmla="*/ 169 w 869"/>
              <a:gd name="T11" fmla="*/ 412 h 869"/>
              <a:gd name="T12" fmla="*/ 44 w 869"/>
              <a:gd name="T13" fmla="*/ 241 h 869"/>
              <a:gd name="T14" fmla="*/ 30 w 869"/>
              <a:gd name="T15" fmla="*/ 193 h 869"/>
              <a:gd name="T16" fmla="*/ 38 w 869"/>
              <a:gd name="T17" fmla="*/ 145 h 869"/>
              <a:gd name="T18" fmla="*/ 64 w 869"/>
              <a:gd name="T19" fmla="*/ 102 h 869"/>
              <a:gd name="T20" fmla="*/ 139 w 869"/>
              <a:gd name="T21" fmla="*/ 35 h 869"/>
              <a:gd name="T22" fmla="*/ 175 w 869"/>
              <a:gd name="T23" fmla="*/ 31 h 869"/>
              <a:gd name="T24" fmla="*/ 208 w 869"/>
              <a:gd name="T25" fmla="*/ 42 h 869"/>
              <a:gd name="T26" fmla="*/ 322 w 869"/>
              <a:gd name="T27" fmla="*/ 156 h 869"/>
              <a:gd name="T28" fmla="*/ 334 w 869"/>
              <a:gd name="T29" fmla="*/ 190 h 869"/>
              <a:gd name="T30" fmla="*/ 329 w 869"/>
              <a:gd name="T31" fmla="*/ 224 h 869"/>
              <a:gd name="T32" fmla="*/ 282 w 869"/>
              <a:gd name="T33" fmla="*/ 280 h 869"/>
              <a:gd name="T34" fmla="*/ 314 w 869"/>
              <a:gd name="T35" fmla="*/ 339 h 869"/>
              <a:gd name="T36" fmla="*/ 492 w 869"/>
              <a:gd name="T37" fmla="*/ 522 h 869"/>
              <a:gd name="T38" fmla="*/ 585 w 869"/>
              <a:gd name="T39" fmla="*/ 590 h 869"/>
              <a:gd name="T40" fmla="*/ 638 w 869"/>
              <a:gd name="T41" fmla="*/ 543 h 869"/>
              <a:gd name="T42" fmla="*/ 672 w 869"/>
              <a:gd name="T43" fmla="*/ 534 h 869"/>
              <a:gd name="T44" fmla="*/ 707 w 869"/>
              <a:gd name="T45" fmla="*/ 543 h 869"/>
              <a:gd name="T46" fmla="*/ 823 w 869"/>
              <a:gd name="T47" fmla="*/ 655 h 869"/>
              <a:gd name="T48" fmla="*/ 838 w 869"/>
              <a:gd name="T49" fmla="*/ 687 h 869"/>
              <a:gd name="T50" fmla="*/ 837 w 869"/>
              <a:gd name="T51" fmla="*/ 723 h 869"/>
              <a:gd name="T52" fmla="*/ 818 w 869"/>
              <a:gd name="T53" fmla="*/ 754 h 869"/>
              <a:gd name="T54" fmla="*/ 730 w 869"/>
              <a:gd name="T55" fmla="*/ 522 h 869"/>
              <a:gd name="T56" fmla="*/ 683 w 869"/>
              <a:gd name="T57" fmla="*/ 506 h 869"/>
              <a:gd name="T58" fmla="*/ 632 w 869"/>
              <a:gd name="T59" fmla="*/ 513 h 869"/>
              <a:gd name="T60" fmla="*/ 578 w 869"/>
              <a:gd name="T61" fmla="*/ 557 h 869"/>
              <a:gd name="T62" fmla="*/ 406 w 869"/>
              <a:gd name="T63" fmla="*/ 396 h 869"/>
              <a:gd name="T64" fmla="*/ 342 w 869"/>
              <a:gd name="T65" fmla="*/ 262 h 869"/>
              <a:gd name="T66" fmla="*/ 363 w 869"/>
              <a:gd name="T67" fmla="*/ 217 h 869"/>
              <a:gd name="T68" fmla="*/ 360 w 869"/>
              <a:gd name="T69" fmla="*/ 168 h 869"/>
              <a:gd name="T70" fmla="*/ 334 w 869"/>
              <a:gd name="T71" fmla="*/ 124 h 869"/>
              <a:gd name="T72" fmla="*/ 207 w 869"/>
              <a:gd name="T73" fmla="*/ 8 h 869"/>
              <a:gd name="T74" fmla="*/ 158 w 869"/>
              <a:gd name="T75" fmla="*/ 1 h 869"/>
              <a:gd name="T76" fmla="*/ 110 w 869"/>
              <a:gd name="T77" fmla="*/ 17 h 869"/>
              <a:gd name="T78" fmla="*/ 27 w 869"/>
              <a:gd name="T79" fmla="*/ 101 h 869"/>
              <a:gd name="T80" fmla="*/ 2 w 869"/>
              <a:gd name="T81" fmla="*/ 159 h 869"/>
              <a:gd name="T82" fmla="*/ 5 w 869"/>
              <a:gd name="T83" fmla="*/ 220 h 869"/>
              <a:gd name="T84" fmla="*/ 54 w 869"/>
              <a:gd name="T85" fmla="*/ 309 h 869"/>
              <a:gd name="T86" fmla="*/ 213 w 869"/>
              <a:gd name="T87" fmla="*/ 510 h 869"/>
              <a:gd name="T88" fmla="*/ 398 w 869"/>
              <a:gd name="T89" fmla="*/ 690 h 869"/>
              <a:gd name="T90" fmla="*/ 603 w 869"/>
              <a:gd name="T91" fmla="*/ 845 h 869"/>
              <a:gd name="T92" fmla="*/ 652 w 869"/>
              <a:gd name="T93" fmla="*/ 865 h 869"/>
              <a:gd name="T94" fmla="*/ 713 w 869"/>
              <a:gd name="T95" fmla="*/ 866 h 869"/>
              <a:gd name="T96" fmla="*/ 777 w 869"/>
              <a:gd name="T97" fmla="*/ 836 h 869"/>
              <a:gd name="T98" fmla="*/ 857 w 869"/>
              <a:gd name="T99" fmla="*/ 749 h 869"/>
              <a:gd name="T100" fmla="*/ 869 w 869"/>
              <a:gd name="T101" fmla="*/ 701 h 869"/>
              <a:gd name="T102" fmla="*/ 857 w 869"/>
              <a:gd name="T103" fmla="*/ 65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9" h="869">
                <a:moveTo>
                  <a:pt x="818" y="754"/>
                </a:moveTo>
                <a:lnTo>
                  <a:pt x="766" y="805"/>
                </a:lnTo>
                <a:lnTo>
                  <a:pt x="758" y="813"/>
                </a:lnTo>
                <a:lnTo>
                  <a:pt x="749" y="819"/>
                </a:lnTo>
                <a:lnTo>
                  <a:pt x="738" y="825"/>
                </a:lnTo>
                <a:lnTo>
                  <a:pt x="729" y="830"/>
                </a:lnTo>
                <a:lnTo>
                  <a:pt x="718" y="834"/>
                </a:lnTo>
                <a:lnTo>
                  <a:pt x="706" y="837"/>
                </a:lnTo>
                <a:lnTo>
                  <a:pt x="696" y="838"/>
                </a:lnTo>
                <a:lnTo>
                  <a:pt x="684" y="839"/>
                </a:lnTo>
                <a:lnTo>
                  <a:pt x="675" y="838"/>
                </a:lnTo>
                <a:lnTo>
                  <a:pt x="667" y="837"/>
                </a:lnTo>
                <a:lnTo>
                  <a:pt x="658" y="836"/>
                </a:lnTo>
                <a:lnTo>
                  <a:pt x="650" y="834"/>
                </a:lnTo>
                <a:lnTo>
                  <a:pt x="642" y="831"/>
                </a:lnTo>
                <a:lnTo>
                  <a:pt x="634" y="828"/>
                </a:lnTo>
                <a:lnTo>
                  <a:pt x="626" y="824"/>
                </a:lnTo>
                <a:lnTo>
                  <a:pt x="619" y="819"/>
                </a:lnTo>
                <a:lnTo>
                  <a:pt x="577" y="791"/>
                </a:lnTo>
                <a:lnTo>
                  <a:pt x="536" y="761"/>
                </a:lnTo>
                <a:lnTo>
                  <a:pt x="496" y="731"/>
                </a:lnTo>
                <a:lnTo>
                  <a:pt x="456" y="699"/>
                </a:lnTo>
                <a:lnTo>
                  <a:pt x="417" y="667"/>
                </a:lnTo>
                <a:lnTo>
                  <a:pt x="379" y="633"/>
                </a:lnTo>
                <a:lnTo>
                  <a:pt x="343" y="599"/>
                </a:lnTo>
                <a:lnTo>
                  <a:pt x="306" y="563"/>
                </a:lnTo>
                <a:lnTo>
                  <a:pt x="270" y="527"/>
                </a:lnTo>
                <a:lnTo>
                  <a:pt x="236" y="489"/>
                </a:lnTo>
                <a:lnTo>
                  <a:pt x="202" y="452"/>
                </a:lnTo>
                <a:lnTo>
                  <a:pt x="169" y="412"/>
                </a:lnTo>
                <a:lnTo>
                  <a:pt x="138" y="373"/>
                </a:lnTo>
                <a:lnTo>
                  <a:pt x="107" y="333"/>
                </a:lnTo>
                <a:lnTo>
                  <a:pt x="78" y="292"/>
                </a:lnTo>
                <a:lnTo>
                  <a:pt x="50" y="250"/>
                </a:lnTo>
                <a:lnTo>
                  <a:pt x="44" y="241"/>
                </a:lnTo>
                <a:lnTo>
                  <a:pt x="40" y="232"/>
                </a:lnTo>
                <a:lnTo>
                  <a:pt x="37" y="223"/>
                </a:lnTo>
                <a:lnTo>
                  <a:pt x="33" y="213"/>
                </a:lnTo>
                <a:lnTo>
                  <a:pt x="31" y="203"/>
                </a:lnTo>
                <a:lnTo>
                  <a:pt x="30" y="193"/>
                </a:lnTo>
                <a:lnTo>
                  <a:pt x="30" y="184"/>
                </a:lnTo>
                <a:lnTo>
                  <a:pt x="31" y="174"/>
                </a:lnTo>
                <a:lnTo>
                  <a:pt x="32" y="164"/>
                </a:lnTo>
                <a:lnTo>
                  <a:pt x="35" y="155"/>
                </a:lnTo>
                <a:lnTo>
                  <a:pt x="38" y="145"/>
                </a:lnTo>
                <a:lnTo>
                  <a:pt x="41" y="135"/>
                </a:lnTo>
                <a:lnTo>
                  <a:pt x="46" y="127"/>
                </a:lnTo>
                <a:lnTo>
                  <a:pt x="52" y="118"/>
                </a:lnTo>
                <a:lnTo>
                  <a:pt x="57" y="110"/>
                </a:lnTo>
                <a:lnTo>
                  <a:pt x="64" y="102"/>
                </a:lnTo>
                <a:lnTo>
                  <a:pt x="116" y="51"/>
                </a:lnTo>
                <a:lnTo>
                  <a:pt x="121" y="47"/>
                </a:lnTo>
                <a:lnTo>
                  <a:pt x="127" y="42"/>
                </a:lnTo>
                <a:lnTo>
                  <a:pt x="133" y="38"/>
                </a:lnTo>
                <a:lnTo>
                  <a:pt x="139" y="35"/>
                </a:lnTo>
                <a:lnTo>
                  <a:pt x="146" y="33"/>
                </a:lnTo>
                <a:lnTo>
                  <a:pt x="153" y="32"/>
                </a:lnTo>
                <a:lnTo>
                  <a:pt x="161" y="31"/>
                </a:lnTo>
                <a:lnTo>
                  <a:pt x="167" y="30"/>
                </a:lnTo>
                <a:lnTo>
                  <a:pt x="175" y="31"/>
                </a:lnTo>
                <a:lnTo>
                  <a:pt x="182" y="32"/>
                </a:lnTo>
                <a:lnTo>
                  <a:pt x="189" y="33"/>
                </a:lnTo>
                <a:lnTo>
                  <a:pt x="196" y="35"/>
                </a:lnTo>
                <a:lnTo>
                  <a:pt x="202" y="38"/>
                </a:lnTo>
                <a:lnTo>
                  <a:pt x="208" y="42"/>
                </a:lnTo>
                <a:lnTo>
                  <a:pt x="214" y="47"/>
                </a:lnTo>
                <a:lnTo>
                  <a:pt x="220" y="51"/>
                </a:lnTo>
                <a:lnTo>
                  <a:pt x="313" y="145"/>
                </a:lnTo>
                <a:lnTo>
                  <a:pt x="318" y="150"/>
                </a:lnTo>
                <a:lnTo>
                  <a:pt x="322" y="156"/>
                </a:lnTo>
                <a:lnTo>
                  <a:pt x="325" y="162"/>
                </a:lnTo>
                <a:lnTo>
                  <a:pt x="329" y="169"/>
                </a:lnTo>
                <a:lnTo>
                  <a:pt x="331" y="176"/>
                </a:lnTo>
                <a:lnTo>
                  <a:pt x="333" y="182"/>
                </a:lnTo>
                <a:lnTo>
                  <a:pt x="334" y="190"/>
                </a:lnTo>
                <a:lnTo>
                  <a:pt x="334" y="196"/>
                </a:lnTo>
                <a:lnTo>
                  <a:pt x="334" y="204"/>
                </a:lnTo>
                <a:lnTo>
                  <a:pt x="333" y="210"/>
                </a:lnTo>
                <a:lnTo>
                  <a:pt x="331" y="218"/>
                </a:lnTo>
                <a:lnTo>
                  <a:pt x="329" y="224"/>
                </a:lnTo>
                <a:lnTo>
                  <a:pt x="325" y="231"/>
                </a:lnTo>
                <a:lnTo>
                  <a:pt x="322" y="237"/>
                </a:lnTo>
                <a:lnTo>
                  <a:pt x="318" y="243"/>
                </a:lnTo>
                <a:lnTo>
                  <a:pt x="313" y="249"/>
                </a:lnTo>
                <a:lnTo>
                  <a:pt x="282" y="280"/>
                </a:lnTo>
                <a:lnTo>
                  <a:pt x="278" y="284"/>
                </a:lnTo>
                <a:lnTo>
                  <a:pt x="277" y="289"/>
                </a:lnTo>
                <a:lnTo>
                  <a:pt x="278" y="295"/>
                </a:lnTo>
                <a:lnTo>
                  <a:pt x="281" y="300"/>
                </a:lnTo>
                <a:lnTo>
                  <a:pt x="314" y="339"/>
                </a:lnTo>
                <a:lnTo>
                  <a:pt x="347" y="376"/>
                </a:lnTo>
                <a:lnTo>
                  <a:pt x="382" y="415"/>
                </a:lnTo>
                <a:lnTo>
                  <a:pt x="417" y="451"/>
                </a:lnTo>
                <a:lnTo>
                  <a:pt x="455" y="487"/>
                </a:lnTo>
                <a:lnTo>
                  <a:pt x="492" y="522"/>
                </a:lnTo>
                <a:lnTo>
                  <a:pt x="531" y="556"/>
                </a:lnTo>
                <a:lnTo>
                  <a:pt x="569" y="588"/>
                </a:lnTo>
                <a:lnTo>
                  <a:pt x="575" y="591"/>
                </a:lnTo>
                <a:lnTo>
                  <a:pt x="580" y="592"/>
                </a:lnTo>
                <a:lnTo>
                  <a:pt x="585" y="590"/>
                </a:lnTo>
                <a:lnTo>
                  <a:pt x="590" y="588"/>
                </a:lnTo>
                <a:lnTo>
                  <a:pt x="621" y="556"/>
                </a:lnTo>
                <a:lnTo>
                  <a:pt x="626" y="552"/>
                </a:lnTo>
                <a:lnTo>
                  <a:pt x="631" y="547"/>
                </a:lnTo>
                <a:lnTo>
                  <a:pt x="638" y="543"/>
                </a:lnTo>
                <a:lnTo>
                  <a:pt x="644" y="540"/>
                </a:lnTo>
                <a:lnTo>
                  <a:pt x="651" y="538"/>
                </a:lnTo>
                <a:lnTo>
                  <a:pt x="658" y="537"/>
                </a:lnTo>
                <a:lnTo>
                  <a:pt x="666" y="535"/>
                </a:lnTo>
                <a:lnTo>
                  <a:pt x="672" y="534"/>
                </a:lnTo>
                <a:lnTo>
                  <a:pt x="680" y="535"/>
                </a:lnTo>
                <a:lnTo>
                  <a:pt x="687" y="537"/>
                </a:lnTo>
                <a:lnTo>
                  <a:pt x="693" y="538"/>
                </a:lnTo>
                <a:lnTo>
                  <a:pt x="701" y="540"/>
                </a:lnTo>
                <a:lnTo>
                  <a:pt x="707" y="543"/>
                </a:lnTo>
                <a:lnTo>
                  <a:pt x="713" y="547"/>
                </a:lnTo>
                <a:lnTo>
                  <a:pt x="719" y="552"/>
                </a:lnTo>
                <a:lnTo>
                  <a:pt x="724" y="556"/>
                </a:lnTo>
                <a:lnTo>
                  <a:pt x="818" y="650"/>
                </a:lnTo>
                <a:lnTo>
                  <a:pt x="823" y="655"/>
                </a:lnTo>
                <a:lnTo>
                  <a:pt x="827" y="662"/>
                </a:lnTo>
                <a:lnTo>
                  <a:pt x="831" y="667"/>
                </a:lnTo>
                <a:lnTo>
                  <a:pt x="834" y="673"/>
                </a:lnTo>
                <a:lnTo>
                  <a:pt x="837" y="681"/>
                </a:lnTo>
                <a:lnTo>
                  <a:pt x="838" y="687"/>
                </a:lnTo>
                <a:lnTo>
                  <a:pt x="839" y="695"/>
                </a:lnTo>
                <a:lnTo>
                  <a:pt x="839" y="701"/>
                </a:lnTo>
                <a:lnTo>
                  <a:pt x="839" y="709"/>
                </a:lnTo>
                <a:lnTo>
                  <a:pt x="838" y="715"/>
                </a:lnTo>
                <a:lnTo>
                  <a:pt x="837" y="723"/>
                </a:lnTo>
                <a:lnTo>
                  <a:pt x="834" y="729"/>
                </a:lnTo>
                <a:lnTo>
                  <a:pt x="831" y="736"/>
                </a:lnTo>
                <a:lnTo>
                  <a:pt x="827" y="742"/>
                </a:lnTo>
                <a:lnTo>
                  <a:pt x="823" y="747"/>
                </a:lnTo>
                <a:lnTo>
                  <a:pt x="818" y="754"/>
                </a:lnTo>
                <a:lnTo>
                  <a:pt x="818" y="754"/>
                </a:lnTo>
                <a:close/>
                <a:moveTo>
                  <a:pt x="839" y="629"/>
                </a:moveTo>
                <a:lnTo>
                  <a:pt x="746" y="535"/>
                </a:lnTo>
                <a:lnTo>
                  <a:pt x="738" y="528"/>
                </a:lnTo>
                <a:lnTo>
                  <a:pt x="730" y="522"/>
                </a:lnTo>
                <a:lnTo>
                  <a:pt x="721" y="517"/>
                </a:lnTo>
                <a:lnTo>
                  <a:pt x="712" y="513"/>
                </a:lnTo>
                <a:lnTo>
                  <a:pt x="703" y="509"/>
                </a:lnTo>
                <a:lnTo>
                  <a:pt x="692" y="507"/>
                </a:lnTo>
                <a:lnTo>
                  <a:pt x="683" y="506"/>
                </a:lnTo>
                <a:lnTo>
                  <a:pt x="672" y="504"/>
                </a:lnTo>
                <a:lnTo>
                  <a:pt x="662" y="506"/>
                </a:lnTo>
                <a:lnTo>
                  <a:pt x="652" y="507"/>
                </a:lnTo>
                <a:lnTo>
                  <a:pt x="642" y="509"/>
                </a:lnTo>
                <a:lnTo>
                  <a:pt x="632" y="513"/>
                </a:lnTo>
                <a:lnTo>
                  <a:pt x="624" y="517"/>
                </a:lnTo>
                <a:lnTo>
                  <a:pt x="615" y="522"/>
                </a:lnTo>
                <a:lnTo>
                  <a:pt x="607" y="528"/>
                </a:lnTo>
                <a:lnTo>
                  <a:pt x="599" y="535"/>
                </a:lnTo>
                <a:lnTo>
                  <a:pt x="578" y="557"/>
                </a:lnTo>
                <a:lnTo>
                  <a:pt x="543" y="526"/>
                </a:lnTo>
                <a:lnTo>
                  <a:pt x="507" y="495"/>
                </a:lnTo>
                <a:lnTo>
                  <a:pt x="473" y="463"/>
                </a:lnTo>
                <a:lnTo>
                  <a:pt x="439" y="430"/>
                </a:lnTo>
                <a:lnTo>
                  <a:pt x="406" y="396"/>
                </a:lnTo>
                <a:lnTo>
                  <a:pt x="374" y="361"/>
                </a:lnTo>
                <a:lnTo>
                  <a:pt x="343" y="327"/>
                </a:lnTo>
                <a:lnTo>
                  <a:pt x="313" y="292"/>
                </a:lnTo>
                <a:lnTo>
                  <a:pt x="334" y="269"/>
                </a:lnTo>
                <a:lnTo>
                  <a:pt x="342" y="262"/>
                </a:lnTo>
                <a:lnTo>
                  <a:pt x="347" y="253"/>
                </a:lnTo>
                <a:lnTo>
                  <a:pt x="352" y="245"/>
                </a:lnTo>
                <a:lnTo>
                  <a:pt x="357" y="235"/>
                </a:lnTo>
                <a:lnTo>
                  <a:pt x="360" y="226"/>
                </a:lnTo>
                <a:lnTo>
                  <a:pt x="363" y="217"/>
                </a:lnTo>
                <a:lnTo>
                  <a:pt x="364" y="206"/>
                </a:lnTo>
                <a:lnTo>
                  <a:pt x="364" y="196"/>
                </a:lnTo>
                <a:lnTo>
                  <a:pt x="364" y="187"/>
                </a:lnTo>
                <a:lnTo>
                  <a:pt x="363" y="177"/>
                </a:lnTo>
                <a:lnTo>
                  <a:pt x="360" y="168"/>
                </a:lnTo>
                <a:lnTo>
                  <a:pt x="357" y="158"/>
                </a:lnTo>
                <a:lnTo>
                  <a:pt x="352" y="148"/>
                </a:lnTo>
                <a:lnTo>
                  <a:pt x="347" y="140"/>
                </a:lnTo>
                <a:lnTo>
                  <a:pt x="342" y="131"/>
                </a:lnTo>
                <a:lnTo>
                  <a:pt x="334" y="124"/>
                </a:lnTo>
                <a:lnTo>
                  <a:pt x="241" y="30"/>
                </a:lnTo>
                <a:lnTo>
                  <a:pt x="232" y="23"/>
                </a:lnTo>
                <a:lnTo>
                  <a:pt x="225" y="17"/>
                </a:lnTo>
                <a:lnTo>
                  <a:pt x="216" y="12"/>
                </a:lnTo>
                <a:lnTo>
                  <a:pt x="207" y="8"/>
                </a:lnTo>
                <a:lnTo>
                  <a:pt x="197" y="4"/>
                </a:lnTo>
                <a:lnTo>
                  <a:pt x="187" y="2"/>
                </a:lnTo>
                <a:lnTo>
                  <a:pt x="178" y="1"/>
                </a:lnTo>
                <a:lnTo>
                  <a:pt x="167" y="0"/>
                </a:lnTo>
                <a:lnTo>
                  <a:pt x="158" y="1"/>
                </a:lnTo>
                <a:lnTo>
                  <a:pt x="147" y="2"/>
                </a:lnTo>
                <a:lnTo>
                  <a:pt x="137" y="4"/>
                </a:lnTo>
                <a:lnTo>
                  <a:pt x="128" y="8"/>
                </a:lnTo>
                <a:lnTo>
                  <a:pt x="119" y="12"/>
                </a:lnTo>
                <a:lnTo>
                  <a:pt x="110" y="17"/>
                </a:lnTo>
                <a:lnTo>
                  <a:pt x="102" y="23"/>
                </a:lnTo>
                <a:lnTo>
                  <a:pt x="94" y="30"/>
                </a:lnTo>
                <a:lnTo>
                  <a:pt x="43" y="81"/>
                </a:lnTo>
                <a:lnTo>
                  <a:pt x="35" y="90"/>
                </a:lnTo>
                <a:lnTo>
                  <a:pt x="27" y="101"/>
                </a:lnTo>
                <a:lnTo>
                  <a:pt x="20" y="112"/>
                </a:lnTo>
                <a:lnTo>
                  <a:pt x="14" y="123"/>
                </a:lnTo>
                <a:lnTo>
                  <a:pt x="9" y="134"/>
                </a:lnTo>
                <a:lnTo>
                  <a:pt x="6" y="146"/>
                </a:lnTo>
                <a:lnTo>
                  <a:pt x="2" y="159"/>
                </a:lnTo>
                <a:lnTo>
                  <a:pt x="1" y="171"/>
                </a:lnTo>
                <a:lnTo>
                  <a:pt x="0" y="184"/>
                </a:lnTo>
                <a:lnTo>
                  <a:pt x="0" y="195"/>
                </a:lnTo>
                <a:lnTo>
                  <a:pt x="2" y="208"/>
                </a:lnTo>
                <a:lnTo>
                  <a:pt x="5" y="220"/>
                </a:lnTo>
                <a:lnTo>
                  <a:pt x="8" y="233"/>
                </a:lnTo>
                <a:lnTo>
                  <a:pt x="12" y="245"/>
                </a:lnTo>
                <a:lnTo>
                  <a:pt x="18" y="255"/>
                </a:lnTo>
                <a:lnTo>
                  <a:pt x="25" y="267"/>
                </a:lnTo>
                <a:lnTo>
                  <a:pt x="54" y="309"/>
                </a:lnTo>
                <a:lnTo>
                  <a:pt x="84" y="350"/>
                </a:lnTo>
                <a:lnTo>
                  <a:pt x="115" y="392"/>
                </a:lnTo>
                <a:lnTo>
                  <a:pt x="147" y="432"/>
                </a:lnTo>
                <a:lnTo>
                  <a:pt x="180" y="471"/>
                </a:lnTo>
                <a:lnTo>
                  <a:pt x="213" y="510"/>
                </a:lnTo>
                <a:lnTo>
                  <a:pt x="248" y="547"/>
                </a:lnTo>
                <a:lnTo>
                  <a:pt x="285" y="585"/>
                </a:lnTo>
                <a:lnTo>
                  <a:pt x="321" y="620"/>
                </a:lnTo>
                <a:lnTo>
                  <a:pt x="360" y="655"/>
                </a:lnTo>
                <a:lnTo>
                  <a:pt x="398" y="690"/>
                </a:lnTo>
                <a:lnTo>
                  <a:pt x="438" y="723"/>
                </a:lnTo>
                <a:lnTo>
                  <a:pt x="477" y="755"/>
                </a:lnTo>
                <a:lnTo>
                  <a:pt x="518" y="786"/>
                </a:lnTo>
                <a:lnTo>
                  <a:pt x="560" y="816"/>
                </a:lnTo>
                <a:lnTo>
                  <a:pt x="603" y="845"/>
                </a:lnTo>
                <a:lnTo>
                  <a:pt x="612" y="850"/>
                </a:lnTo>
                <a:lnTo>
                  <a:pt x="621" y="855"/>
                </a:lnTo>
                <a:lnTo>
                  <a:pt x="631" y="860"/>
                </a:lnTo>
                <a:lnTo>
                  <a:pt x="641" y="863"/>
                </a:lnTo>
                <a:lnTo>
                  <a:pt x="652" y="865"/>
                </a:lnTo>
                <a:lnTo>
                  <a:pt x="662" y="867"/>
                </a:lnTo>
                <a:lnTo>
                  <a:pt x="673" y="868"/>
                </a:lnTo>
                <a:lnTo>
                  <a:pt x="684" y="869"/>
                </a:lnTo>
                <a:lnTo>
                  <a:pt x="699" y="868"/>
                </a:lnTo>
                <a:lnTo>
                  <a:pt x="713" y="866"/>
                </a:lnTo>
                <a:lnTo>
                  <a:pt x="727" y="863"/>
                </a:lnTo>
                <a:lnTo>
                  <a:pt x="741" y="857"/>
                </a:lnTo>
                <a:lnTo>
                  <a:pt x="753" y="852"/>
                </a:lnTo>
                <a:lnTo>
                  <a:pt x="765" y="845"/>
                </a:lnTo>
                <a:lnTo>
                  <a:pt x="777" y="836"/>
                </a:lnTo>
                <a:lnTo>
                  <a:pt x="788" y="825"/>
                </a:lnTo>
                <a:lnTo>
                  <a:pt x="839" y="774"/>
                </a:lnTo>
                <a:lnTo>
                  <a:pt x="846" y="767"/>
                </a:lnTo>
                <a:lnTo>
                  <a:pt x="852" y="758"/>
                </a:lnTo>
                <a:lnTo>
                  <a:pt x="857" y="749"/>
                </a:lnTo>
                <a:lnTo>
                  <a:pt x="861" y="740"/>
                </a:lnTo>
                <a:lnTo>
                  <a:pt x="865" y="731"/>
                </a:lnTo>
                <a:lnTo>
                  <a:pt x="868" y="722"/>
                </a:lnTo>
                <a:lnTo>
                  <a:pt x="869" y="711"/>
                </a:lnTo>
                <a:lnTo>
                  <a:pt x="869" y="701"/>
                </a:lnTo>
                <a:lnTo>
                  <a:pt x="869" y="692"/>
                </a:lnTo>
                <a:lnTo>
                  <a:pt x="868" y="682"/>
                </a:lnTo>
                <a:lnTo>
                  <a:pt x="865" y="672"/>
                </a:lnTo>
                <a:lnTo>
                  <a:pt x="861" y="663"/>
                </a:lnTo>
                <a:lnTo>
                  <a:pt x="857" y="653"/>
                </a:lnTo>
                <a:lnTo>
                  <a:pt x="852" y="645"/>
                </a:lnTo>
                <a:lnTo>
                  <a:pt x="846" y="636"/>
                </a:lnTo>
                <a:lnTo>
                  <a:pt x="839" y="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p:cNvSpPr>
            <a:spLocks noGrp="1"/>
          </p:cNvSpPr>
          <p:nvPr>
            <p:ph type="sldNum" sz="quarter" idx="12"/>
          </p:nvPr>
        </p:nvSpPr>
        <p:spPr/>
        <p:txBody>
          <a:bodyPr/>
          <a:lstStyle/>
          <a:p>
            <a:fld id="{DE156FE7-4276-48C2-8D29-2DA35A3BAE26}" type="slidenum">
              <a:rPr lang="en-US" smtClean="0"/>
              <a:t>8</a:t>
            </a:fld>
            <a:endParaRPr lang="en-US"/>
          </a:p>
        </p:txBody>
      </p:sp>
    </p:spTree>
    <p:extLst>
      <p:ext uri="{BB962C8B-B14F-4D97-AF65-F5344CB8AC3E}">
        <p14:creationId xmlns:p14="http://schemas.microsoft.com/office/powerpoint/2010/main" val="729662783"/>
      </p:ext>
    </p:extLst>
  </p:cSld>
  <p:clrMapOvr>
    <a:masterClrMapping/>
  </p:clrMapOvr>
  <p:transition spd="med">
    <p:pull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51989F7-CCBB-45A3-B12D-CC1EC859A619}"/>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27867" b="27867"/>
          <a:stretch>
            <a:fillRect/>
          </a:stretch>
        </p:blipFill>
        <p:spPr>
          <a:solidFill>
            <a:schemeClr val="bg1">
              <a:lumMod val="85000"/>
            </a:schemeClr>
          </a:solidFill>
        </p:spPr>
      </p:pic>
      <p:pic>
        <p:nvPicPr>
          <p:cNvPr id="12" name="Picture Placeholder 11">
            <a:extLst>
              <a:ext uri="{FF2B5EF4-FFF2-40B4-BE49-F238E27FC236}">
                <a16:creationId xmlns:a16="http://schemas.microsoft.com/office/drawing/2014/main" id="{6ACE163C-919D-4E18-9DF2-1A004417CF5A}"/>
              </a:ext>
            </a:extLst>
          </p:cNvPr>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t="177" b="177"/>
          <a:stretch>
            <a:fillRect/>
          </a:stretch>
        </p:blipFill>
        <p:spPr>
          <a:solidFill>
            <a:schemeClr val="bg1">
              <a:lumMod val="85000"/>
            </a:schemeClr>
          </a:solidFill>
        </p:spPr>
      </p:pic>
      <p:pic>
        <p:nvPicPr>
          <p:cNvPr id="14" name="Picture Placeholder 13">
            <a:extLst>
              <a:ext uri="{FF2B5EF4-FFF2-40B4-BE49-F238E27FC236}">
                <a16:creationId xmlns:a16="http://schemas.microsoft.com/office/drawing/2014/main" id="{25E872CC-79BB-4B8C-8EB7-2772B9F8F1AD}"/>
              </a:ext>
            </a:extLst>
          </p:cNvPr>
          <p:cNvPicPr>
            <a:picLocks noGrp="1" noChangeAspect="1"/>
          </p:cNvPicPr>
          <p:nvPr>
            <p:ph type="pic" sz="quarter" idx="15"/>
          </p:nvPr>
        </p:nvPicPr>
        <p:blipFill>
          <a:blip r:embed="rId6" cstate="print">
            <a:extLst>
              <a:ext uri="{28A0092B-C50C-407E-A947-70E740481C1C}">
                <a14:useLocalDpi xmlns:a14="http://schemas.microsoft.com/office/drawing/2010/main" val="0"/>
              </a:ext>
            </a:extLst>
          </a:blip>
          <a:srcRect t="123" b="123"/>
          <a:stretch>
            <a:fillRect/>
          </a:stretch>
        </p:blipFill>
        <p:spPr>
          <a:solidFill>
            <a:schemeClr val="bg1">
              <a:lumMod val="85000"/>
            </a:schemeClr>
          </a:solidFill>
        </p:spPr>
      </p:pic>
      <p:sp>
        <p:nvSpPr>
          <p:cNvPr id="26" name="Rectangle 25"/>
          <p:cNvSpPr/>
          <p:nvPr>
            <p:custDataLst>
              <p:tags r:id="rId1"/>
            </p:custDataLst>
          </p:nvPr>
        </p:nvSpPr>
        <p:spPr>
          <a:xfrm>
            <a:off x="3410362" y="3280005"/>
            <a:ext cx="5371276" cy="5944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WHAT</a:t>
            </a:r>
            <a:r>
              <a:rPr lang="en-US" sz="3200" dirty="0">
                <a:solidFill>
                  <a:schemeClr val="tx1">
                    <a:lumMod val="75000"/>
                    <a:lumOff val="25000"/>
                  </a:schemeClr>
                </a:solidFill>
                <a:latin typeface="Montserrat" panose="00000500000000000000" pitchFamily="2" charset="0"/>
                <a:ea typeface="Source Sans Pro" panose="020B0503030403020204" pitchFamily="34" charset="0"/>
                <a:cs typeface="Lato Light" panose="020F0402020204030203" pitchFamily="34" charset="0"/>
              </a:rPr>
              <a:t> WE DO ?</a:t>
            </a:r>
          </a:p>
        </p:txBody>
      </p:sp>
      <p:sp>
        <p:nvSpPr>
          <p:cNvPr id="27" name="Rectangle 26">
            <a:extLst>
              <a:ext uri="{FF2B5EF4-FFF2-40B4-BE49-F238E27FC236}">
                <a16:creationId xmlns:a16="http://schemas.microsoft.com/office/drawing/2014/main" id="{5EEF7814-119F-4296-8258-8671B9E78317}"/>
              </a:ext>
            </a:extLst>
          </p:cNvPr>
          <p:cNvSpPr/>
          <p:nvPr>
            <p:custDataLst>
              <p:tags r:id="rId2"/>
            </p:custDataLst>
          </p:nvPr>
        </p:nvSpPr>
        <p:spPr>
          <a:xfrm>
            <a:off x="3840480" y="3828169"/>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lumMod val="50000"/>
                  </a:schemeClr>
                </a:solidFill>
                <a:latin typeface="+mj-lt"/>
                <a:ea typeface="Open Sans" panose="020B0606030504020204" pitchFamily="34" charset="0"/>
                <a:cs typeface="Open Sans" panose="020B0606030504020204" pitchFamily="34" charset="0"/>
              </a:rPr>
              <a:t>Put Your Great Subtitle Here</a:t>
            </a:r>
          </a:p>
        </p:txBody>
      </p:sp>
      <p:sp>
        <p:nvSpPr>
          <p:cNvPr id="9" name="Oval 8"/>
          <p:cNvSpPr/>
          <p:nvPr/>
        </p:nvSpPr>
        <p:spPr>
          <a:xfrm>
            <a:off x="816869" y="4819295"/>
            <a:ext cx="1016004" cy="101600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022982" y="5208237"/>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1" name="Rectangle 10"/>
          <p:cNvSpPr/>
          <p:nvPr/>
        </p:nvSpPr>
        <p:spPr>
          <a:xfrm>
            <a:off x="2022982" y="4882038"/>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Lorem </a:t>
            </a:r>
            <a:r>
              <a:rPr lang="en-US" sz="1600"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psum</a:t>
            </a:r>
          </a:p>
        </p:txBody>
      </p:sp>
      <p:sp>
        <p:nvSpPr>
          <p:cNvPr id="15" name="Oval 14"/>
          <p:cNvSpPr/>
          <p:nvPr/>
        </p:nvSpPr>
        <p:spPr>
          <a:xfrm>
            <a:off x="4696024" y="4819295"/>
            <a:ext cx="1016004" cy="101600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902137" y="5208237"/>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7" name="Rectangle 16"/>
          <p:cNvSpPr/>
          <p:nvPr/>
        </p:nvSpPr>
        <p:spPr>
          <a:xfrm>
            <a:off x="5902137" y="4882038"/>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Lorem </a:t>
            </a:r>
            <a:r>
              <a:rPr lang="en-US" sz="1600"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psum</a:t>
            </a:r>
          </a:p>
        </p:txBody>
      </p:sp>
      <p:sp>
        <p:nvSpPr>
          <p:cNvPr id="18" name="Oval 17"/>
          <p:cNvSpPr/>
          <p:nvPr/>
        </p:nvSpPr>
        <p:spPr>
          <a:xfrm>
            <a:off x="8481605" y="4819295"/>
            <a:ext cx="1016004" cy="1016000"/>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9687718" y="5208237"/>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20" name="Rectangle 19"/>
          <p:cNvSpPr/>
          <p:nvPr/>
        </p:nvSpPr>
        <p:spPr>
          <a:xfrm>
            <a:off x="9687718" y="4882038"/>
            <a:ext cx="1696361" cy="363099"/>
          </a:xfrm>
          <a:prstGeom prst="rect">
            <a:avLst/>
          </a:prstGeom>
        </p:spPr>
        <p:txBody>
          <a:bodyPr vert="horz" lIns="91440" tIns="45720" rIns="91440" bIns="45720" rtlCol="0" anchor="ctr">
            <a:noAutofit/>
          </a:bodyPr>
          <a:lstStyle/>
          <a:p>
            <a:pPr>
              <a:spcBef>
                <a:spcPct val="0"/>
              </a:spcBef>
            </a:pPr>
            <a:r>
              <a:rPr lang="en-US" sz="1600" b="1"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Lorem </a:t>
            </a:r>
            <a:r>
              <a:rPr lang="en-US" sz="1600" spc="-150" noProof="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psum</a:t>
            </a:r>
          </a:p>
        </p:txBody>
      </p:sp>
      <p:grpSp>
        <p:nvGrpSpPr>
          <p:cNvPr id="21" name="Group 20"/>
          <p:cNvGrpSpPr/>
          <p:nvPr/>
        </p:nvGrpSpPr>
        <p:grpSpPr>
          <a:xfrm>
            <a:off x="8774563" y="5098776"/>
            <a:ext cx="430088" cy="430088"/>
            <a:chOff x="4319588" y="2492375"/>
            <a:chExt cx="287338" cy="287338"/>
          </a:xfrm>
          <a:solidFill>
            <a:schemeClr val="bg1"/>
          </a:solidFill>
        </p:grpSpPr>
        <p:sp>
          <p:nvSpPr>
            <p:cNvPr id="22" name="Freeform 372"/>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73"/>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 name="Freeform 3053"/>
          <p:cNvSpPr>
            <a:spLocks/>
          </p:cNvSpPr>
          <p:nvPr/>
        </p:nvSpPr>
        <p:spPr bwMode="auto">
          <a:xfrm>
            <a:off x="1152782" y="5109030"/>
            <a:ext cx="413456" cy="368306"/>
          </a:xfrm>
          <a:custGeom>
            <a:avLst/>
            <a:gdLst>
              <a:gd name="T0" fmla="*/ 694 w 695"/>
              <a:gd name="T1" fmla="*/ 285 h 621"/>
              <a:gd name="T2" fmla="*/ 684 w 695"/>
              <a:gd name="T3" fmla="*/ 264 h 621"/>
              <a:gd name="T4" fmla="*/ 658 w 695"/>
              <a:gd name="T5" fmla="*/ 242 h 621"/>
              <a:gd name="T6" fmla="*/ 641 w 695"/>
              <a:gd name="T7" fmla="*/ 238 h 621"/>
              <a:gd name="T8" fmla="*/ 417 w 695"/>
              <a:gd name="T9" fmla="*/ 207 h 621"/>
              <a:gd name="T10" fmla="*/ 430 w 695"/>
              <a:gd name="T11" fmla="*/ 122 h 621"/>
              <a:gd name="T12" fmla="*/ 431 w 695"/>
              <a:gd name="T13" fmla="*/ 71 h 621"/>
              <a:gd name="T14" fmla="*/ 426 w 695"/>
              <a:gd name="T15" fmla="*/ 45 h 621"/>
              <a:gd name="T16" fmla="*/ 417 w 695"/>
              <a:gd name="T17" fmla="*/ 25 h 621"/>
              <a:gd name="T18" fmla="*/ 404 w 695"/>
              <a:gd name="T19" fmla="*/ 10 h 621"/>
              <a:gd name="T20" fmla="*/ 388 w 695"/>
              <a:gd name="T21" fmla="*/ 2 h 621"/>
              <a:gd name="T22" fmla="*/ 371 w 695"/>
              <a:gd name="T23" fmla="*/ 0 h 621"/>
              <a:gd name="T24" fmla="*/ 344 w 695"/>
              <a:gd name="T25" fmla="*/ 7 h 621"/>
              <a:gd name="T26" fmla="*/ 327 w 695"/>
              <a:gd name="T27" fmla="*/ 27 h 621"/>
              <a:gd name="T28" fmla="*/ 323 w 695"/>
              <a:gd name="T29" fmla="*/ 66 h 621"/>
              <a:gd name="T30" fmla="*/ 306 w 695"/>
              <a:gd name="T31" fmla="*/ 129 h 621"/>
              <a:gd name="T32" fmla="*/ 272 w 695"/>
              <a:gd name="T33" fmla="*/ 189 h 621"/>
              <a:gd name="T34" fmla="*/ 224 w 695"/>
              <a:gd name="T35" fmla="*/ 238 h 621"/>
              <a:gd name="T36" fmla="*/ 175 w 695"/>
              <a:gd name="T37" fmla="*/ 269 h 621"/>
              <a:gd name="T38" fmla="*/ 142 w 695"/>
              <a:gd name="T39" fmla="*/ 279 h 621"/>
              <a:gd name="T40" fmla="*/ 107 w 695"/>
              <a:gd name="T41" fmla="*/ 285 h 621"/>
              <a:gd name="T42" fmla="*/ 7 w 695"/>
              <a:gd name="T43" fmla="*/ 286 h 621"/>
              <a:gd name="T44" fmla="*/ 0 w 695"/>
              <a:gd name="T45" fmla="*/ 297 h 621"/>
              <a:gd name="T46" fmla="*/ 4 w 695"/>
              <a:gd name="T47" fmla="*/ 570 h 621"/>
              <a:gd name="T48" fmla="*/ 61 w 695"/>
              <a:gd name="T49" fmla="*/ 573 h 621"/>
              <a:gd name="T50" fmla="*/ 166 w 695"/>
              <a:gd name="T51" fmla="*/ 583 h 621"/>
              <a:gd name="T52" fmla="*/ 229 w 695"/>
              <a:gd name="T53" fmla="*/ 597 h 621"/>
              <a:gd name="T54" fmla="*/ 292 w 695"/>
              <a:gd name="T55" fmla="*/ 615 h 621"/>
              <a:gd name="T56" fmla="*/ 337 w 695"/>
              <a:gd name="T57" fmla="*/ 621 h 621"/>
              <a:gd name="T58" fmla="*/ 558 w 695"/>
              <a:gd name="T59" fmla="*/ 619 h 621"/>
              <a:gd name="T60" fmla="*/ 582 w 695"/>
              <a:gd name="T61" fmla="*/ 609 h 621"/>
              <a:gd name="T62" fmla="*/ 596 w 695"/>
              <a:gd name="T63" fmla="*/ 589 h 621"/>
              <a:gd name="T64" fmla="*/ 600 w 695"/>
              <a:gd name="T65" fmla="*/ 573 h 621"/>
              <a:gd name="T66" fmla="*/ 594 w 695"/>
              <a:gd name="T67" fmla="*/ 543 h 621"/>
              <a:gd name="T68" fmla="*/ 608 w 695"/>
              <a:gd name="T69" fmla="*/ 529 h 621"/>
              <a:gd name="T70" fmla="*/ 628 w 695"/>
              <a:gd name="T71" fmla="*/ 509 h 621"/>
              <a:gd name="T72" fmla="*/ 636 w 695"/>
              <a:gd name="T73" fmla="*/ 477 h 621"/>
              <a:gd name="T74" fmla="*/ 631 w 695"/>
              <a:gd name="T75" fmla="*/ 457 h 621"/>
              <a:gd name="T76" fmla="*/ 644 w 695"/>
              <a:gd name="T77" fmla="*/ 442 h 621"/>
              <a:gd name="T78" fmla="*/ 664 w 695"/>
              <a:gd name="T79" fmla="*/ 421 h 621"/>
              <a:gd name="T80" fmla="*/ 671 w 695"/>
              <a:gd name="T81" fmla="*/ 393 h 621"/>
              <a:gd name="T82" fmla="*/ 668 w 695"/>
              <a:gd name="T83" fmla="*/ 378 h 621"/>
              <a:gd name="T84" fmla="*/ 651 w 695"/>
              <a:gd name="T85" fmla="*/ 355 h 621"/>
              <a:gd name="T86" fmla="*/ 676 w 695"/>
              <a:gd name="T87" fmla="*/ 340 h 621"/>
              <a:gd name="T88" fmla="*/ 691 w 695"/>
              <a:gd name="T89" fmla="*/ 316 h 621"/>
              <a:gd name="T90" fmla="*/ 695 w 695"/>
              <a:gd name="T91" fmla="*/ 29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5" h="621">
                <a:moveTo>
                  <a:pt x="695" y="297"/>
                </a:moveTo>
                <a:lnTo>
                  <a:pt x="695" y="291"/>
                </a:lnTo>
                <a:lnTo>
                  <a:pt x="694" y="285"/>
                </a:lnTo>
                <a:lnTo>
                  <a:pt x="693" y="280"/>
                </a:lnTo>
                <a:lnTo>
                  <a:pt x="690" y="275"/>
                </a:lnTo>
                <a:lnTo>
                  <a:pt x="684" y="264"/>
                </a:lnTo>
                <a:lnTo>
                  <a:pt x="677" y="255"/>
                </a:lnTo>
                <a:lnTo>
                  <a:pt x="668" y="248"/>
                </a:lnTo>
                <a:lnTo>
                  <a:pt x="658" y="242"/>
                </a:lnTo>
                <a:lnTo>
                  <a:pt x="652" y="240"/>
                </a:lnTo>
                <a:lnTo>
                  <a:pt x="647" y="239"/>
                </a:lnTo>
                <a:lnTo>
                  <a:pt x="641" y="238"/>
                </a:lnTo>
                <a:lnTo>
                  <a:pt x="636" y="238"/>
                </a:lnTo>
                <a:lnTo>
                  <a:pt x="411" y="238"/>
                </a:lnTo>
                <a:lnTo>
                  <a:pt x="417" y="207"/>
                </a:lnTo>
                <a:lnTo>
                  <a:pt x="424" y="166"/>
                </a:lnTo>
                <a:lnTo>
                  <a:pt x="426" y="144"/>
                </a:lnTo>
                <a:lnTo>
                  <a:pt x="430" y="122"/>
                </a:lnTo>
                <a:lnTo>
                  <a:pt x="431" y="101"/>
                </a:lnTo>
                <a:lnTo>
                  <a:pt x="432" y="82"/>
                </a:lnTo>
                <a:lnTo>
                  <a:pt x="431" y="71"/>
                </a:lnTo>
                <a:lnTo>
                  <a:pt x="430" y="62"/>
                </a:lnTo>
                <a:lnTo>
                  <a:pt x="429" y="53"/>
                </a:lnTo>
                <a:lnTo>
                  <a:pt x="426" y="45"/>
                </a:lnTo>
                <a:lnTo>
                  <a:pt x="424" y="38"/>
                </a:lnTo>
                <a:lnTo>
                  <a:pt x="420" y="31"/>
                </a:lnTo>
                <a:lnTo>
                  <a:pt x="417" y="25"/>
                </a:lnTo>
                <a:lnTo>
                  <a:pt x="413" y="19"/>
                </a:lnTo>
                <a:lnTo>
                  <a:pt x="408" y="14"/>
                </a:lnTo>
                <a:lnTo>
                  <a:pt x="404" y="10"/>
                </a:lnTo>
                <a:lnTo>
                  <a:pt x="399" y="7"/>
                </a:lnTo>
                <a:lnTo>
                  <a:pt x="393" y="5"/>
                </a:lnTo>
                <a:lnTo>
                  <a:pt x="388" y="2"/>
                </a:lnTo>
                <a:lnTo>
                  <a:pt x="382" y="1"/>
                </a:lnTo>
                <a:lnTo>
                  <a:pt x="376" y="0"/>
                </a:lnTo>
                <a:lnTo>
                  <a:pt x="371" y="0"/>
                </a:lnTo>
                <a:lnTo>
                  <a:pt x="361" y="0"/>
                </a:lnTo>
                <a:lnTo>
                  <a:pt x="352" y="3"/>
                </a:lnTo>
                <a:lnTo>
                  <a:pt x="344" y="7"/>
                </a:lnTo>
                <a:lnTo>
                  <a:pt x="337" y="13"/>
                </a:lnTo>
                <a:lnTo>
                  <a:pt x="332" y="20"/>
                </a:lnTo>
                <a:lnTo>
                  <a:pt x="327" y="27"/>
                </a:lnTo>
                <a:lnTo>
                  <a:pt x="325" y="37"/>
                </a:lnTo>
                <a:lnTo>
                  <a:pt x="324" y="46"/>
                </a:lnTo>
                <a:lnTo>
                  <a:pt x="323" y="66"/>
                </a:lnTo>
                <a:lnTo>
                  <a:pt x="319" y="88"/>
                </a:lnTo>
                <a:lnTo>
                  <a:pt x="313" y="108"/>
                </a:lnTo>
                <a:lnTo>
                  <a:pt x="306" y="129"/>
                </a:lnTo>
                <a:lnTo>
                  <a:pt x="297" y="150"/>
                </a:lnTo>
                <a:lnTo>
                  <a:pt x="285" y="170"/>
                </a:lnTo>
                <a:lnTo>
                  <a:pt x="272" y="189"/>
                </a:lnTo>
                <a:lnTo>
                  <a:pt x="257" y="207"/>
                </a:lnTo>
                <a:lnTo>
                  <a:pt x="241" y="223"/>
                </a:lnTo>
                <a:lnTo>
                  <a:pt x="224" y="238"/>
                </a:lnTo>
                <a:lnTo>
                  <a:pt x="205" y="252"/>
                </a:lnTo>
                <a:lnTo>
                  <a:pt x="185" y="263"/>
                </a:lnTo>
                <a:lnTo>
                  <a:pt x="175" y="269"/>
                </a:lnTo>
                <a:lnTo>
                  <a:pt x="164" y="272"/>
                </a:lnTo>
                <a:lnTo>
                  <a:pt x="154" y="277"/>
                </a:lnTo>
                <a:lnTo>
                  <a:pt x="142" y="279"/>
                </a:lnTo>
                <a:lnTo>
                  <a:pt x="131" y="282"/>
                </a:lnTo>
                <a:lnTo>
                  <a:pt x="119" y="284"/>
                </a:lnTo>
                <a:lnTo>
                  <a:pt x="107" y="285"/>
                </a:lnTo>
                <a:lnTo>
                  <a:pt x="97" y="285"/>
                </a:lnTo>
                <a:lnTo>
                  <a:pt x="12" y="285"/>
                </a:lnTo>
                <a:lnTo>
                  <a:pt x="7" y="286"/>
                </a:lnTo>
                <a:lnTo>
                  <a:pt x="4" y="289"/>
                </a:lnTo>
                <a:lnTo>
                  <a:pt x="2" y="292"/>
                </a:lnTo>
                <a:lnTo>
                  <a:pt x="0" y="297"/>
                </a:lnTo>
                <a:lnTo>
                  <a:pt x="0" y="561"/>
                </a:lnTo>
                <a:lnTo>
                  <a:pt x="2" y="566"/>
                </a:lnTo>
                <a:lnTo>
                  <a:pt x="4" y="570"/>
                </a:lnTo>
                <a:lnTo>
                  <a:pt x="7" y="572"/>
                </a:lnTo>
                <a:lnTo>
                  <a:pt x="12" y="573"/>
                </a:lnTo>
                <a:lnTo>
                  <a:pt x="61" y="573"/>
                </a:lnTo>
                <a:lnTo>
                  <a:pt x="101" y="575"/>
                </a:lnTo>
                <a:lnTo>
                  <a:pt x="136" y="579"/>
                </a:lnTo>
                <a:lnTo>
                  <a:pt x="166" y="583"/>
                </a:lnTo>
                <a:lnTo>
                  <a:pt x="191" y="587"/>
                </a:lnTo>
                <a:lnTo>
                  <a:pt x="211" y="592"/>
                </a:lnTo>
                <a:lnTo>
                  <a:pt x="229" y="597"/>
                </a:lnTo>
                <a:lnTo>
                  <a:pt x="245" y="603"/>
                </a:lnTo>
                <a:lnTo>
                  <a:pt x="268" y="609"/>
                </a:lnTo>
                <a:lnTo>
                  <a:pt x="292" y="615"/>
                </a:lnTo>
                <a:lnTo>
                  <a:pt x="306" y="617"/>
                </a:lnTo>
                <a:lnTo>
                  <a:pt x="320" y="619"/>
                </a:lnTo>
                <a:lnTo>
                  <a:pt x="337" y="621"/>
                </a:lnTo>
                <a:lnTo>
                  <a:pt x="355" y="621"/>
                </a:lnTo>
                <a:lnTo>
                  <a:pt x="551" y="621"/>
                </a:lnTo>
                <a:lnTo>
                  <a:pt x="558" y="619"/>
                </a:lnTo>
                <a:lnTo>
                  <a:pt x="567" y="618"/>
                </a:lnTo>
                <a:lnTo>
                  <a:pt x="574" y="614"/>
                </a:lnTo>
                <a:lnTo>
                  <a:pt x="582" y="609"/>
                </a:lnTo>
                <a:lnTo>
                  <a:pt x="589" y="602"/>
                </a:lnTo>
                <a:lnTo>
                  <a:pt x="594" y="593"/>
                </a:lnTo>
                <a:lnTo>
                  <a:pt x="596" y="589"/>
                </a:lnTo>
                <a:lnTo>
                  <a:pt x="597" y="584"/>
                </a:lnTo>
                <a:lnTo>
                  <a:pt x="599" y="579"/>
                </a:lnTo>
                <a:lnTo>
                  <a:pt x="600" y="573"/>
                </a:lnTo>
                <a:lnTo>
                  <a:pt x="599" y="562"/>
                </a:lnTo>
                <a:lnTo>
                  <a:pt x="596" y="553"/>
                </a:lnTo>
                <a:lnTo>
                  <a:pt x="594" y="543"/>
                </a:lnTo>
                <a:lnTo>
                  <a:pt x="589" y="536"/>
                </a:lnTo>
                <a:lnTo>
                  <a:pt x="600" y="533"/>
                </a:lnTo>
                <a:lnTo>
                  <a:pt x="608" y="529"/>
                </a:lnTo>
                <a:lnTo>
                  <a:pt x="616" y="523"/>
                </a:lnTo>
                <a:lnTo>
                  <a:pt x="624" y="517"/>
                </a:lnTo>
                <a:lnTo>
                  <a:pt x="628" y="509"/>
                </a:lnTo>
                <a:lnTo>
                  <a:pt x="632" y="499"/>
                </a:lnTo>
                <a:lnTo>
                  <a:pt x="634" y="489"/>
                </a:lnTo>
                <a:lnTo>
                  <a:pt x="636" y="477"/>
                </a:lnTo>
                <a:lnTo>
                  <a:pt x="634" y="470"/>
                </a:lnTo>
                <a:lnTo>
                  <a:pt x="633" y="462"/>
                </a:lnTo>
                <a:lnTo>
                  <a:pt x="631" y="457"/>
                </a:lnTo>
                <a:lnTo>
                  <a:pt x="627" y="451"/>
                </a:lnTo>
                <a:lnTo>
                  <a:pt x="636" y="447"/>
                </a:lnTo>
                <a:lnTo>
                  <a:pt x="644" y="442"/>
                </a:lnTo>
                <a:lnTo>
                  <a:pt x="652" y="436"/>
                </a:lnTo>
                <a:lnTo>
                  <a:pt x="658" y="429"/>
                </a:lnTo>
                <a:lnTo>
                  <a:pt x="664" y="421"/>
                </a:lnTo>
                <a:lnTo>
                  <a:pt x="668" y="413"/>
                </a:lnTo>
                <a:lnTo>
                  <a:pt x="670" y="403"/>
                </a:lnTo>
                <a:lnTo>
                  <a:pt x="671" y="393"/>
                </a:lnTo>
                <a:lnTo>
                  <a:pt x="671" y="388"/>
                </a:lnTo>
                <a:lnTo>
                  <a:pt x="670" y="383"/>
                </a:lnTo>
                <a:lnTo>
                  <a:pt x="668" y="378"/>
                </a:lnTo>
                <a:lnTo>
                  <a:pt x="665" y="372"/>
                </a:lnTo>
                <a:lnTo>
                  <a:pt x="659" y="364"/>
                </a:lnTo>
                <a:lnTo>
                  <a:pt x="651" y="355"/>
                </a:lnTo>
                <a:lnTo>
                  <a:pt x="661" y="352"/>
                </a:lnTo>
                <a:lnTo>
                  <a:pt x="669" y="346"/>
                </a:lnTo>
                <a:lnTo>
                  <a:pt x="676" y="340"/>
                </a:lnTo>
                <a:lnTo>
                  <a:pt x="682" y="333"/>
                </a:lnTo>
                <a:lnTo>
                  <a:pt x="688" y="326"/>
                </a:lnTo>
                <a:lnTo>
                  <a:pt x="691" y="316"/>
                </a:lnTo>
                <a:lnTo>
                  <a:pt x="694" y="307"/>
                </a:lnTo>
                <a:lnTo>
                  <a:pt x="695" y="297"/>
                </a:lnTo>
                <a:lnTo>
                  <a:pt x="695" y="2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4413"/>
          <p:cNvSpPr>
            <a:spLocks noEditPoints="1"/>
          </p:cNvSpPr>
          <p:nvPr/>
        </p:nvSpPr>
        <p:spPr bwMode="auto">
          <a:xfrm>
            <a:off x="5052321" y="5099566"/>
            <a:ext cx="339794" cy="425334"/>
          </a:xfrm>
          <a:custGeom>
            <a:avLst/>
            <a:gdLst>
              <a:gd name="T0" fmla="*/ 505 w 718"/>
              <a:gd name="T1" fmla="*/ 836 h 896"/>
              <a:gd name="T2" fmla="*/ 196 w 718"/>
              <a:gd name="T3" fmla="*/ 834 h 896"/>
              <a:gd name="T4" fmla="*/ 189 w 718"/>
              <a:gd name="T5" fmla="*/ 826 h 896"/>
              <a:gd name="T6" fmla="*/ 190 w 718"/>
              <a:gd name="T7" fmla="*/ 814 h 896"/>
              <a:gd name="T8" fmla="*/ 346 w 718"/>
              <a:gd name="T9" fmla="*/ 549 h 896"/>
              <a:gd name="T10" fmla="*/ 358 w 718"/>
              <a:gd name="T11" fmla="*/ 548 h 896"/>
              <a:gd name="T12" fmla="*/ 367 w 718"/>
              <a:gd name="T13" fmla="*/ 554 h 896"/>
              <a:gd name="T14" fmla="*/ 520 w 718"/>
              <a:gd name="T15" fmla="*/ 822 h 896"/>
              <a:gd name="T16" fmla="*/ 518 w 718"/>
              <a:gd name="T17" fmla="*/ 830 h 896"/>
              <a:gd name="T18" fmla="*/ 511 w 718"/>
              <a:gd name="T19" fmla="*/ 835 h 896"/>
              <a:gd name="T20" fmla="*/ 247 w 718"/>
              <a:gd name="T21" fmla="*/ 186 h 896"/>
              <a:gd name="T22" fmla="*/ 257 w 718"/>
              <a:gd name="T23" fmla="*/ 180 h 896"/>
              <a:gd name="T24" fmla="*/ 452 w 718"/>
              <a:gd name="T25" fmla="*/ 180 h 896"/>
              <a:gd name="T26" fmla="*/ 461 w 718"/>
              <a:gd name="T27" fmla="*/ 186 h 896"/>
              <a:gd name="T28" fmla="*/ 463 w 718"/>
              <a:gd name="T29" fmla="*/ 197 h 896"/>
              <a:gd name="T30" fmla="*/ 366 w 718"/>
              <a:gd name="T31" fmla="*/ 420 h 896"/>
              <a:gd name="T32" fmla="*/ 354 w 718"/>
              <a:gd name="T33" fmla="*/ 426 h 896"/>
              <a:gd name="T34" fmla="*/ 343 w 718"/>
              <a:gd name="T35" fmla="*/ 420 h 896"/>
              <a:gd name="T36" fmla="*/ 245 w 718"/>
              <a:gd name="T37" fmla="*/ 197 h 896"/>
              <a:gd name="T38" fmla="*/ 247 w 718"/>
              <a:gd name="T39" fmla="*/ 186 h 896"/>
              <a:gd name="T40" fmla="*/ 465 w 718"/>
              <a:gd name="T41" fmla="*/ 448 h 896"/>
              <a:gd name="T42" fmla="*/ 706 w 718"/>
              <a:gd name="T43" fmla="*/ 29 h 896"/>
              <a:gd name="T44" fmla="*/ 713 w 718"/>
              <a:gd name="T45" fmla="*/ 26 h 896"/>
              <a:gd name="T46" fmla="*/ 718 w 718"/>
              <a:gd name="T47" fmla="*/ 17 h 896"/>
              <a:gd name="T48" fmla="*/ 717 w 718"/>
              <a:gd name="T49" fmla="*/ 8 h 896"/>
              <a:gd name="T50" fmla="*/ 711 w 718"/>
              <a:gd name="T51" fmla="*/ 2 h 896"/>
              <a:gd name="T52" fmla="*/ 703 w 718"/>
              <a:gd name="T53" fmla="*/ 0 h 896"/>
              <a:gd name="T54" fmla="*/ 71 w 718"/>
              <a:gd name="T55" fmla="*/ 0 h 896"/>
              <a:gd name="T56" fmla="*/ 9 w 718"/>
              <a:gd name="T57" fmla="*/ 1 h 896"/>
              <a:gd name="T58" fmla="*/ 2 w 718"/>
              <a:gd name="T59" fmla="*/ 6 h 896"/>
              <a:gd name="T60" fmla="*/ 0 w 718"/>
              <a:gd name="T61" fmla="*/ 14 h 896"/>
              <a:gd name="T62" fmla="*/ 2 w 718"/>
              <a:gd name="T63" fmla="*/ 23 h 896"/>
              <a:gd name="T64" fmla="*/ 9 w 718"/>
              <a:gd name="T65" fmla="*/ 28 h 896"/>
              <a:gd name="T66" fmla="*/ 62 w 718"/>
              <a:gd name="T67" fmla="*/ 29 h 896"/>
              <a:gd name="T68" fmla="*/ 15 w 718"/>
              <a:gd name="T69" fmla="*/ 866 h 896"/>
              <a:gd name="T70" fmla="*/ 6 w 718"/>
              <a:gd name="T71" fmla="*/ 870 h 896"/>
              <a:gd name="T72" fmla="*/ 1 w 718"/>
              <a:gd name="T73" fmla="*/ 876 h 896"/>
              <a:gd name="T74" fmla="*/ 0 w 718"/>
              <a:gd name="T75" fmla="*/ 885 h 896"/>
              <a:gd name="T76" fmla="*/ 4 w 718"/>
              <a:gd name="T77" fmla="*/ 892 h 896"/>
              <a:gd name="T78" fmla="*/ 12 w 718"/>
              <a:gd name="T79" fmla="*/ 896 h 896"/>
              <a:gd name="T80" fmla="*/ 637 w 718"/>
              <a:gd name="T81" fmla="*/ 896 h 896"/>
              <a:gd name="T82" fmla="*/ 708 w 718"/>
              <a:gd name="T83" fmla="*/ 895 h 896"/>
              <a:gd name="T84" fmla="*/ 716 w 718"/>
              <a:gd name="T85" fmla="*/ 890 h 896"/>
              <a:gd name="T86" fmla="*/ 718 w 718"/>
              <a:gd name="T87" fmla="*/ 881 h 896"/>
              <a:gd name="T88" fmla="*/ 716 w 718"/>
              <a:gd name="T89" fmla="*/ 874 h 896"/>
              <a:gd name="T90" fmla="*/ 708 w 718"/>
              <a:gd name="T91" fmla="*/ 868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8" h="896">
                <a:moveTo>
                  <a:pt x="506" y="836"/>
                </a:moveTo>
                <a:lnTo>
                  <a:pt x="505" y="836"/>
                </a:lnTo>
                <a:lnTo>
                  <a:pt x="505" y="836"/>
                </a:lnTo>
                <a:lnTo>
                  <a:pt x="203" y="836"/>
                </a:lnTo>
                <a:lnTo>
                  <a:pt x="200" y="836"/>
                </a:lnTo>
                <a:lnTo>
                  <a:pt x="196" y="834"/>
                </a:lnTo>
                <a:lnTo>
                  <a:pt x="192" y="832"/>
                </a:lnTo>
                <a:lnTo>
                  <a:pt x="190" y="829"/>
                </a:lnTo>
                <a:lnTo>
                  <a:pt x="189" y="826"/>
                </a:lnTo>
                <a:lnTo>
                  <a:pt x="188" y="822"/>
                </a:lnTo>
                <a:lnTo>
                  <a:pt x="189" y="818"/>
                </a:lnTo>
                <a:lnTo>
                  <a:pt x="190" y="814"/>
                </a:lnTo>
                <a:lnTo>
                  <a:pt x="341" y="554"/>
                </a:lnTo>
                <a:lnTo>
                  <a:pt x="343" y="551"/>
                </a:lnTo>
                <a:lnTo>
                  <a:pt x="346" y="549"/>
                </a:lnTo>
                <a:lnTo>
                  <a:pt x="351" y="548"/>
                </a:lnTo>
                <a:lnTo>
                  <a:pt x="354" y="548"/>
                </a:lnTo>
                <a:lnTo>
                  <a:pt x="358" y="548"/>
                </a:lnTo>
                <a:lnTo>
                  <a:pt x="361" y="549"/>
                </a:lnTo>
                <a:lnTo>
                  <a:pt x="365" y="551"/>
                </a:lnTo>
                <a:lnTo>
                  <a:pt x="367" y="554"/>
                </a:lnTo>
                <a:lnTo>
                  <a:pt x="517" y="813"/>
                </a:lnTo>
                <a:lnTo>
                  <a:pt x="520" y="817"/>
                </a:lnTo>
                <a:lnTo>
                  <a:pt x="520" y="822"/>
                </a:lnTo>
                <a:lnTo>
                  <a:pt x="520" y="825"/>
                </a:lnTo>
                <a:lnTo>
                  <a:pt x="519" y="828"/>
                </a:lnTo>
                <a:lnTo>
                  <a:pt x="518" y="830"/>
                </a:lnTo>
                <a:lnTo>
                  <a:pt x="516" y="832"/>
                </a:lnTo>
                <a:lnTo>
                  <a:pt x="513" y="834"/>
                </a:lnTo>
                <a:lnTo>
                  <a:pt x="511" y="835"/>
                </a:lnTo>
                <a:lnTo>
                  <a:pt x="508" y="836"/>
                </a:lnTo>
                <a:lnTo>
                  <a:pt x="506" y="836"/>
                </a:lnTo>
                <a:close/>
                <a:moveTo>
                  <a:pt x="247" y="186"/>
                </a:moveTo>
                <a:lnTo>
                  <a:pt x="250" y="183"/>
                </a:lnTo>
                <a:lnTo>
                  <a:pt x="253" y="181"/>
                </a:lnTo>
                <a:lnTo>
                  <a:pt x="257" y="180"/>
                </a:lnTo>
                <a:lnTo>
                  <a:pt x="260" y="179"/>
                </a:lnTo>
                <a:lnTo>
                  <a:pt x="448" y="179"/>
                </a:lnTo>
                <a:lnTo>
                  <a:pt x="452" y="180"/>
                </a:lnTo>
                <a:lnTo>
                  <a:pt x="456" y="181"/>
                </a:lnTo>
                <a:lnTo>
                  <a:pt x="459" y="183"/>
                </a:lnTo>
                <a:lnTo>
                  <a:pt x="461" y="186"/>
                </a:lnTo>
                <a:lnTo>
                  <a:pt x="463" y="189"/>
                </a:lnTo>
                <a:lnTo>
                  <a:pt x="463" y="194"/>
                </a:lnTo>
                <a:lnTo>
                  <a:pt x="463" y="197"/>
                </a:lnTo>
                <a:lnTo>
                  <a:pt x="462" y="200"/>
                </a:lnTo>
                <a:lnTo>
                  <a:pt x="368" y="416"/>
                </a:lnTo>
                <a:lnTo>
                  <a:pt x="366" y="420"/>
                </a:lnTo>
                <a:lnTo>
                  <a:pt x="362" y="424"/>
                </a:lnTo>
                <a:lnTo>
                  <a:pt x="358" y="425"/>
                </a:lnTo>
                <a:lnTo>
                  <a:pt x="354" y="426"/>
                </a:lnTo>
                <a:lnTo>
                  <a:pt x="350" y="425"/>
                </a:lnTo>
                <a:lnTo>
                  <a:pt x="346" y="424"/>
                </a:lnTo>
                <a:lnTo>
                  <a:pt x="343" y="420"/>
                </a:lnTo>
                <a:lnTo>
                  <a:pt x="340" y="416"/>
                </a:lnTo>
                <a:lnTo>
                  <a:pt x="246" y="200"/>
                </a:lnTo>
                <a:lnTo>
                  <a:pt x="245" y="197"/>
                </a:lnTo>
                <a:lnTo>
                  <a:pt x="245" y="194"/>
                </a:lnTo>
                <a:lnTo>
                  <a:pt x="246" y="189"/>
                </a:lnTo>
                <a:lnTo>
                  <a:pt x="247" y="186"/>
                </a:lnTo>
                <a:close/>
                <a:moveTo>
                  <a:pt x="703" y="866"/>
                </a:moveTo>
                <a:lnTo>
                  <a:pt x="647" y="866"/>
                </a:lnTo>
                <a:lnTo>
                  <a:pt x="465" y="448"/>
                </a:lnTo>
                <a:lnTo>
                  <a:pt x="647" y="29"/>
                </a:lnTo>
                <a:lnTo>
                  <a:pt x="703" y="29"/>
                </a:lnTo>
                <a:lnTo>
                  <a:pt x="706" y="29"/>
                </a:lnTo>
                <a:lnTo>
                  <a:pt x="708" y="28"/>
                </a:lnTo>
                <a:lnTo>
                  <a:pt x="711" y="27"/>
                </a:lnTo>
                <a:lnTo>
                  <a:pt x="713" y="26"/>
                </a:lnTo>
                <a:lnTo>
                  <a:pt x="716" y="23"/>
                </a:lnTo>
                <a:lnTo>
                  <a:pt x="717" y="20"/>
                </a:lnTo>
                <a:lnTo>
                  <a:pt x="718" y="17"/>
                </a:lnTo>
                <a:lnTo>
                  <a:pt x="718" y="14"/>
                </a:lnTo>
                <a:lnTo>
                  <a:pt x="718" y="12"/>
                </a:lnTo>
                <a:lnTo>
                  <a:pt x="717" y="8"/>
                </a:lnTo>
                <a:lnTo>
                  <a:pt x="716" y="6"/>
                </a:lnTo>
                <a:lnTo>
                  <a:pt x="713" y="4"/>
                </a:lnTo>
                <a:lnTo>
                  <a:pt x="711" y="2"/>
                </a:lnTo>
                <a:lnTo>
                  <a:pt x="708" y="1"/>
                </a:lnTo>
                <a:lnTo>
                  <a:pt x="706" y="0"/>
                </a:lnTo>
                <a:lnTo>
                  <a:pt x="703" y="0"/>
                </a:lnTo>
                <a:lnTo>
                  <a:pt x="71" y="0"/>
                </a:lnTo>
                <a:lnTo>
                  <a:pt x="71" y="0"/>
                </a:lnTo>
                <a:lnTo>
                  <a:pt x="71" y="0"/>
                </a:lnTo>
                <a:lnTo>
                  <a:pt x="15" y="0"/>
                </a:lnTo>
                <a:lnTo>
                  <a:pt x="12" y="0"/>
                </a:lnTo>
                <a:lnTo>
                  <a:pt x="9" y="1"/>
                </a:lnTo>
                <a:lnTo>
                  <a:pt x="6" y="2"/>
                </a:lnTo>
                <a:lnTo>
                  <a:pt x="4" y="4"/>
                </a:lnTo>
                <a:lnTo>
                  <a:pt x="2" y="6"/>
                </a:lnTo>
                <a:lnTo>
                  <a:pt x="1" y="8"/>
                </a:lnTo>
                <a:lnTo>
                  <a:pt x="0" y="12"/>
                </a:lnTo>
                <a:lnTo>
                  <a:pt x="0" y="14"/>
                </a:lnTo>
                <a:lnTo>
                  <a:pt x="0" y="17"/>
                </a:lnTo>
                <a:lnTo>
                  <a:pt x="1" y="20"/>
                </a:lnTo>
                <a:lnTo>
                  <a:pt x="2" y="23"/>
                </a:lnTo>
                <a:lnTo>
                  <a:pt x="4" y="26"/>
                </a:lnTo>
                <a:lnTo>
                  <a:pt x="6" y="27"/>
                </a:lnTo>
                <a:lnTo>
                  <a:pt x="9" y="28"/>
                </a:lnTo>
                <a:lnTo>
                  <a:pt x="12" y="29"/>
                </a:lnTo>
                <a:lnTo>
                  <a:pt x="15" y="29"/>
                </a:lnTo>
                <a:lnTo>
                  <a:pt x="62" y="29"/>
                </a:lnTo>
                <a:lnTo>
                  <a:pt x="244" y="448"/>
                </a:lnTo>
                <a:lnTo>
                  <a:pt x="62" y="866"/>
                </a:lnTo>
                <a:lnTo>
                  <a:pt x="15" y="866"/>
                </a:lnTo>
                <a:lnTo>
                  <a:pt x="12" y="866"/>
                </a:lnTo>
                <a:lnTo>
                  <a:pt x="9" y="868"/>
                </a:lnTo>
                <a:lnTo>
                  <a:pt x="6" y="870"/>
                </a:lnTo>
                <a:lnTo>
                  <a:pt x="4" y="872"/>
                </a:lnTo>
                <a:lnTo>
                  <a:pt x="2" y="874"/>
                </a:lnTo>
                <a:lnTo>
                  <a:pt x="1" y="876"/>
                </a:lnTo>
                <a:lnTo>
                  <a:pt x="0" y="879"/>
                </a:lnTo>
                <a:lnTo>
                  <a:pt x="0" y="881"/>
                </a:lnTo>
                <a:lnTo>
                  <a:pt x="0" y="885"/>
                </a:lnTo>
                <a:lnTo>
                  <a:pt x="1" y="888"/>
                </a:lnTo>
                <a:lnTo>
                  <a:pt x="2" y="890"/>
                </a:lnTo>
                <a:lnTo>
                  <a:pt x="4" y="892"/>
                </a:lnTo>
                <a:lnTo>
                  <a:pt x="6" y="894"/>
                </a:lnTo>
                <a:lnTo>
                  <a:pt x="9" y="895"/>
                </a:lnTo>
                <a:lnTo>
                  <a:pt x="12" y="896"/>
                </a:lnTo>
                <a:lnTo>
                  <a:pt x="15" y="896"/>
                </a:lnTo>
                <a:lnTo>
                  <a:pt x="71" y="896"/>
                </a:lnTo>
                <a:lnTo>
                  <a:pt x="637" y="896"/>
                </a:lnTo>
                <a:lnTo>
                  <a:pt x="703" y="896"/>
                </a:lnTo>
                <a:lnTo>
                  <a:pt x="706" y="896"/>
                </a:lnTo>
                <a:lnTo>
                  <a:pt x="708" y="895"/>
                </a:lnTo>
                <a:lnTo>
                  <a:pt x="711" y="894"/>
                </a:lnTo>
                <a:lnTo>
                  <a:pt x="713" y="892"/>
                </a:lnTo>
                <a:lnTo>
                  <a:pt x="716" y="890"/>
                </a:lnTo>
                <a:lnTo>
                  <a:pt x="717" y="888"/>
                </a:lnTo>
                <a:lnTo>
                  <a:pt x="718" y="885"/>
                </a:lnTo>
                <a:lnTo>
                  <a:pt x="718" y="881"/>
                </a:lnTo>
                <a:lnTo>
                  <a:pt x="718" y="879"/>
                </a:lnTo>
                <a:lnTo>
                  <a:pt x="717" y="876"/>
                </a:lnTo>
                <a:lnTo>
                  <a:pt x="716" y="874"/>
                </a:lnTo>
                <a:lnTo>
                  <a:pt x="713" y="872"/>
                </a:lnTo>
                <a:lnTo>
                  <a:pt x="711" y="870"/>
                </a:lnTo>
                <a:lnTo>
                  <a:pt x="708" y="868"/>
                </a:lnTo>
                <a:lnTo>
                  <a:pt x="706" y="866"/>
                </a:lnTo>
                <a:lnTo>
                  <a:pt x="703" y="8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p:cNvSpPr>
            <a:spLocks noGrp="1"/>
          </p:cNvSpPr>
          <p:nvPr>
            <p:ph type="sldNum" sz="quarter" idx="12"/>
          </p:nvPr>
        </p:nvSpPr>
        <p:spPr/>
        <p:txBody>
          <a:bodyPr/>
          <a:lstStyle/>
          <a:p>
            <a:fld id="{DE156FE7-4276-48C2-8D29-2DA35A3BAE26}" type="slidenum">
              <a:rPr lang="en-US" smtClean="0"/>
              <a:t>9</a:t>
            </a:fld>
            <a:endParaRPr lang="en-US"/>
          </a:p>
        </p:txBody>
      </p:sp>
    </p:spTree>
    <p:extLst>
      <p:ext uri="{BB962C8B-B14F-4D97-AF65-F5344CB8AC3E}">
        <p14:creationId xmlns:p14="http://schemas.microsoft.com/office/powerpoint/2010/main" val="1747822377"/>
      </p:ext>
    </p:extLst>
  </p:cSld>
  <p:clrMapOvr>
    <a:masterClrMapping/>
  </p:clrMapOvr>
  <p:transition spd="med">
    <p:pull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Office Theme">
  <a:themeElements>
    <a:clrScheme name="ShapeShift's Aqua White">
      <a:dk1>
        <a:srgbClr val="203738"/>
      </a:dk1>
      <a:lt1>
        <a:srgbClr val="FFFFFF"/>
      </a:lt1>
      <a:dk2>
        <a:srgbClr val="203738"/>
      </a:dk2>
      <a:lt2>
        <a:srgbClr val="FFFFFF"/>
      </a:lt2>
      <a:accent1>
        <a:srgbClr val="27937E"/>
      </a:accent1>
      <a:accent2>
        <a:srgbClr val="35AF98"/>
      </a:accent2>
      <a:accent3>
        <a:srgbClr val="60CCB7"/>
      </a:accent3>
      <a:accent4>
        <a:srgbClr val="78DDCA"/>
      </a:accent4>
      <a:accent5>
        <a:srgbClr val="95E8D9"/>
      </a:accent5>
      <a:accent6>
        <a:srgbClr val="B0F7E9"/>
      </a:accent6>
      <a:hlink>
        <a:srgbClr val="5B9BD5"/>
      </a:hlink>
      <a:folHlink>
        <a:srgbClr val="70AD4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31</TotalTime>
  <Words>2003</Words>
  <Application>Microsoft Office PowerPoint</Application>
  <PresentationFormat>Widescreen</PresentationFormat>
  <Paragraphs>255</Paragraphs>
  <Slides>25</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5</vt:i4>
      </vt:variant>
    </vt:vector>
  </HeadingPairs>
  <TitlesOfParts>
    <vt:vector size="36" baseType="lpstr">
      <vt:lpstr>Arial</vt:lpstr>
      <vt:lpstr>Calibri</vt:lpstr>
      <vt:lpstr>Calibri Light</vt:lpstr>
      <vt:lpstr>Gill Sans</vt:lpstr>
      <vt:lpstr>Lato</vt:lpstr>
      <vt:lpstr>Montserrat</vt:lpstr>
      <vt:lpstr>Montserrat Light</vt:lpstr>
      <vt:lpstr>Neris Light</vt:lpstr>
      <vt:lpstr>Open Sans</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ssmilah alhamdulil</dc:creator>
  <cp:lastModifiedBy>L J</cp:lastModifiedBy>
  <cp:revision>245</cp:revision>
  <dcterms:created xsi:type="dcterms:W3CDTF">2019-09-27T06:42:27Z</dcterms:created>
  <dcterms:modified xsi:type="dcterms:W3CDTF">2019-11-18T12:43:10Z</dcterms:modified>
</cp:coreProperties>
</file>